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7.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8.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11.xml" ContentType="application/vnd.openxmlformats-officedocument.theme+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1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13.xml" ContentType="application/vnd.openxmlformats-officedocument.them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1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1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theme/theme17.xml" ContentType="application/vnd.openxmlformats-officedocument.theme+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theme/theme18.xml" ContentType="application/vnd.openxmlformats-officedocument.theme+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theme/theme19.xml" ContentType="application/vnd.openxmlformats-officedocument.theme+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0.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95" r:id="rId4"/>
    <p:sldMasterId id="2147484201" r:id="rId5"/>
    <p:sldMasterId id="2147484237" r:id="rId6"/>
    <p:sldMasterId id="2147484271" r:id="rId7"/>
    <p:sldMasterId id="2147484300" r:id="rId8"/>
    <p:sldMasterId id="2147484332" r:id="rId9"/>
    <p:sldMasterId id="2147484345" r:id="rId10"/>
    <p:sldMasterId id="2147484373" r:id="rId11"/>
    <p:sldMasterId id="2147484399" r:id="rId12"/>
    <p:sldMasterId id="2147484446" r:id="rId13"/>
    <p:sldMasterId id="2147484601" r:id="rId14"/>
    <p:sldMasterId id="2147484643" r:id="rId15"/>
    <p:sldMasterId id="2147484680" r:id="rId16"/>
    <p:sldMasterId id="2147484709" r:id="rId17"/>
    <p:sldMasterId id="2147484749" r:id="rId18"/>
    <p:sldMasterId id="2147484777" r:id="rId19"/>
    <p:sldMasterId id="2147484812" r:id="rId20"/>
    <p:sldMasterId id="2147484842" r:id="rId21"/>
    <p:sldMasterId id="2147485028" r:id="rId22"/>
    <p:sldMasterId id="2147485164" r:id="rId23"/>
  </p:sldMasterIdLst>
  <p:notesMasterIdLst>
    <p:notesMasterId r:id="rId46"/>
  </p:notesMasterIdLst>
  <p:sldIdLst>
    <p:sldId id="2132737626" r:id="rId24"/>
    <p:sldId id="2132737627" r:id="rId25"/>
    <p:sldId id="2132737742" r:id="rId26"/>
    <p:sldId id="2132737743" r:id="rId27"/>
    <p:sldId id="2132737630" r:id="rId28"/>
    <p:sldId id="2132737653" r:id="rId29"/>
    <p:sldId id="2132737744" r:id="rId30"/>
    <p:sldId id="2132737740" r:id="rId31"/>
    <p:sldId id="2132737731" r:id="rId32"/>
    <p:sldId id="2132737728" r:id="rId33"/>
    <p:sldId id="2132737719" r:id="rId34"/>
    <p:sldId id="2132737732" r:id="rId35"/>
    <p:sldId id="2132737674" r:id="rId36"/>
    <p:sldId id="2132737676" r:id="rId37"/>
    <p:sldId id="2132737734" r:id="rId38"/>
    <p:sldId id="2132737718" r:id="rId39"/>
    <p:sldId id="2132737650" r:id="rId40"/>
    <p:sldId id="2132737715" r:id="rId41"/>
    <p:sldId id="2132737683" r:id="rId42"/>
    <p:sldId id="2061897946" r:id="rId43"/>
    <p:sldId id="2132737684" r:id="rId44"/>
    <p:sldId id="2132737686" r:id="rId45"/>
  </p:sldIdLst>
  <p:sldSz cx="9144000" cy="5143500" type="screen16x9"/>
  <p:notesSz cx="6858000" cy="9144000"/>
  <p:custDataLst>
    <p:tags r:id="rId47"/>
  </p:custData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Seller guidance" id="{DBF8E2A7-9FA2-A948-AF4E-E62DB940D379}">
          <p14:sldIdLst/>
        </p14:section>
        <p14:section name="Opening: Problem &amp; need" id="{9323BDAB-93E5-D04F-90BE-AB5DDA2CD0E7}">
          <p14:sldIdLst>
            <p14:sldId id="2132737626"/>
            <p14:sldId id="2132737627"/>
            <p14:sldId id="2132737742"/>
            <p14:sldId id="2132737743"/>
            <p14:sldId id="2132737630"/>
            <p14:sldId id="2132737653"/>
          </p14:sldIdLst>
        </p14:section>
        <p14:section name="Our platform" id="{F56C3BE1-8F17-F84C-8E47-91317C0AD3EE}">
          <p14:sldIdLst>
            <p14:sldId id="2132737744"/>
            <p14:sldId id="2132737740"/>
            <p14:sldId id="2132737731"/>
            <p14:sldId id="2132737728"/>
          </p14:sldIdLst>
        </p14:section>
        <p14:section name="Before vs after SecureX" id="{42360320-0E54-B446-B4C7-BCB0C6467C20}">
          <p14:sldIdLst>
            <p14:sldId id="2132737719"/>
            <p14:sldId id="2132737732"/>
            <p14:sldId id="2132737674"/>
            <p14:sldId id="2132737676"/>
          </p14:sldIdLst>
        </p14:section>
        <p14:section name="Integrations" id="{46606A65-5028-5F45-A1C8-86ECF0604202}">
          <p14:sldIdLst>
            <p14:sldId id="2132737734"/>
            <p14:sldId id="2132737718"/>
          </p14:sldIdLst>
        </p14:section>
        <p14:section name="Closing" id="{339011E1-E636-3E45-BF3A-B694DCD54E76}">
          <p14:sldIdLst>
            <p14:sldId id="2132737650"/>
            <p14:sldId id="2132737715"/>
            <p14:sldId id="2132737683"/>
            <p14:sldId id="2061897946"/>
            <p14:sldId id="2132737684"/>
            <p14:sldId id="213273768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arry Fisher (barfishe)" initials="BF(" lastIdx="12" clrIdx="6">
    <p:extLst>
      <p:ext uri="{19B8F6BF-5375-455C-9EA6-DF929625EA0E}">
        <p15:presenceInfo xmlns:p15="http://schemas.microsoft.com/office/powerpoint/2012/main" userId="S::barfishe@cisco.com::8cf0c691-2265-4e78-a9a3-2043dcbc1988" providerId="AD"/>
      </p:ext>
    </p:extLst>
  </p:cmAuthor>
  <p:cmAuthor id="1" name="Robert Rowe" initials="RR" lastIdx="1" clrIdx="0">
    <p:extLst>
      <p:ext uri="{19B8F6BF-5375-455C-9EA6-DF929625EA0E}">
        <p15:presenceInfo xmlns:p15="http://schemas.microsoft.com/office/powerpoint/2012/main" userId="S::robert.rowe@thespurgroup.com::3755df54-3d85-40e1-b407-c1c631472bd6" providerId="AD"/>
      </p:ext>
    </p:extLst>
  </p:cmAuthor>
  <p:cmAuthor id="8" name="Ira Piven (ipiven)" initials="IP(" lastIdx="2" clrIdx="7">
    <p:extLst>
      <p:ext uri="{19B8F6BF-5375-455C-9EA6-DF929625EA0E}">
        <p15:presenceInfo xmlns:p15="http://schemas.microsoft.com/office/powerpoint/2012/main" userId="S::ipiven@cisco.com::168fb6b6-f846-4899-aeb6-01d60ff2e737" providerId="AD"/>
      </p:ext>
    </p:extLst>
  </p:cmAuthor>
  <p:cmAuthor id="2" name="ToolsToo" initials="T" lastIdx="14" clrIdx="1"/>
  <p:cmAuthor id="3" name="Hannah Garland" initials="HG" lastIdx="1" clrIdx="2">
    <p:extLst>
      <p:ext uri="{19B8F6BF-5375-455C-9EA6-DF929625EA0E}">
        <p15:presenceInfo xmlns:p15="http://schemas.microsoft.com/office/powerpoint/2012/main" userId="S::hannah.garland@thespurgroup.com::b783afcc-bf01-42b6-972b-952a30f891fa" providerId="AD"/>
      </p:ext>
    </p:extLst>
  </p:cmAuthor>
  <p:cmAuthor id="4" name="Joakim Lialias (jlialias)" initials="JL(" lastIdx="30" clrIdx="3">
    <p:extLst>
      <p:ext uri="{19B8F6BF-5375-455C-9EA6-DF929625EA0E}">
        <p15:presenceInfo xmlns:p15="http://schemas.microsoft.com/office/powerpoint/2012/main" userId="S::jlialias@cisco.com::e201906e-6442-4c1e-abc0-d907b82ef9fd" providerId="AD"/>
      </p:ext>
    </p:extLst>
  </p:cmAuthor>
  <p:cmAuthor id="5" name="Ben Munroe" initials="BM" lastIdx="4" clrIdx="4">
    <p:extLst>
      <p:ext uri="{19B8F6BF-5375-455C-9EA6-DF929625EA0E}">
        <p15:presenceInfo xmlns:p15="http://schemas.microsoft.com/office/powerpoint/2012/main" userId="83cc44cc230902dd" providerId="Windows Live"/>
      </p:ext>
    </p:extLst>
  </p:cmAuthor>
  <p:cmAuthor id="6" name="Ben Munroe (bemunroe)" initials="B(" lastIdx="2" clrIdx="5">
    <p:extLst>
      <p:ext uri="{19B8F6BF-5375-455C-9EA6-DF929625EA0E}">
        <p15:presenceInfo xmlns:p15="http://schemas.microsoft.com/office/powerpoint/2012/main" userId="S::bemunroe@cisco.com::e0131f21-c083-4ffb-885e-c600d312556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4471"/>
    <a:srgbClr val="0D264D"/>
    <a:srgbClr val="6DBF50"/>
    <a:srgbClr val="7CB443"/>
    <a:srgbClr val="456387"/>
    <a:srgbClr val="7E7E7E"/>
    <a:srgbClr val="567575"/>
    <a:srgbClr val="494735"/>
    <a:srgbClr val="0088A8"/>
    <a:srgbClr val="9E9EA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90"/>
    <p:restoredTop sz="95782"/>
  </p:normalViewPr>
  <p:slideViewPr>
    <p:cSldViewPr snapToGrid="0" snapToObjects="1">
      <p:cViewPr varScale="1">
        <p:scale>
          <a:sx n="108" d="100"/>
          <a:sy n="108" d="100"/>
        </p:scale>
        <p:origin x="763"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9" Type="http://schemas.openxmlformats.org/officeDocument/2006/relationships/slide" Target="slides/slide16.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6.xml"/><Relationship Id="rId41"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44E35B-E6F9-4A2E-964E-CA8EB2C96D25}" type="datetimeFigureOut">
              <a:rPr lang="en-US" smtClean="0"/>
              <a:t>10/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F9F283-93F4-4D9C-8352-47DC2E5DE6DA}" type="slidenum">
              <a:rPr lang="en-US" smtClean="0"/>
              <a:t>‹#›</a:t>
            </a:fld>
            <a:endParaRPr lang="en-US"/>
          </a:p>
        </p:txBody>
      </p:sp>
    </p:spTree>
    <p:extLst>
      <p:ext uri="{BB962C8B-B14F-4D97-AF65-F5344CB8AC3E}">
        <p14:creationId xmlns:p14="http://schemas.microsoft.com/office/powerpoint/2010/main" val="90248810"/>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dcloud2.cisco.com/instantdemo/cisco-securex-v2-instant-demo"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cisco.com/c/en/us/products/security/threat-hunting-workshop.html"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cisco.com/c/en/us/products/security/ciso-benchmark-report-2020.html"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5690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10</a:t>
            </a:fld>
            <a:endParaRPr lang="en-US"/>
          </a:p>
        </p:txBody>
      </p:sp>
    </p:spTree>
    <p:extLst>
      <p:ext uri="{BB962C8B-B14F-4D97-AF65-F5344CB8AC3E}">
        <p14:creationId xmlns:p14="http://schemas.microsoft.com/office/powerpoint/2010/main" val="1033319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900" b="0" i="0" kern="1200" dirty="0" err="1">
                <a:solidFill>
                  <a:schemeClr val="tx1"/>
                </a:solidFill>
                <a:effectLst/>
                <a:latin typeface="+mn-lt"/>
                <a:ea typeface="+mn-ea"/>
                <a:cs typeface="+mn-cs"/>
              </a:rPr>
              <a:t>dCloud</a:t>
            </a:r>
            <a:r>
              <a:rPr lang="en-US" sz="900" b="0" i="0" kern="1200" dirty="0">
                <a:solidFill>
                  <a:schemeClr val="tx1"/>
                </a:solidFill>
                <a:effectLst/>
                <a:latin typeface="+mn-lt"/>
                <a:ea typeface="+mn-ea"/>
                <a:cs typeface="+mn-cs"/>
              </a:rPr>
              <a:t> link: </a:t>
            </a:r>
            <a:r>
              <a:rPr lang="en-US" dirty="0">
                <a:hlinkClick r:id="rId3"/>
              </a:rPr>
              <a:t>https://dcloud2.cisco.com/instantdemo/cisco-securex-v2-instant-demo</a:t>
            </a:r>
            <a:endParaRPr lang="en-US" b="1"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4569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12</a:t>
            </a:fld>
            <a:endParaRPr lang="en-US"/>
          </a:p>
        </p:txBody>
      </p:sp>
    </p:spTree>
    <p:extLst>
      <p:ext uri="{BB962C8B-B14F-4D97-AF65-F5344CB8AC3E}">
        <p14:creationId xmlns:p14="http://schemas.microsoft.com/office/powerpoint/2010/main" val="25714633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13</a:t>
            </a:fld>
            <a:endParaRPr lang="en-US"/>
          </a:p>
        </p:txBody>
      </p:sp>
    </p:spTree>
    <p:extLst>
      <p:ext uri="{BB962C8B-B14F-4D97-AF65-F5344CB8AC3E}">
        <p14:creationId xmlns:p14="http://schemas.microsoft.com/office/powerpoint/2010/main" val="2189502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14</a:t>
            </a:fld>
            <a:endParaRPr lang="en-US"/>
          </a:p>
        </p:txBody>
      </p:sp>
    </p:spTree>
    <p:extLst>
      <p:ext uri="{BB962C8B-B14F-4D97-AF65-F5344CB8AC3E}">
        <p14:creationId xmlns:p14="http://schemas.microsoft.com/office/powerpoint/2010/main" val="69728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38" indent="-173038">
              <a:lnSpc>
                <a:spcPct val="90000"/>
              </a:lnSpc>
              <a:spcAft>
                <a:spcPts val="600"/>
              </a:spcAft>
              <a:buFont typeface="+mj-lt"/>
              <a:buAutoNum type="arabicPeriod"/>
            </a:pPr>
            <a:r>
              <a:rPr lang="en-US" sz="900">
                <a:solidFill>
                  <a:schemeClr val="tx2"/>
                </a:solidFill>
                <a:latin typeface="CiscoSansTT" panose="020B0503020201020303" pitchFamily="34" charset="0"/>
                <a:cs typeface="CiscoSansTT" panose="020B0503020201020303" pitchFamily="34" charset="0"/>
              </a:rPr>
              <a:t>SecureX auto-enriches SIEM alerts</a:t>
            </a:r>
          </a:p>
          <a:p>
            <a:pPr marL="173038" indent="-173038">
              <a:lnSpc>
                <a:spcPct val="90000"/>
              </a:lnSpc>
              <a:spcAft>
                <a:spcPts val="600"/>
              </a:spcAft>
              <a:buFont typeface="+mj-lt"/>
              <a:buAutoNum type="arabicPeriod"/>
            </a:pPr>
            <a:r>
              <a:rPr lang="en-US" sz="900">
                <a:solidFill>
                  <a:schemeClr val="bg2">
                    <a:lumMod val="65000"/>
                  </a:schemeClr>
                </a:solidFill>
                <a:latin typeface="CiscoSansTT" panose="020B0503020201020303" pitchFamily="34" charset="0"/>
                <a:cs typeface="CiscoSansTT" panose="020B0503020201020303" pitchFamily="34" charset="0"/>
              </a:rPr>
              <a:t>SIEM consume prioritized alerts from SecureX incident manager</a:t>
            </a:r>
          </a:p>
          <a:p>
            <a:pPr marL="173038" indent="-173038">
              <a:lnSpc>
                <a:spcPct val="90000"/>
              </a:lnSpc>
              <a:spcAft>
                <a:spcPts val="600"/>
              </a:spcAft>
              <a:buFont typeface="+mj-lt"/>
              <a:buAutoNum type="arabicPeriod"/>
            </a:pPr>
            <a:r>
              <a:rPr lang="en-US" sz="900">
                <a:solidFill>
                  <a:schemeClr val="tx2"/>
                </a:solidFill>
                <a:latin typeface="CiscoSansTT" panose="020B0503020201020303" pitchFamily="34" charset="0"/>
                <a:cs typeface="CiscoSansTT" panose="020B0503020201020303" pitchFamily="34" charset="0"/>
              </a:rPr>
              <a:t>SecureX enables better collaboration </a:t>
            </a:r>
          </a:p>
          <a:p>
            <a:pPr marL="173038" indent="-173038">
              <a:lnSpc>
                <a:spcPct val="90000"/>
              </a:lnSpc>
              <a:spcAft>
                <a:spcPts val="600"/>
              </a:spcAft>
              <a:buFont typeface="+mj-lt"/>
              <a:buAutoNum type="arabicPeriod"/>
            </a:pPr>
            <a:r>
              <a:rPr lang="en-US" sz="900" err="1">
                <a:solidFill>
                  <a:schemeClr val="accent5"/>
                </a:solidFill>
                <a:latin typeface="CiscoSansTT" panose="020B0503020201020303" pitchFamily="34" charset="0"/>
                <a:cs typeface="CiscoSansTT" panose="020B0503020201020303" pitchFamily="34" charset="0"/>
              </a:rPr>
              <a:t>ITOps</a:t>
            </a:r>
            <a:r>
              <a:rPr lang="en-US" sz="900">
                <a:solidFill>
                  <a:schemeClr val="accent5"/>
                </a:solidFill>
                <a:latin typeface="CiscoSansTT" panose="020B0503020201020303" pitchFamily="34" charset="0"/>
                <a:cs typeface="CiscoSansTT" panose="020B0503020201020303" pitchFamily="34" charset="0"/>
              </a:rPr>
              <a:t> and NetOps help SecOps complete workflows</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9782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www.cisco.com/c/en/us/products/security/threat-hunting-workshop.html</a:t>
            </a:r>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5718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91309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a:extLst>
              <a:ext uri="{FF2B5EF4-FFF2-40B4-BE49-F238E27FC236}">
                <a16:creationId xmlns:a16="http://schemas.microsoft.com/office/drawing/2014/main" id="{CB6A8EBA-C2DB-394D-A3C8-A0EB142D049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Notes Placeholder 2">
            <a:extLst>
              <a:ext uri="{FF2B5EF4-FFF2-40B4-BE49-F238E27FC236}">
                <a16:creationId xmlns:a16="http://schemas.microsoft.com/office/drawing/2014/main" id="{754E8E44-9106-4F4F-962A-39AF63B0326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r>
              <a:rPr lang="en-US" altLang="en-US" sz="1400" b="0" dirty="0">
                <a:latin typeface="CiscoSansTT ExtraLight" pitchFamily="34" charset="0"/>
                <a:ea typeface="ＭＳ Ｐゴシック" panose="020B0600070205080204" pitchFamily="34" charset="-128"/>
              </a:rPr>
              <a:t>Let’s take a look at both key buying programs we can call on moving forward.</a:t>
            </a: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r>
              <a:rPr lang="en-US" altLang="en-US" sz="1400" b="0" dirty="0">
                <a:latin typeface="CiscoSansTT ExtraLight" pitchFamily="34" charset="0"/>
                <a:ea typeface="ＭＳ Ｐゴシック" panose="020B0600070205080204" pitchFamily="34" charset="-128"/>
              </a:rPr>
              <a:t>On the left we have our All-In program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for full portfolio access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commonly known as ELA 1.0.  We’ll start referring to it as All-In moving forward for simplicity’s sake.</a:t>
            </a: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r>
              <a:rPr lang="en-US" altLang="en-US" sz="1400" b="0" dirty="0">
                <a:latin typeface="CiscoSansTT ExtraLight" pitchFamily="34" charset="0"/>
                <a:ea typeface="ＭＳ Ｐゴシック" panose="020B0600070205080204" pitchFamily="34" charset="-128"/>
              </a:rPr>
              <a:t>All-In really embodies why buying programs are great for customers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for a single price over three or five years, customers get full access to all the security software they can use or deploy for that single price.</a:t>
            </a: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r>
              <a:rPr lang="en-US" altLang="en-US" sz="1400" b="0" dirty="0">
                <a:latin typeface="CiscoSansTT ExtraLight" pitchFamily="34" charset="0"/>
                <a:ea typeface="ＭＳ Ｐゴシック" panose="020B0600070205080204" pitchFamily="34" charset="-128"/>
              </a:rPr>
              <a:t>And we just reviewed our new Choice EA that will be available to sell in early December.  We still have SVP too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offering a discount on three products without a term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though please know that we can bump an SVP customer up to an buying program if they add a product.</a:t>
            </a: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eaLnBrk="1" hangingPunct="1">
              <a:spcBef>
                <a:spcPts val="538"/>
              </a:spcBef>
              <a:buClr>
                <a:srgbClr val="000000"/>
              </a:buClr>
              <a:buSzPct val="80000"/>
            </a:pPr>
            <a:r>
              <a:rPr lang="en-US" altLang="en-US" sz="1400" b="0" dirty="0">
                <a:latin typeface="CiscoSansTT ExtraLight" pitchFamily="34" charset="0"/>
                <a:ea typeface="ＭＳ Ｐゴシック" panose="020B0600070205080204" pitchFamily="34" charset="-128"/>
              </a:rPr>
              <a:t>To be clear, the main difference between the two is that the Choice EA does not have the “all you eat” option that the All-In program has.</a:t>
            </a:r>
          </a:p>
          <a:p>
            <a:pPr defTabSz="608013" eaLnBrk="1" hangingPunct="1">
              <a:spcBef>
                <a:spcPts val="538"/>
              </a:spcBef>
              <a:buClr>
                <a:srgbClr val="000000"/>
              </a:buClr>
              <a:buSzPct val="80000"/>
            </a:pPr>
            <a:endParaRPr lang="en-US" altLang="en-US" sz="1400" b="0" dirty="0">
              <a:latin typeface="CiscoSansTT ExtraLight" pitchFamily="34" charset="0"/>
              <a:ea typeface="ＭＳ Ｐゴシック" panose="020B0600070205080204" pitchFamily="34" charset="-128"/>
            </a:endParaRPr>
          </a:p>
          <a:p>
            <a:pPr defTabSz="608013"/>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But they both share the same great customer benefits: simple licensing, enabling quick responses to new security needs, overall cost-effectiveness and friendly, periodic billing.</a:t>
            </a:r>
          </a:p>
          <a:p>
            <a:pPr defTabSz="608013"/>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eaLnBrk="1" hangingPunct="1">
              <a:spcBef>
                <a:spcPts val="538"/>
              </a:spcBef>
              <a:buClr>
                <a:srgbClr val="000000"/>
              </a:buClr>
              <a:buSzPct val="80000"/>
            </a:pPr>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Simple licensing: </a:t>
            </a:r>
            <a:r>
              <a:rPr lang="en-US" altLang="en-US" sz="1400" b="0" dirty="0">
                <a:latin typeface="CiscoSansTT ExtraLight" pitchFamily="34" charset="0"/>
                <a:ea typeface="ＭＳ Ｐゴシック" panose="020B0600070205080204" pitchFamily="34" charset="-128"/>
              </a:rPr>
              <a:t>We give customers a single, simple agreement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we place everything in a single portal for ease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so a </a:t>
            </a:r>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simple agreement manages the whole deal with Cisco – having to manage distinct licenses expiring at different times is a thing of the past.</a:t>
            </a:r>
          </a:p>
          <a:p>
            <a:pPr defTabSz="608013" eaLnBrk="1" hangingPunct="1">
              <a:spcBef>
                <a:spcPts val="538"/>
              </a:spcBef>
              <a:buClr>
                <a:srgbClr val="000000"/>
              </a:buClr>
              <a:buSzPct val="80000"/>
            </a:pPr>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eaLnBrk="1" hangingPunct="1">
              <a:spcBef>
                <a:spcPts val="538"/>
              </a:spcBef>
              <a:buClr>
                <a:srgbClr val="000000"/>
              </a:buClr>
              <a:buSzPct val="80000"/>
            </a:pPr>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Move faster in meeting new security demands: Merely activate the desired aspect of the Cisco security portfolio whenever you are ready - no new procurement or licensing since it is already taken care of.</a:t>
            </a:r>
          </a:p>
          <a:p>
            <a:pPr defTabSz="608013" eaLnBrk="1" hangingPunct="1">
              <a:spcBef>
                <a:spcPts val="538"/>
              </a:spcBef>
              <a:buClr>
                <a:srgbClr val="000000"/>
              </a:buClr>
              <a:buSzPct val="80000"/>
            </a:pPr>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eaLnBrk="1" hangingPunct="1">
              <a:spcBef>
                <a:spcPts val="538"/>
              </a:spcBef>
              <a:buClr>
                <a:srgbClr val="000000"/>
              </a:buClr>
              <a:buSzPct val="80000"/>
            </a:pPr>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Let budgets go further: Products are discounted, growth is built-in for free with true forward terms and even 0% financing. Support and upgrades are included in the cost. We have programs that even allow access to any product you need at any time. </a:t>
            </a:r>
            <a:r>
              <a:rPr lang="en-US" altLang="en-US" sz="1400" b="0" dirty="0">
                <a:latin typeface="CiscoSansTT ExtraLight" pitchFamily="34" charset="0"/>
                <a:ea typeface="ＭＳ Ｐゴシック" panose="020B0600070205080204" pitchFamily="34" charset="-128"/>
              </a:rPr>
              <a:t>Let’s take an example showing built-in growth.  Say a 1000 person company with AMP for Endpoints adds 200 employees over the EA term </a:t>
            </a:r>
            <a:r>
              <a:rPr lang="mr-IN" altLang="en-US" sz="1400" b="0" dirty="0">
                <a:latin typeface="CiscoSansTT ExtraLight" pitchFamily="34" charset="0"/>
                <a:ea typeface="ＭＳ Ｐゴシック" panose="020B0600070205080204" pitchFamily="34" charset="-128"/>
              </a:rPr>
              <a:t>–</a:t>
            </a:r>
            <a:r>
              <a:rPr lang="en-US" altLang="en-US" sz="1400" b="0" dirty="0">
                <a:latin typeface="CiscoSansTT ExtraLight" pitchFamily="34" charset="0"/>
                <a:ea typeface="ＭＳ Ｐゴシック" panose="020B0600070205080204" pitchFamily="34" charset="-128"/>
              </a:rPr>
              <a:t> they get free AMP4EP licenses for the 200 new employees for the existing term.  And with our true forward terms they only begin to pay for the full 1200 licenses when they renew.</a:t>
            </a:r>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More Flexible billing: We allow annual payments, spread out over the course of the agreement for predictable, pay-as-you-go terms.  </a:t>
            </a:r>
          </a:p>
          <a:p>
            <a:pPr defTabSz="608013"/>
            <a:endParaRPr lang="en-US" altLang="en-US" sz="1400" b="0" dirty="0">
              <a:latin typeface="Arial" panose="020B0604020202020204" pitchFamily="34" charset="0"/>
              <a:ea typeface="ＭＳ Ｐゴシック" panose="020B0600070205080204" pitchFamily="34" charset="-128"/>
              <a:cs typeface="Arial" panose="020B0604020202020204" pitchFamily="34" charset="0"/>
            </a:endParaRPr>
          </a:p>
          <a:p>
            <a:pPr defTabSz="608013"/>
            <a:r>
              <a:rPr lang="en-US" altLang="en-US" sz="1400" b="0" dirty="0">
                <a:latin typeface="Arial" panose="020B0604020202020204" pitchFamily="34" charset="0"/>
                <a:ea typeface="ＭＳ Ｐゴシック" panose="020B0600070205080204" pitchFamily="34" charset="-128"/>
                <a:cs typeface="Arial" panose="020B0604020202020204" pitchFamily="34" charset="0"/>
              </a:rPr>
              <a:t>Cisco Security buying programs are better than even for you and for our customers in making security simple and effective.</a:t>
            </a:r>
          </a:p>
        </p:txBody>
      </p:sp>
      <p:sp>
        <p:nvSpPr>
          <p:cNvPr id="4" name="Slide Number Placeholder 3">
            <a:extLst>
              <a:ext uri="{FF2B5EF4-FFF2-40B4-BE49-F238E27FC236}">
                <a16:creationId xmlns:a16="http://schemas.microsoft.com/office/drawing/2014/main" id="{8CBAA133-B516-9F4D-81C9-04EB553943D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2BF7F0-B3DA-6D4D-822A-FC074924E4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7705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14718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a:t>We are shifting our focus from “us” to our customers and their needs</a:t>
            </a: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68038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0166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8399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cisco.com/c/en/us/products/security/ciso-benchmark-report-2020.html</a:t>
            </a: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35323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4</a:t>
            </a:fld>
            <a:endParaRPr lang="en-US"/>
          </a:p>
        </p:txBody>
      </p:sp>
    </p:spTree>
    <p:extLst>
      <p:ext uri="{BB962C8B-B14F-4D97-AF65-F5344CB8AC3E}">
        <p14:creationId xmlns:p14="http://schemas.microsoft.com/office/powerpoint/2010/main" val="3900554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00000"/>
              </a:lnSpc>
              <a:buFont typeface="Arial" panose="020B0604020202020204" pitchFamily="34" charset="0"/>
              <a:buNone/>
            </a:pPr>
            <a:r>
              <a:rPr lang="en-US" sz="1200" dirty="0">
                <a:solidFill>
                  <a:schemeClr val="tx1"/>
                </a:solidFill>
              </a:rPr>
              <a:t>Only Cisco has earned the right to deliver a true platform. Our record is undeniable, and we have extensive experience across both security and networking. </a:t>
            </a:r>
          </a:p>
          <a:p>
            <a:pPr marL="0" indent="0">
              <a:lnSpc>
                <a:spcPct val="100000"/>
              </a:lnSpc>
              <a:buFont typeface="Arial" panose="020B0604020202020204" pitchFamily="34" charset="0"/>
              <a:buNone/>
            </a:pPr>
            <a:endParaRPr lang="en-US" sz="1200" dirty="0">
              <a:solidFill>
                <a:schemeClr val="tx1"/>
              </a:solidFill>
            </a:endParaRPr>
          </a:p>
          <a:p>
            <a:pPr marL="0" marR="0" lvl="0"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dirty="0">
                <a:solidFill>
                  <a:schemeClr val="tx1"/>
                </a:solidFill>
              </a:rPr>
              <a:t>Since 2007, we’ve innovated internally and acquired the best solutions on the market. We’ve worked tirelessly to bring all of our solutions together into a single platform. You’ll always have access to the latest updates and innovations. So no matter what threats arise, no matter what new innovations hit the market, you can count us to be ready and get you what you need. </a:t>
            </a:r>
          </a:p>
          <a:p>
            <a:pPr marL="0" indent="0">
              <a:lnSpc>
                <a:spcPct val="100000"/>
              </a:lnSpc>
              <a:buFont typeface="Arial" panose="020B0604020202020204" pitchFamily="34" charset="0"/>
              <a:buNone/>
            </a:pPr>
            <a:endParaRPr lang="en-US" sz="1200" dirty="0">
              <a:solidFill>
                <a:schemeClr val="tx1"/>
              </a:solidFill>
            </a:endParaRPr>
          </a:p>
          <a:p>
            <a:pPr marL="0" indent="0">
              <a:lnSpc>
                <a:spcPct val="100000"/>
              </a:lnSpc>
              <a:buFont typeface="Arial" panose="020B0604020202020204" pitchFamily="34" charset="0"/>
              <a:buNone/>
            </a:pPr>
            <a:r>
              <a:rPr lang="en-US" sz="1200" dirty="0">
                <a:solidFill>
                  <a:schemeClr val="tx1"/>
                </a:solidFill>
              </a:rPr>
              <a:t>And we’re proud of work.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5898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5"/>
        <p:cNvGrpSpPr/>
        <p:nvPr/>
      </p:nvGrpSpPr>
      <p:grpSpPr>
        <a:xfrm>
          <a:off x="0" y="0"/>
          <a:ext cx="0" cy="0"/>
          <a:chOff x="0" y="0"/>
          <a:chExt cx="0" cy="0"/>
        </a:xfrm>
      </p:grpSpPr>
      <p:sp>
        <p:nvSpPr>
          <p:cNvPr id="1066" name="Google Shape;1066;p8:notes"/>
          <p:cNvSpPr txBox="1">
            <a:spLocks noGrp="1"/>
          </p:cNvSpPr>
          <p:nvPr>
            <p:ph type="body" idx="1"/>
          </p:nvPr>
        </p:nvSpPr>
        <p:spPr>
          <a:xfrm>
            <a:off x="701040" y="4415790"/>
            <a:ext cx="5608320" cy="4183380"/>
          </a:xfrm>
          <a:prstGeom prst="rect">
            <a:avLst/>
          </a:prstGeom>
        </p:spPr>
        <p:txBody>
          <a:bodyPr spcFirstLastPara="1" wrap="square" lIns="93175" tIns="46575" rIns="93175" bIns="46575" anchor="t" anchorCtr="0">
            <a:noAutofit/>
          </a:bodyPr>
          <a:lstStyle/>
          <a:p>
            <a:pPr marL="0" lvl="0" indent="0" algn="l" rtl="0">
              <a:spcBef>
                <a:spcPts val="360"/>
              </a:spcBef>
              <a:spcAft>
                <a:spcPts val="0"/>
              </a:spcAft>
              <a:buNone/>
            </a:pPr>
            <a:endParaRPr dirty="0"/>
          </a:p>
        </p:txBody>
      </p:sp>
      <p:sp>
        <p:nvSpPr>
          <p:cNvPr id="1067" name="Google Shape;1067;p8: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8095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ExtraLight"/>
                <a:ea typeface="+mn-ea"/>
                <a:cs typeface="+mn-cs"/>
              </a:rPr>
              <a:t>SecureX connects your </a:t>
            </a:r>
            <a:r>
              <a:rPr kumimoji="0" lang="en-US" sz="900" b="0" i="0" u="none" strike="noStrike" kern="1200" cap="none" spc="0" normalizeH="0" baseline="0" noProof="0" dirty="0">
                <a:ln>
                  <a:noFill/>
                </a:ln>
                <a:solidFill>
                  <a:schemeClr val="tx1"/>
                </a:solidFill>
                <a:effectLst/>
                <a:uLnTx/>
                <a:uFillTx/>
                <a:latin typeface="CiscoSansTT ExtraLight"/>
                <a:ea typeface="+mn-ea"/>
                <a:cs typeface="+mn-cs"/>
              </a:rPr>
              <a:t>security</a:t>
            </a:r>
            <a:r>
              <a:rPr lang="en-US" sz="900" dirty="0">
                <a:solidFill>
                  <a:srgbClr val="74BF4B"/>
                </a:solidFill>
                <a:latin typeface="CiscoSansTT ExtraLight"/>
              </a:rPr>
              <a:t> </a:t>
            </a:r>
            <a:r>
              <a:rPr kumimoji="0" lang="en-US" sz="900" b="0" i="0" u="none" strike="noStrike" kern="1200" cap="none" spc="0" normalizeH="0" baseline="0" noProof="0" dirty="0">
                <a:ln>
                  <a:noFill/>
                </a:ln>
                <a:solidFill>
                  <a:schemeClr val="accent3"/>
                </a:solidFill>
                <a:effectLst/>
                <a:uLnTx/>
                <a:uFillTx/>
                <a:latin typeface="CiscoSansTT" panose="020B0503020201020303" pitchFamily="34" charset="0"/>
                <a:cs typeface="CiscoSansTT" panose="020B0503020201020303" pitchFamily="34" charset="0"/>
              </a:rPr>
              <a:t>infrastructure</a:t>
            </a:r>
            <a:r>
              <a:rPr kumimoji="0" lang="en-US" sz="900" b="0" i="0" u="none" strike="noStrike" kern="1200" cap="none" spc="0" normalizeH="0" baseline="0" noProof="0" dirty="0">
                <a:ln>
                  <a:noFill/>
                </a:ln>
                <a:solidFill>
                  <a:srgbClr val="0D274D"/>
                </a:solidFill>
                <a:effectLst/>
                <a:uLnTx/>
                <a:uFillTx/>
                <a:latin typeface="CiscoSansTT ExtraLight"/>
                <a:ea typeface="+mn-ea"/>
                <a:cs typeface="+mn-cs"/>
              </a:rPr>
              <a:t> and enables your </a:t>
            </a:r>
            <a:r>
              <a:rPr kumimoji="0" lang="en-US" sz="900" b="0" i="0" u="none" strike="noStrike" kern="1200" cap="none" spc="0" normalizeH="0" baseline="0" noProof="0" dirty="0">
                <a:ln>
                  <a:noFill/>
                </a:ln>
                <a:solidFill>
                  <a:schemeClr val="tx1"/>
                </a:solidFill>
                <a:effectLst/>
                <a:uLnTx/>
                <a:uFillTx/>
                <a:latin typeface="CiscoSansTT" panose="020B0503020201020303" pitchFamily="34" charset="0"/>
                <a:cs typeface="CiscoSansTT" panose="020B0503020201020303" pitchFamily="34" charset="0"/>
              </a:rPr>
              <a:t>teams </a:t>
            </a:r>
            <a:r>
              <a:rPr kumimoji="0" lang="en-US" sz="900" b="0" i="0" u="none" strike="noStrike" kern="1200" cap="none" spc="0" normalizeH="0" baseline="0" noProof="0" dirty="0">
                <a:ln>
                  <a:noFill/>
                </a:ln>
                <a:solidFill>
                  <a:schemeClr val="tx1"/>
                </a:solidFill>
                <a:effectLst/>
                <a:uLnTx/>
                <a:uFillTx/>
                <a:cs typeface="CiscoSansTT" panose="020B0503020201020303" pitchFamily="34" charset="0"/>
              </a:rPr>
              <a:t>to collaborate better</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b="1" dirty="0">
              <a:solidFill>
                <a:srgbClr val="0D274D"/>
              </a:solidFill>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2F9F283-93F4-4D9C-8352-47DC2E5DE6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30358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IEM value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CiscoSansTT" panose="020B0503020201020303" pitchFamily="34" charset="0"/>
              </a:rPr>
              <a:t>Alert aggregation</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CiscoSansTT" panose="020B0503020201020303" pitchFamily="34" charset="0"/>
              </a:rPr>
              <a:t>Simplified report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CiscoSansTT" panose="020B0503020201020303" pitchFamily="34" charset="0"/>
              </a:rPr>
              <a:t>Operational metric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2"/>
                </a:solidFill>
                <a:latin typeface="+mn-lt"/>
                <a:ea typeface="+mn-ea"/>
                <a:cs typeface="CiscoSansTT" panose="020B0503020201020303" pitchFamily="34" charset="0"/>
              </a:rPr>
              <a:t>And more</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900" kern="1200" dirty="0">
              <a:solidFill>
                <a:schemeClr val="tx2"/>
              </a:solidFill>
              <a:latin typeface="+mn-lt"/>
              <a:ea typeface="+mn-ea"/>
              <a:cs typeface="CiscoSansTT" panose="020B05030202010203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b="1" kern="1200" dirty="0">
                <a:solidFill>
                  <a:schemeClr val="tx2"/>
                </a:solidFill>
                <a:latin typeface="+mn-lt"/>
                <a:ea typeface="+mn-ea"/>
                <a:cs typeface="CiscoSansTT" panose="020B0503020201020303" pitchFamily="34" charset="0"/>
              </a:rPr>
              <a:t>SIEM pain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accent6"/>
                </a:solidFill>
                <a:latin typeface="+mn-lt"/>
                <a:ea typeface="+mn-ea"/>
                <a:cs typeface="CiscoSansTT" panose="020B0503020201020303" pitchFamily="34" charset="0"/>
              </a:rPr>
              <a:t>Separate licens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accent6"/>
                </a:solidFill>
                <a:latin typeface="+mn-lt"/>
                <a:ea typeface="+mn-ea"/>
                <a:cs typeface="CiscoSansTT" panose="020B0503020201020303" pitchFamily="34" charset="0"/>
              </a:rPr>
              <a:t>Customization experts</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accent6"/>
                </a:solidFill>
                <a:latin typeface="+mn-lt"/>
                <a:ea typeface="+mn-ea"/>
                <a:cs typeface="CiscoSansTT" panose="020B0503020201020303" pitchFamily="34" charset="0"/>
              </a:rPr>
              <a:t>Massive data lake</a:t>
            </a:r>
            <a:endParaRPr lang="en-US" sz="900" kern="1200" dirty="0">
              <a:solidFill>
                <a:schemeClr val="tx2"/>
              </a:solidFill>
              <a:latin typeface="+mn-lt"/>
              <a:ea typeface="+mn-ea"/>
              <a:cs typeface="CiscoSansTT" panose="020B0503020201020303"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900" kern="1200" dirty="0">
                <a:solidFill>
                  <a:schemeClr val="accent6"/>
                </a:solidFill>
                <a:latin typeface="+mn-lt"/>
                <a:ea typeface="+mn-ea"/>
                <a:cs typeface="CiscoSansTT" panose="020B0503020201020303" pitchFamily="34" charset="0"/>
              </a:rPr>
              <a:t>Limited device control</a:t>
            </a:r>
          </a:p>
          <a:p>
            <a:endParaRPr lang="en-US" dirty="0"/>
          </a:p>
        </p:txBody>
      </p:sp>
      <p:sp>
        <p:nvSpPr>
          <p:cNvPr id="4" name="Slide Number Placeholder 3"/>
          <p:cNvSpPr>
            <a:spLocks noGrp="1"/>
          </p:cNvSpPr>
          <p:nvPr>
            <p:ph type="sldNum" sz="quarter" idx="5"/>
          </p:nvPr>
        </p:nvSpPr>
        <p:spPr/>
        <p:txBody>
          <a:bodyPr/>
          <a:lstStyle/>
          <a:p>
            <a:fld id="{32F9F283-93F4-4D9C-8352-47DC2E5DE6DA}" type="slidenum">
              <a:rPr lang="en-US" smtClean="0"/>
              <a:t>8</a:t>
            </a:fld>
            <a:endParaRPr lang="en-US"/>
          </a:p>
        </p:txBody>
      </p:sp>
    </p:spTree>
    <p:extLst>
      <p:ext uri="{BB962C8B-B14F-4D97-AF65-F5344CB8AC3E}">
        <p14:creationId xmlns:p14="http://schemas.microsoft.com/office/powerpoint/2010/main" val="609127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2F9F283-93F4-4D9C-8352-47DC2E5DE6DA}" type="slidenum">
              <a:rPr lang="en-US" smtClean="0"/>
              <a:t>9</a:t>
            </a:fld>
            <a:endParaRPr lang="en-US"/>
          </a:p>
        </p:txBody>
      </p:sp>
    </p:spTree>
    <p:extLst>
      <p:ext uri="{BB962C8B-B14F-4D97-AF65-F5344CB8AC3E}">
        <p14:creationId xmlns:p14="http://schemas.microsoft.com/office/powerpoint/2010/main" val="35719540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image" Target="../media/image5.emf"/></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3.pn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6.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17.jpeg"/><Relationship Id="rId4"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jpeg"/><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emf"/><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0.png"/><Relationship Id="rId4" Type="http://schemas.openxmlformats.org/officeDocument/2006/relationships/image" Target="../media/image30.png"/></Relationships>
</file>

<file path=ppt/slideLayouts/_rels/slideLayout299.xml.rels><?xml version="1.0" encoding="UTF-8" standalone="yes"?>
<Relationships xmlns="http://schemas.openxmlformats.org/package/2006/relationships"><Relationship Id="rId3" Type="http://schemas.openxmlformats.org/officeDocument/2006/relationships/hyperlink" Target="http://ciscolive.com/" TargetMode="External"/><Relationship Id="rId2" Type="http://schemas.openxmlformats.org/officeDocument/2006/relationships/hyperlink" Target="https://www.ciscolive.com/emea.html" TargetMode="External"/><Relationship Id="rId1" Type="http://schemas.openxmlformats.org/officeDocument/2006/relationships/slideMaster" Target="../slideMasters/slideMaster10.xml"/><Relationship Id="rId4" Type="http://schemas.openxmlformats.org/officeDocument/2006/relationships/image" Target="../media/image19.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7.jpeg"/><Relationship Id="rId4"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6.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8.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8.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8.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9.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9.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9.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9.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0.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2.jpeg"/><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6255412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8673535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95003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626025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990890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469476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11436"/>
            <a:ext cx="8139112" cy="525016"/>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070303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125227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225426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7972593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218478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707183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724676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Click to edit Master title style</a:t>
            </a:r>
            <a:endParaRPr lang="en-GB"/>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935903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1" y="660402"/>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5"/>
            <a:ext cx="284734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74780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27029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275972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6344420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751828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a:p>
        </p:txBody>
      </p:sp>
      <p:sp>
        <p:nvSpPr>
          <p:cNvPr id="8" name="Rectangle 4"/>
          <p:cNvSpPr>
            <a:spLocks noChangeArrowheads="1"/>
          </p:cNvSpPr>
          <p:nvPr userDrawn="1"/>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201508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9274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solidFill>
                <a:latin typeface="+mn-lt"/>
                <a:ea typeface="ＭＳ Ｐゴシック" charset="0"/>
                <a:cs typeface="CiscoSans"/>
              </a:defRPr>
            </a:lvl1pPr>
            <a:lvl2pPr marL="228594" indent="-114297">
              <a:buClr>
                <a:schemeClr val="tx2"/>
              </a:buClr>
              <a:buSzPct val="60000"/>
              <a:defRPr sz="2000">
                <a:solidFill>
                  <a:schemeClr val="bg1"/>
                </a:solidFill>
              </a:defRPr>
            </a:lvl2pPr>
            <a:lvl3pPr marL="342892" indent="-114297">
              <a:buClr>
                <a:schemeClr val="tx2"/>
              </a:buClr>
              <a:buSzPct val="60000"/>
              <a:defRPr sz="1800">
                <a:solidFill>
                  <a:schemeClr val="bg1"/>
                </a:solidFill>
              </a:defRPr>
            </a:lvl3pPr>
            <a:lvl4pPr marL="457189" indent="-123822">
              <a:buClr>
                <a:schemeClr val="tx2"/>
              </a:buClr>
              <a:buSzPct val="60000"/>
              <a:defRPr sz="1600">
                <a:solidFill>
                  <a:schemeClr val="bg1"/>
                </a:solidFill>
              </a:defRPr>
            </a:lvl4pPr>
            <a:lvl5pPr marL="574661" indent="-117472">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15142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369902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5832644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25435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5"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80473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67418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7"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04669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6"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660254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5" name="Freeform 6"/>
          <p:cNvSpPr>
            <a:spLocks noChangeAspect="1" noEditPoints="1"/>
          </p:cNvSpPr>
          <p:nvPr userDrawn="1"/>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solidFill>
                <a:schemeClr val="bg1"/>
              </a:solidFill>
            </a:endParaRPr>
          </a:p>
        </p:txBody>
      </p:sp>
    </p:spTree>
    <p:extLst>
      <p:ext uri="{BB962C8B-B14F-4D97-AF65-F5344CB8AC3E}">
        <p14:creationId xmlns:p14="http://schemas.microsoft.com/office/powerpoint/2010/main" val="13956444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9515158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04561822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9939547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468586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73274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8384348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5174502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0864541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1730457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30217406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74376789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517312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92867305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973539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0693000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191687" y="930677"/>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Tree>
    <p:extLst>
      <p:ext uri="{BB962C8B-B14F-4D97-AF65-F5344CB8AC3E}">
        <p14:creationId xmlns:p14="http://schemas.microsoft.com/office/powerpoint/2010/main" val="42365065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4223603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50585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634475256"/>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829488926"/>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69870657"/>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566455549"/>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519234235"/>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75657589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296963549"/>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572697641"/>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2122213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619105983"/>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292032403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8977-0C03-453D-BCF2-D4BE13749D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7156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8694236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9857929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5275372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_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573386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Intro Slide - blue - one speaker">
    <p:bg>
      <p:bgPr>
        <a:solidFill>
          <a:schemeClr val="bg2"/>
        </a:solidFill>
        <a:effectLst/>
      </p:bgPr>
    </p:bg>
    <p:spTree>
      <p:nvGrpSpPr>
        <p:cNvPr id="1" name=""/>
        <p:cNvGrpSpPr/>
        <p:nvPr/>
      </p:nvGrpSpPr>
      <p:grpSpPr>
        <a:xfrm>
          <a:off x="0" y="0"/>
          <a:ext cx="0" cy="0"/>
          <a:chOff x="0" y="0"/>
          <a:chExt cx="0" cy="0"/>
        </a:xfrm>
      </p:grpSpPr>
      <p:pic>
        <p:nvPicPr>
          <p:cNvPr id="11" name="Picture 10" descr="A picture containing drawing, light&#10;&#10;Description automatically generated">
            <a:extLst>
              <a:ext uri="{FF2B5EF4-FFF2-40B4-BE49-F238E27FC236}">
                <a16:creationId xmlns:a16="http://schemas.microsoft.com/office/drawing/2014/main" id="{E450DC1B-CD3F-D749-AA30-7A84A8C9B7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3292" y="391308"/>
            <a:ext cx="2055183" cy="423534"/>
          </a:xfrm>
          <a:prstGeom prst="rect">
            <a:avLst/>
          </a:prstGeom>
        </p:spPr>
      </p:pic>
      <p:sp>
        <p:nvSpPr>
          <p:cNvPr id="7" name="Text Placeholder 2">
            <a:extLst>
              <a:ext uri="{FF2B5EF4-FFF2-40B4-BE49-F238E27FC236}">
                <a16:creationId xmlns:a16="http://schemas.microsoft.com/office/drawing/2014/main" id="{5D479132-0FD9-9847-95FD-B4E7A4E7BF14}"/>
              </a:ext>
            </a:extLst>
          </p:cNvPr>
          <p:cNvSpPr>
            <a:spLocks noGrp="1"/>
          </p:cNvSpPr>
          <p:nvPr>
            <p:ph type="body" sz="quarter" idx="10" hasCustomPrompt="1"/>
          </p:nvPr>
        </p:nvSpPr>
        <p:spPr>
          <a:xfrm>
            <a:off x="446088" y="1251405"/>
            <a:ext cx="5468937" cy="1417183"/>
          </a:xfrm>
          <a:prstGeom prst="rect">
            <a:avLst/>
          </a:prstGeom>
        </p:spPr>
        <p:txBody>
          <a:bodyPr anchor="b"/>
          <a:lstStyle>
            <a:lvl1pPr marL="0" indent="0">
              <a:buNone/>
              <a:defRPr sz="4000" baseline="0">
                <a:solidFill>
                  <a:schemeClr val="tx1"/>
                </a:solidFill>
              </a:defRPr>
            </a:lvl1pPr>
          </a:lstStyle>
          <a:p>
            <a:pPr lvl="0"/>
            <a:r>
              <a:rPr lang="en-US"/>
              <a:t>Title Text</a:t>
            </a:r>
          </a:p>
        </p:txBody>
      </p:sp>
      <p:sp>
        <p:nvSpPr>
          <p:cNvPr id="9" name="Text Placeholder 17">
            <a:extLst>
              <a:ext uri="{FF2B5EF4-FFF2-40B4-BE49-F238E27FC236}">
                <a16:creationId xmlns:a16="http://schemas.microsoft.com/office/drawing/2014/main" id="{A8D3E840-19FE-624F-AF5B-D07C63215F85}"/>
              </a:ext>
            </a:extLst>
          </p:cNvPr>
          <p:cNvSpPr>
            <a:spLocks noGrp="1"/>
          </p:cNvSpPr>
          <p:nvPr>
            <p:ph type="body" sz="quarter" idx="11" hasCustomPrompt="1"/>
          </p:nvPr>
        </p:nvSpPr>
        <p:spPr>
          <a:xfrm>
            <a:off x="446088" y="2751138"/>
            <a:ext cx="5468937" cy="627062"/>
          </a:xfrm>
          <a:prstGeom prst="rect">
            <a:avLst/>
          </a:prstGeom>
        </p:spPr>
        <p:txBody>
          <a:bodyPr/>
          <a:lstStyle>
            <a:lvl1pPr marL="0" indent="0">
              <a:buNone/>
              <a:defRPr>
                <a:solidFill>
                  <a:schemeClr val="tx1"/>
                </a:solidFill>
              </a:defRPr>
            </a:lvl1pPr>
          </a:lstStyle>
          <a:p>
            <a:pPr lvl="0"/>
            <a:r>
              <a:rPr lang="en-US"/>
              <a:t>Subtitle</a:t>
            </a:r>
          </a:p>
        </p:txBody>
      </p:sp>
      <p:sp>
        <p:nvSpPr>
          <p:cNvPr id="10" name="Text Placeholder 19">
            <a:extLst>
              <a:ext uri="{FF2B5EF4-FFF2-40B4-BE49-F238E27FC236}">
                <a16:creationId xmlns:a16="http://schemas.microsoft.com/office/drawing/2014/main" id="{A9B5933D-6F3C-6340-9542-8C25DCA6B72E}"/>
              </a:ext>
            </a:extLst>
          </p:cNvPr>
          <p:cNvSpPr>
            <a:spLocks noGrp="1"/>
          </p:cNvSpPr>
          <p:nvPr>
            <p:ph type="body" sz="quarter" idx="12" hasCustomPrompt="1"/>
          </p:nvPr>
        </p:nvSpPr>
        <p:spPr>
          <a:xfrm>
            <a:off x="466725" y="3814763"/>
            <a:ext cx="5448300" cy="230187"/>
          </a:xfrm>
          <a:prstGeom prst="rect">
            <a:avLst/>
          </a:prstGeom>
        </p:spPr>
        <p:txBody>
          <a:bodyPr/>
          <a:lstStyle>
            <a:lvl1pPr marL="0" indent="0">
              <a:buNone/>
              <a:defRPr>
                <a:solidFill>
                  <a:schemeClr val="tx1"/>
                </a:solidFill>
              </a:defRPr>
            </a:lvl1pPr>
          </a:lstStyle>
          <a:p>
            <a:pPr lvl="0"/>
            <a:r>
              <a:rPr lang="en-US"/>
              <a:t>Presenter Name, Presenter Job Title</a:t>
            </a:r>
          </a:p>
        </p:txBody>
      </p:sp>
      <p:sp>
        <p:nvSpPr>
          <p:cNvPr id="12" name="Text Placeholder 21">
            <a:extLst>
              <a:ext uri="{FF2B5EF4-FFF2-40B4-BE49-F238E27FC236}">
                <a16:creationId xmlns:a16="http://schemas.microsoft.com/office/drawing/2014/main" id="{F10052B6-3748-E34D-8FCD-FEF17C68E4B7}"/>
              </a:ext>
            </a:extLst>
          </p:cNvPr>
          <p:cNvSpPr>
            <a:spLocks noGrp="1"/>
          </p:cNvSpPr>
          <p:nvPr>
            <p:ph type="body" sz="quarter" idx="13" hasCustomPrompt="1"/>
          </p:nvPr>
        </p:nvSpPr>
        <p:spPr>
          <a:xfrm>
            <a:off x="466725" y="4078372"/>
            <a:ext cx="5448300" cy="269875"/>
          </a:xfrm>
          <a:prstGeom prst="rect">
            <a:avLst/>
          </a:prstGeom>
        </p:spPr>
        <p:txBody>
          <a:bodyPr/>
          <a:lstStyle>
            <a:lvl1pPr marL="0" indent="0">
              <a:buNone/>
              <a:defRPr>
                <a:solidFill>
                  <a:schemeClr val="accent1"/>
                </a:solidFill>
              </a:defRPr>
            </a:lvl1pPr>
          </a:lstStyle>
          <a:p>
            <a:pPr lvl="0"/>
            <a:r>
              <a:rPr lang="en-US" err="1"/>
              <a:t>PresenterEmail@Website.com</a:t>
            </a:r>
            <a:endParaRPr lang="en-US"/>
          </a:p>
        </p:txBody>
      </p:sp>
      <p:pic>
        <p:nvPicPr>
          <p:cNvPr id="17" name="Picture 16">
            <a:extLst>
              <a:ext uri="{FF2B5EF4-FFF2-40B4-BE49-F238E27FC236}">
                <a16:creationId xmlns:a16="http://schemas.microsoft.com/office/drawing/2014/main" id="{9DA7784E-C1F9-5E41-8D8B-8EF73A7A047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78702" y="4707089"/>
            <a:ext cx="1420080" cy="219182"/>
          </a:xfrm>
          <a:prstGeom prst="rect">
            <a:avLst/>
          </a:prstGeom>
        </p:spPr>
      </p:pic>
      <p:pic>
        <p:nvPicPr>
          <p:cNvPr id="21" name="Picture 20" descr="A picture containing meter, clock&#10;&#10;Description generated with very high confidence">
            <a:extLst>
              <a:ext uri="{FF2B5EF4-FFF2-40B4-BE49-F238E27FC236}">
                <a16:creationId xmlns:a16="http://schemas.microsoft.com/office/drawing/2014/main" id="{D254B08A-28B3-0B42-AEF9-15BC6B0936E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8730" r="377" b="35873"/>
          <a:stretch/>
        </p:blipFill>
        <p:spPr>
          <a:xfrm>
            <a:off x="6542814" y="2751370"/>
            <a:ext cx="2664094" cy="268501"/>
          </a:xfrm>
          <a:prstGeom prst="rect">
            <a:avLst/>
          </a:prstGeom>
        </p:spPr>
      </p:pic>
      <p:pic>
        <p:nvPicPr>
          <p:cNvPr id="22" name="Picture 21" descr="A picture containing meter, clock&#10;&#10;Description generated with very high confidence">
            <a:extLst>
              <a:ext uri="{FF2B5EF4-FFF2-40B4-BE49-F238E27FC236}">
                <a16:creationId xmlns:a16="http://schemas.microsoft.com/office/drawing/2014/main" id="{CACAD2C0-A884-724C-9928-D583B01E442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8730" r="377" b="35873"/>
          <a:stretch/>
        </p:blipFill>
        <p:spPr>
          <a:xfrm>
            <a:off x="6541855" y="3222980"/>
            <a:ext cx="2664094" cy="268501"/>
          </a:xfrm>
          <a:prstGeom prst="rect">
            <a:avLst/>
          </a:prstGeom>
        </p:spPr>
      </p:pic>
      <p:pic>
        <p:nvPicPr>
          <p:cNvPr id="23" name="Picture 22" descr="A picture containing meter, clock&#10;&#10;Description generated with very high confidence">
            <a:extLst>
              <a:ext uri="{FF2B5EF4-FFF2-40B4-BE49-F238E27FC236}">
                <a16:creationId xmlns:a16="http://schemas.microsoft.com/office/drawing/2014/main" id="{6057513E-091A-9C44-ABC4-C28C472ECCE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8730" r="377" b="35873"/>
          <a:stretch/>
        </p:blipFill>
        <p:spPr>
          <a:xfrm>
            <a:off x="6541854" y="3696987"/>
            <a:ext cx="2664094" cy="268501"/>
          </a:xfrm>
          <a:prstGeom prst="rect">
            <a:avLst/>
          </a:prstGeom>
        </p:spPr>
      </p:pic>
      <p:pic>
        <p:nvPicPr>
          <p:cNvPr id="24" name="Picture 23" descr="A picture containing meter, clock&#10;&#10;Description generated with very high confidence">
            <a:extLst>
              <a:ext uri="{FF2B5EF4-FFF2-40B4-BE49-F238E27FC236}">
                <a16:creationId xmlns:a16="http://schemas.microsoft.com/office/drawing/2014/main" id="{053F070B-6A2C-9540-B293-C97284FADB56}"/>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8730" r="377" b="35873"/>
          <a:stretch/>
        </p:blipFill>
        <p:spPr>
          <a:xfrm>
            <a:off x="6539452" y="4159949"/>
            <a:ext cx="2664094" cy="268501"/>
          </a:xfrm>
          <a:prstGeom prst="rect">
            <a:avLst/>
          </a:prstGeom>
        </p:spPr>
      </p:pic>
      <p:sp>
        <p:nvSpPr>
          <p:cNvPr id="15" name="Google Shape;106;p19">
            <a:extLst>
              <a:ext uri="{FF2B5EF4-FFF2-40B4-BE49-F238E27FC236}">
                <a16:creationId xmlns:a16="http://schemas.microsoft.com/office/drawing/2014/main" id="{672B1FCD-6DD6-E04B-9B49-F8BD7611EC6F}"/>
              </a:ext>
            </a:extLst>
          </p:cNvPr>
          <p:cNvSpPr txBox="1"/>
          <p:nvPr userDrawn="1"/>
        </p:nvSpPr>
        <p:spPr>
          <a:xfrm>
            <a:off x="508478" y="4741674"/>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b="0" i="0">
                <a:solidFill>
                  <a:schemeClr val="tx1">
                    <a:lumMod val="50000"/>
                  </a:schemeClr>
                </a:solidFill>
                <a:latin typeface="CiscoSansTT ExtraLight" panose="020B0303020201020303" pitchFamily="34" charset="0"/>
              </a:rPr>
              <a:t>© </a:t>
            </a:r>
            <a:r>
              <a:rPr lang="en-US" b="0" i="0">
                <a:solidFill>
                  <a:schemeClr val="tx1">
                    <a:lumMod val="50000"/>
                  </a:schemeClr>
                </a:solidFill>
                <a:latin typeface="CiscoSansTT ExtraLight" panose="020B0303020201020303" pitchFamily="34" charset="0"/>
              </a:rPr>
              <a:t>2020</a:t>
            </a:r>
            <a:r>
              <a:rPr b="0" i="0">
                <a:solidFill>
                  <a:schemeClr val="tx1">
                    <a:lumMod val="50000"/>
                  </a:schemeClr>
                </a:solidFill>
                <a:latin typeface="CiscoSansTT ExtraLight" panose="020B0303020201020303" pitchFamily="34" charset="0"/>
              </a:rPr>
              <a:t>  Cisco and/or its affiliates. All rights reserved.  </a:t>
            </a:r>
          </a:p>
        </p:txBody>
      </p:sp>
    </p:spTree>
    <p:extLst>
      <p:ext uri="{BB962C8B-B14F-4D97-AF65-F5344CB8AC3E}">
        <p14:creationId xmlns:p14="http://schemas.microsoft.com/office/powerpoint/2010/main" val="698767170"/>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ext + two column text - midnight blue">
    <p:bg>
      <p:bgPr>
        <a:solidFill>
          <a:schemeClr val="bg1"/>
        </a:solidFill>
        <a:effectLst/>
      </p:bgPr>
    </p:bg>
    <p:spTree>
      <p:nvGrpSpPr>
        <p:cNvPr id="1" name=""/>
        <p:cNvGrpSpPr/>
        <p:nvPr/>
      </p:nvGrpSpPr>
      <p:grpSpPr>
        <a:xfrm>
          <a:off x="0" y="0"/>
          <a:ext cx="0" cy="0"/>
          <a:chOff x="0" y="0"/>
          <a:chExt cx="0" cy="0"/>
        </a:xfrm>
      </p:grpSpPr>
      <p:sp>
        <p:nvSpPr>
          <p:cNvPr id="8" name="Body Level One…">
            <a:extLst>
              <a:ext uri="{FF2B5EF4-FFF2-40B4-BE49-F238E27FC236}">
                <a16:creationId xmlns:a16="http://schemas.microsoft.com/office/drawing/2014/main" id="{339E0F95-54DB-E845-A04C-6193A40CFAC2}"/>
              </a:ext>
            </a:extLst>
          </p:cNvPr>
          <p:cNvSpPr txBox="1">
            <a:spLocks noGrp="1"/>
          </p:cNvSpPr>
          <p:nvPr>
            <p:ph type="body" sz="half" idx="1"/>
          </p:nvPr>
        </p:nvSpPr>
        <p:spPr>
          <a:xfrm>
            <a:off x="533398" y="1205898"/>
            <a:ext cx="3886201" cy="3083094"/>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tx1"/>
                </a:solidFill>
              </a:defRPr>
            </a:lvl1pPr>
            <a:lvl2pPr marL="301625" indent="-127000">
              <a:spcBef>
                <a:spcPts val="1100"/>
              </a:spcBef>
              <a:buClr>
                <a:schemeClr val="accent1"/>
              </a:buClr>
              <a:buSzPct val="60000"/>
              <a:defRPr sz="2000" baseline="0">
                <a:solidFill>
                  <a:schemeClr val="tx1"/>
                </a:solidFill>
              </a:defRPr>
            </a:lvl2pPr>
            <a:lvl3pPr marL="431800" indent="-142875">
              <a:spcBef>
                <a:spcPts val="1100"/>
              </a:spcBef>
              <a:buClr>
                <a:schemeClr val="accent1"/>
              </a:buClr>
              <a:buSzPct val="60000"/>
              <a:defRPr sz="2000" baseline="0">
                <a:solidFill>
                  <a:schemeClr val="tx1"/>
                </a:solidFill>
              </a:defRPr>
            </a:lvl3pPr>
            <a:lvl4pPr marL="566510" indent="-163285">
              <a:spcBef>
                <a:spcPts val="1100"/>
              </a:spcBef>
              <a:buClr>
                <a:schemeClr val="accent1"/>
              </a:buClr>
              <a:buSzPct val="60000"/>
              <a:defRPr sz="2000" baseline="0">
                <a:solidFill>
                  <a:schemeClr val="tx1"/>
                </a:solidFill>
              </a:defRPr>
            </a:lvl4pPr>
            <a:lvl5pPr marL="708025" indent="-190500">
              <a:spcBef>
                <a:spcPts val="1100"/>
              </a:spcBef>
              <a:buClr>
                <a:schemeClr val="accent1"/>
              </a:buClr>
              <a:buSzPct val="60000"/>
              <a:defRPr sz="2000" baseline="0">
                <a:solidFill>
                  <a:schemeClr val="tx1"/>
                </a:solidFill>
              </a:defRPr>
            </a:lvl5pPr>
          </a:lstStyle>
          <a:p>
            <a:r>
              <a:t>Body Level One</a:t>
            </a:r>
          </a:p>
          <a:p>
            <a:pPr lvl="1"/>
            <a:r>
              <a:t>Body Level Two</a:t>
            </a:r>
          </a:p>
          <a:p>
            <a:pPr lvl="2"/>
            <a:r>
              <a:t>Body Level Three</a:t>
            </a:r>
          </a:p>
          <a:p>
            <a:pPr lvl="3"/>
            <a:r>
              <a:t>Body Level Four</a:t>
            </a:r>
          </a:p>
          <a:p>
            <a:pPr lvl="4"/>
            <a:r>
              <a:t>Body Level Five</a:t>
            </a:r>
          </a:p>
        </p:txBody>
      </p:sp>
      <p:sp>
        <p:nvSpPr>
          <p:cNvPr id="9" name="Title Text">
            <a:extLst>
              <a:ext uri="{FF2B5EF4-FFF2-40B4-BE49-F238E27FC236}">
                <a16:creationId xmlns:a16="http://schemas.microsoft.com/office/drawing/2014/main" id="{2B27F4CC-E9E1-E84E-87E1-BB42CBBAE8E5}"/>
              </a:ext>
            </a:extLst>
          </p:cNvPr>
          <p:cNvSpPr txBox="1">
            <a:spLocks noGrp="1"/>
          </p:cNvSpPr>
          <p:nvPr>
            <p:ph type="title"/>
          </p:nvPr>
        </p:nvSpPr>
        <p:spPr>
          <a:xfrm>
            <a:off x="437766" y="341313"/>
            <a:ext cx="8345489" cy="731838"/>
          </a:xfrm>
          <a:prstGeom prst="rect">
            <a:avLst/>
          </a:prstGeom>
        </p:spPr>
        <p:txBody>
          <a:bodyPr anchor="ctr"/>
          <a:lstStyle>
            <a:lvl1pPr>
              <a:lnSpc>
                <a:spcPct val="80000"/>
              </a:lnSpc>
              <a:defRPr sz="2800" baseline="0">
                <a:solidFill>
                  <a:schemeClr val="tx1"/>
                </a:solidFill>
              </a:defRPr>
            </a:lvl1pPr>
          </a:lstStyle>
          <a:p>
            <a:r>
              <a:t>Title Text</a:t>
            </a:r>
          </a:p>
        </p:txBody>
      </p:sp>
      <p:sp>
        <p:nvSpPr>
          <p:cNvPr id="10" name="Body Level One…">
            <a:extLst>
              <a:ext uri="{FF2B5EF4-FFF2-40B4-BE49-F238E27FC236}">
                <a16:creationId xmlns:a16="http://schemas.microsoft.com/office/drawing/2014/main" id="{D368E1FE-783D-F843-8F98-724F71484BF3}"/>
              </a:ext>
            </a:extLst>
          </p:cNvPr>
          <p:cNvSpPr txBox="1">
            <a:spLocks noGrp="1"/>
          </p:cNvSpPr>
          <p:nvPr>
            <p:ph type="body" sz="half" idx="10"/>
          </p:nvPr>
        </p:nvSpPr>
        <p:spPr>
          <a:xfrm>
            <a:off x="4906991" y="1205898"/>
            <a:ext cx="3886201" cy="3083094"/>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tx1"/>
                </a:solidFill>
              </a:defRPr>
            </a:lvl1pPr>
            <a:lvl2pPr marL="301625" indent="-127000">
              <a:spcBef>
                <a:spcPts val="1100"/>
              </a:spcBef>
              <a:buClr>
                <a:schemeClr val="accent1"/>
              </a:buClr>
              <a:buSzPct val="60000"/>
              <a:defRPr sz="2000" baseline="0">
                <a:solidFill>
                  <a:schemeClr val="tx1"/>
                </a:solidFill>
              </a:defRPr>
            </a:lvl2pPr>
            <a:lvl3pPr marL="431800" indent="-142875">
              <a:spcBef>
                <a:spcPts val="1100"/>
              </a:spcBef>
              <a:buClr>
                <a:schemeClr val="accent1"/>
              </a:buClr>
              <a:buSzPct val="60000"/>
              <a:defRPr sz="2000" baseline="0">
                <a:solidFill>
                  <a:schemeClr val="tx1"/>
                </a:solidFill>
              </a:defRPr>
            </a:lvl3pPr>
            <a:lvl4pPr marL="566510" indent="-163285">
              <a:spcBef>
                <a:spcPts val="1100"/>
              </a:spcBef>
              <a:buClr>
                <a:schemeClr val="accent1"/>
              </a:buClr>
              <a:buSzPct val="60000"/>
              <a:defRPr sz="2000" baseline="0">
                <a:solidFill>
                  <a:schemeClr val="tx1"/>
                </a:solidFill>
              </a:defRPr>
            </a:lvl4pPr>
            <a:lvl5pPr marL="708025" indent="-190500">
              <a:spcBef>
                <a:spcPts val="1100"/>
              </a:spcBef>
              <a:buClr>
                <a:schemeClr val="accent1"/>
              </a:buClr>
              <a:buSzPct val="60000"/>
              <a:defRPr sz="2000" baseline="0">
                <a:solidFill>
                  <a:schemeClr val="tx1"/>
                </a:solidFill>
              </a:defRPr>
            </a:lvl5pPr>
          </a:lstStyle>
          <a:p>
            <a:r>
              <a:t>Body Level One</a:t>
            </a:r>
          </a:p>
          <a:p>
            <a:pPr lvl="1"/>
            <a:r>
              <a:t>Body Level Two</a:t>
            </a:r>
          </a:p>
          <a:p>
            <a:pPr lvl="2"/>
            <a:r>
              <a:t>Body Level Three</a:t>
            </a:r>
          </a:p>
          <a:p>
            <a:pPr lvl="3"/>
            <a:r>
              <a:t>Body Level Four</a:t>
            </a:r>
          </a:p>
          <a:p>
            <a:pPr lvl="4"/>
            <a:r>
              <a:t>Body Level Five</a:t>
            </a:r>
          </a:p>
        </p:txBody>
      </p:sp>
      <p:pic>
        <p:nvPicPr>
          <p:cNvPr id="11" name="Picture 10" descr="A picture containing drawing, light&#10;&#10;Description automatically generated">
            <a:extLst>
              <a:ext uri="{FF2B5EF4-FFF2-40B4-BE49-F238E27FC236}">
                <a16:creationId xmlns:a16="http://schemas.microsoft.com/office/drawing/2014/main" id="{1F02E246-BE4A-3C43-9349-C27E0D176B2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sp>
        <p:nvSpPr>
          <p:cNvPr id="16" name="Google Shape;106;p19">
            <a:extLst>
              <a:ext uri="{FF2B5EF4-FFF2-40B4-BE49-F238E27FC236}">
                <a16:creationId xmlns:a16="http://schemas.microsoft.com/office/drawing/2014/main" id="{6C37ECAE-B6D0-AC49-A3B3-AC1DE8FAF085}"/>
              </a:ext>
            </a:extLst>
          </p:cNvPr>
          <p:cNvSpPr txBox="1"/>
          <p:nvPr userDrawn="1"/>
        </p:nvSpPr>
        <p:spPr>
          <a:xfrm>
            <a:off x="2212324" y="4832292"/>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pic>
        <p:nvPicPr>
          <p:cNvPr id="17" name="Picture 16">
            <a:extLst>
              <a:ext uri="{FF2B5EF4-FFF2-40B4-BE49-F238E27FC236}">
                <a16:creationId xmlns:a16="http://schemas.microsoft.com/office/drawing/2014/main" id="{B59A4876-662B-9B49-9AF7-7DED41AFE9E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2" y="4764755"/>
            <a:ext cx="1420078" cy="219181"/>
          </a:xfrm>
          <a:prstGeom prst="rect">
            <a:avLst/>
          </a:prstGeom>
        </p:spPr>
      </p:pic>
    </p:spTree>
    <p:extLst>
      <p:ext uri="{BB962C8B-B14F-4D97-AF65-F5344CB8AC3E}">
        <p14:creationId xmlns:p14="http://schemas.microsoft.com/office/powerpoint/2010/main" val="2243879101"/>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x" preserve="1">
  <p:cSld name="2_Big text + blank - white">
    <p:bg>
      <p:bgPr>
        <a:solidFill>
          <a:schemeClr val="accent3"/>
        </a:solidFill>
        <a:effectLst/>
      </p:bgPr>
    </p:bg>
    <p:spTree>
      <p:nvGrpSpPr>
        <p:cNvPr id="1" name=""/>
        <p:cNvGrpSpPr/>
        <p:nvPr/>
      </p:nvGrpSpPr>
      <p:grpSpPr>
        <a:xfrm>
          <a:off x="0" y="0"/>
          <a:ext cx="0" cy="0"/>
          <a:chOff x="0" y="0"/>
          <a:chExt cx="0" cy="0"/>
        </a:xfrm>
      </p:grpSpPr>
      <p:sp>
        <p:nvSpPr>
          <p:cNvPr id="123"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solidFill>
                  <a:schemeClr val="tx1"/>
                </a:solidFill>
              </a:defRPr>
            </a:lvl1pPr>
          </a:lstStyle>
          <a:p>
            <a:r>
              <a:t>Title Text</a:t>
            </a:r>
          </a:p>
        </p:txBody>
      </p:sp>
      <p:sp>
        <p:nvSpPr>
          <p:cNvPr id="8" name="Google Shape;106;p19">
            <a:extLst>
              <a:ext uri="{FF2B5EF4-FFF2-40B4-BE49-F238E27FC236}">
                <a16:creationId xmlns:a16="http://schemas.microsoft.com/office/drawing/2014/main" id="{7BE228A1-3B8C-F445-8C7A-C2110D65904B}"/>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9" name="Picture 8">
            <a:extLst>
              <a:ext uri="{FF2B5EF4-FFF2-40B4-BE49-F238E27FC236}">
                <a16:creationId xmlns:a16="http://schemas.microsoft.com/office/drawing/2014/main" id="{FDEA99EA-7133-944B-BCBF-7560C9D7EA3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pic>
        <p:nvPicPr>
          <p:cNvPr id="6" name="Picture 5" descr="A picture containing drawing, light&#10;&#10;Description automatically generated">
            <a:extLst>
              <a:ext uri="{FF2B5EF4-FFF2-40B4-BE49-F238E27FC236}">
                <a16:creationId xmlns:a16="http://schemas.microsoft.com/office/drawing/2014/main" id="{C67A4AC0-6C39-7C47-ADDA-E30198050F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486886" y="4662685"/>
            <a:ext cx="1465443" cy="302000"/>
          </a:xfrm>
          <a:prstGeom prst="rect">
            <a:avLst/>
          </a:prstGeom>
        </p:spPr>
      </p:pic>
      <p:pic>
        <p:nvPicPr>
          <p:cNvPr id="7" name="Picture 6">
            <a:extLst>
              <a:ext uri="{FF2B5EF4-FFF2-40B4-BE49-F238E27FC236}">
                <a16:creationId xmlns:a16="http://schemas.microsoft.com/office/drawing/2014/main" id="{DE233B73-B653-1640-9E2E-B56E03DC915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16200000">
            <a:off x="8394660" y="-662944"/>
            <a:ext cx="1416299" cy="1474169"/>
          </a:xfrm>
          <a:prstGeom prst="rect">
            <a:avLst/>
          </a:prstGeom>
        </p:spPr>
      </p:pic>
      <p:pic>
        <p:nvPicPr>
          <p:cNvPr id="10" name="Picture 9">
            <a:extLst>
              <a:ext uri="{FF2B5EF4-FFF2-40B4-BE49-F238E27FC236}">
                <a16:creationId xmlns:a16="http://schemas.microsoft.com/office/drawing/2014/main" id="{A776036E-69C3-7F4C-8352-A6AA44EE6DE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10143" y="3869110"/>
            <a:ext cx="1416299" cy="1474169"/>
          </a:xfrm>
          <a:prstGeom prst="rect">
            <a:avLst/>
          </a:prstGeom>
        </p:spPr>
      </p:pic>
    </p:spTree>
    <p:extLst>
      <p:ext uri="{BB962C8B-B14F-4D97-AF65-F5344CB8AC3E}">
        <p14:creationId xmlns:p14="http://schemas.microsoft.com/office/powerpoint/2010/main" val="927572615"/>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8509204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type="tx" preserve="1">
  <p:cSld name="Blank - logo">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31040C10-28B0-EA44-95D1-6BFE4063E4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7" name="Google Shape;106;p19">
            <a:extLst>
              <a:ext uri="{FF2B5EF4-FFF2-40B4-BE49-F238E27FC236}">
                <a16:creationId xmlns:a16="http://schemas.microsoft.com/office/drawing/2014/main" id="{9F81B95D-E924-F045-BADD-463E0CE92FE9}"/>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8" name="Picture 7">
            <a:extLst>
              <a:ext uri="{FF2B5EF4-FFF2-40B4-BE49-F238E27FC236}">
                <a16:creationId xmlns:a16="http://schemas.microsoft.com/office/drawing/2014/main" id="{90939C9A-F4F5-0540-B5E9-65686C2123E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spTree>
    <p:extLst>
      <p:ext uri="{BB962C8B-B14F-4D97-AF65-F5344CB8AC3E}">
        <p14:creationId xmlns:p14="http://schemas.microsoft.com/office/powerpoint/2010/main" val="4202629960"/>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2_Half_Page_Text">
    <p:spTree>
      <p:nvGrpSpPr>
        <p:cNvPr id="1" name=""/>
        <p:cNvGrpSpPr/>
        <p:nvPr/>
      </p:nvGrpSpPr>
      <p:grpSpPr>
        <a:xfrm>
          <a:off x="0" y="0"/>
          <a:ext cx="0" cy="0"/>
          <a:chOff x="0" y="0"/>
          <a:chExt cx="0" cy="0"/>
        </a:xfrm>
      </p:grpSpPr>
      <p:sp>
        <p:nvSpPr>
          <p:cNvPr id="182" name="Rectangle 4"/>
          <p:cNvSpPr txBox="1"/>
          <p:nvPr/>
        </p:nvSpPr>
        <p:spPr>
          <a:xfrm>
            <a:off x="477678" y="4732986"/>
            <a:ext cx="3401052" cy="1631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92" tIns="30792" rIns="30792" bIns="30792" anchor="b">
            <a:spAutoFit/>
          </a:bodyPr>
          <a:lstStyle>
            <a:lvl1pPr defTabSz="610744">
              <a:defRPr sz="600" spc="20">
                <a:solidFill>
                  <a:srgbClr val="4CFFFF"/>
                </a:solidFill>
              </a:defRPr>
            </a:lvl1pPr>
          </a:lstStyle>
          <a:p>
            <a:r>
              <a:t>© 2019  Cisco and/or its affiliates. All rights reserved.   Cisco Confidential</a:t>
            </a:r>
          </a:p>
        </p:txBody>
      </p:sp>
      <p:sp>
        <p:nvSpPr>
          <p:cNvPr id="183" name="Rectangle 3"/>
          <p:cNvSpPr/>
          <p:nvPr userDrawn="1"/>
        </p:nvSpPr>
        <p:spPr>
          <a:xfrm>
            <a:off x="-1" y="0"/>
            <a:ext cx="4580094" cy="5143500"/>
          </a:xfrm>
          <a:prstGeom prst="rect">
            <a:avLst/>
          </a:prstGeom>
          <a:solidFill>
            <a:schemeClr val="accent3"/>
          </a:solidFill>
          <a:ln w="12700">
            <a:miter lim="400000"/>
          </a:ln>
        </p:spPr>
        <p:txBody>
          <a:bodyPr lIns="45719" rIns="45719" anchor="ctr"/>
          <a:lstStyle/>
          <a:p>
            <a:pPr algn="ctr">
              <a:defRPr sz="1100">
                <a:solidFill>
                  <a:srgbClr val="000000"/>
                </a:solidFill>
              </a:defRPr>
            </a:pPr>
            <a:endParaRPr>
              <a:solidFill>
                <a:schemeClr val="accent3"/>
              </a:solidFill>
            </a:endParaRPr>
          </a:p>
        </p:txBody>
      </p:sp>
      <p:sp>
        <p:nvSpPr>
          <p:cNvPr id="185" name="Body Level One…"/>
          <p:cNvSpPr txBox="1">
            <a:spLocks noGrp="1"/>
          </p:cNvSpPr>
          <p:nvPr>
            <p:ph type="body" sz="half" idx="1"/>
          </p:nvPr>
        </p:nvSpPr>
        <p:spPr>
          <a:xfrm>
            <a:off x="5097462" y="531812"/>
            <a:ext cx="3551238" cy="4059238"/>
          </a:xfrm>
          <a:prstGeom prst="rect">
            <a:avLst/>
          </a:prstGeom>
        </p:spPr>
        <p:txBody>
          <a:bodyPr lIns="0" tIns="0" rIns="0" bIns="0" anchor="ctr">
            <a:normAutofit/>
          </a:bodyPr>
          <a:lstStyle>
            <a:lvl1pPr>
              <a:lnSpc>
                <a:spcPct val="100000"/>
              </a:lnSpc>
              <a:buClr>
                <a:schemeClr val="accent1"/>
              </a:buClr>
              <a:buSzPct val="60000"/>
              <a:tabLst>
                <a:tab pos="228600" algn="l"/>
              </a:tabLst>
              <a:defRPr sz="2400" baseline="0">
                <a:solidFill>
                  <a:schemeClr val="accent3"/>
                </a:solidFill>
              </a:defRPr>
            </a:lvl1pPr>
            <a:lvl2pPr marL="346075" indent="-171450">
              <a:lnSpc>
                <a:spcPct val="100000"/>
              </a:lnSpc>
              <a:buClr>
                <a:schemeClr val="accent1"/>
              </a:buClr>
              <a:buSzPct val="60000"/>
              <a:tabLst>
                <a:tab pos="228600" algn="l"/>
              </a:tabLst>
              <a:defRPr sz="2400" baseline="0">
                <a:solidFill>
                  <a:schemeClr val="accent3"/>
                </a:solidFill>
              </a:defRPr>
            </a:lvl2pPr>
            <a:lvl3pPr marL="480694" indent="-140969">
              <a:lnSpc>
                <a:spcPct val="100000"/>
              </a:lnSpc>
              <a:buClr>
                <a:schemeClr val="accent1"/>
              </a:buClr>
              <a:buSzPct val="60000"/>
              <a:tabLst>
                <a:tab pos="228600" algn="l"/>
              </a:tabLst>
              <a:defRPr sz="2400" baseline="0">
                <a:solidFill>
                  <a:schemeClr val="accent3"/>
                </a:solidFill>
              </a:defRPr>
            </a:lvl3pPr>
            <a:lvl4pPr marL="613833" indent="-156633">
              <a:lnSpc>
                <a:spcPct val="100000"/>
              </a:lnSpc>
              <a:buClr>
                <a:schemeClr val="accent1"/>
              </a:buClr>
              <a:buSzPct val="60000"/>
              <a:tabLst>
                <a:tab pos="228600" algn="l"/>
              </a:tabLst>
              <a:defRPr sz="2400" baseline="0">
                <a:solidFill>
                  <a:schemeClr val="accent3"/>
                </a:solidFill>
              </a:defRPr>
            </a:lvl4pPr>
            <a:lvl5pPr marL="782108" indent="-150283">
              <a:lnSpc>
                <a:spcPct val="100000"/>
              </a:lnSpc>
              <a:buClr>
                <a:schemeClr val="accent1"/>
              </a:buClr>
              <a:buSzPct val="60000"/>
              <a:tabLst>
                <a:tab pos="228600" algn="l"/>
              </a:tabLst>
              <a:defRPr sz="2400" baseline="0">
                <a:solidFill>
                  <a:schemeClr val="accent3"/>
                </a:solidFill>
              </a:defRPr>
            </a:lvl5pPr>
          </a:lstStyle>
          <a:p>
            <a:r>
              <a:t>Body Level One</a:t>
            </a:r>
          </a:p>
          <a:p>
            <a:pPr lvl="1"/>
            <a:r>
              <a:t>Body Level Two</a:t>
            </a:r>
          </a:p>
          <a:p>
            <a:pPr lvl="2"/>
            <a:r>
              <a:t>Body Level Three</a:t>
            </a:r>
          </a:p>
          <a:p>
            <a:pPr lvl="3"/>
            <a:r>
              <a:t>Body Level Four</a:t>
            </a:r>
          </a:p>
          <a:p>
            <a:pPr lvl="4"/>
            <a:r>
              <a:t>Body Level Five</a:t>
            </a:r>
          </a:p>
        </p:txBody>
      </p:sp>
      <p:pic>
        <p:nvPicPr>
          <p:cNvPr id="7" name="Picture 6" descr="A picture containing drawing&#10;&#10;Description automatically generated">
            <a:extLst>
              <a:ext uri="{FF2B5EF4-FFF2-40B4-BE49-F238E27FC236}">
                <a16:creationId xmlns:a16="http://schemas.microsoft.com/office/drawing/2014/main" id="{B35727C5-6D0B-C248-846A-172823CED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8" name="Title Text">
            <a:extLst>
              <a:ext uri="{FF2B5EF4-FFF2-40B4-BE49-F238E27FC236}">
                <a16:creationId xmlns:a16="http://schemas.microsoft.com/office/drawing/2014/main" id="{24FAEBEA-1A26-6749-B917-537EAD3DE7C1}"/>
              </a:ext>
            </a:extLst>
          </p:cNvPr>
          <p:cNvSpPr txBox="1">
            <a:spLocks noGrp="1"/>
          </p:cNvSpPr>
          <p:nvPr>
            <p:ph type="title"/>
          </p:nvPr>
        </p:nvSpPr>
        <p:spPr>
          <a:xfrm>
            <a:off x="437766" y="1659731"/>
            <a:ext cx="3808797" cy="1824039"/>
          </a:xfrm>
          <a:prstGeom prst="rect">
            <a:avLst/>
          </a:prstGeom>
        </p:spPr>
        <p:txBody>
          <a:bodyPr anchor="ctr"/>
          <a:lstStyle>
            <a:lvl1pPr>
              <a:lnSpc>
                <a:spcPct val="85000"/>
              </a:lnSpc>
              <a:defRPr sz="3200" baseline="0">
                <a:solidFill>
                  <a:schemeClr val="tx1"/>
                </a:solidFill>
              </a:defRPr>
            </a:lvl1pPr>
          </a:lstStyle>
          <a:p>
            <a:r>
              <a:t>Title Text</a:t>
            </a:r>
          </a:p>
        </p:txBody>
      </p:sp>
      <p:sp>
        <p:nvSpPr>
          <p:cNvPr id="11" name="Google Shape;106;p19">
            <a:extLst>
              <a:ext uri="{FF2B5EF4-FFF2-40B4-BE49-F238E27FC236}">
                <a16:creationId xmlns:a16="http://schemas.microsoft.com/office/drawing/2014/main" id="{885CE30F-1B0B-4745-BCF5-C1ED3E9B61D4}"/>
              </a:ext>
            </a:extLst>
          </p:cNvPr>
          <p:cNvSpPr txBox="1"/>
          <p:nvPr userDrawn="1"/>
        </p:nvSpPr>
        <p:spPr>
          <a:xfrm>
            <a:off x="2212324" y="4832292"/>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pic>
        <p:nvPicPr>
          <p:cNvPr id="14" name="Picture 13">
            <a:extLst>
              <a:ext uri="{FF2B5EF4-FFF2-40B4-BE49-F238E27FC236}">
                <a16:creationId xmlns:a16="http://schemas.microsoft.com/office/drawing/2014/main" id="{B902C395-7BE6-2747-8739-E2584C666D6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2" y="4764755"/>
            <a:ext cx="1420078" cy="219181"/>
          </a:xfrm>
          <a:prstGeom prst="rect">
            <a:avLst/>
          </a:prstGeom>
        </p:spPr>
      </p:pic>
    </p:spTree>
    <p:extLst>
      <p:ext uri="{BB962C8B-B14F-4D97-AF65-F5344CB8AC3E}">
        <p14:creationId xmlns:p14="http://schemas.microsoft.com/office/powerpoint/2010/main" val="1119433562"/>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3_Half_Page_Text">
    <p:spTree>
      <p:nvGrpSpPr>
        <p:cNvPr id="1" name=""/>
        <p:cNvGrpSpPr/>
        <p:nvPr/>
      </p:nvGrpSpPr>
      <p:grpSpPr>
        <a:xfrm>
          <a:off x="0" y="0"/>
          <a:ext cx="0" cy="0"/>
          <a:chOff x="0" y="0"/>
          <a:chExt cx="0" cy="0"/>
        </a:xfrm>
      </p:grpSpPr>
      <p:sp>
        <p:nvSpPr>
          <p:cNvPr id="182" name="Rectangle 4"/>
          <p:cNvSpPr txBox="1"/>
          <p:nvPr/>
        </p:nvSpPr>
        <p:spPr>
          <a:xfrm>
            <a:off x="477678" y="4732986"/>
            <a:ext cx="3401052" cy="1631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92" tIns="30792" rIns="30792" bIns="30792" anchor="b">
            <a:spAutoFit/>
          </a:bodyPr>
          <a:lstStyle>
            <a:lvl1pPr defTabSz="610744">
              <a:defRPr sz="600" spc="20">
                <a:solidFill>
                  <a:srgbClr val="4CFFFF"/>
                </a:solidFill>
              </a:defRPr>
            </a:lvl1pPr>
          </a:lstStyle>
          <a:p>
            <a:r>
              <a:t>© 2019  Cisco and/or its affiliates. All rights reserved.   Cisco Confidential</a:t>
            </a:r>
          </a:p>
        </p:txBody>
      </p:sp>
      <p:sp>
        <p:nvSpPr>
          <p:cNvPr id="183" name="Rectangle 3"/>
          <p:cNvSpPr/>
          <p:nvPr userDrawn="1"/>
        </p:nvSpPr>
        <p:spPr>
          <a:xfrm>
            <a:off x="-1" y="0"/>
            <a:ext cx="4580094" cy="5143500"/>
          </a:xfrm>
          <a:prstGeom prst="rect">
            <a:avLst/>
          </a:prstGeom>
          <a:solidFill>
            <a:schemeClr val="accent3"/>
          </a:solidFill>
          <a:ln w="12700">
            <a:miter lim="400000"/>
          </a:ln>
        </p:spPr>
        <p:txBody>
          <a:bodyPr lIns="45719" rIns="45719" anchor="ctr"/>
          <a:lstStyle/>
          <a:p>
            <a:pPr algn="ctr">
              <a:defRPr sz="1100">
                <a:solidFill>
                  <a:srgbClr val="000000"/>
                </a:solidFill>
              </a:defRPr>
            </a:pPr>
            <a:endParaRPr>
              <a:solidFill>
                <a:schemeClr val="accent3"/>
              </a:solidFill>
            </a:endParaRPr>
          </a:p>
        </p:txBody>
      </p:sp>
      <p:sp>
        <p:nvSpPr>
          <p:cNvPr id="185" name="Body Level One…"/>
          <p:cNvSpPr txBox="1">
            <a:spLocks noGrp="1"/>
          </p:cNvSpPr>
          <p:nvPr>
            <p:ph type="body" sz="half" idx="1"/>
          </p:nvPr>
        </p:nvSpPr>
        <p:spPr>
          <a:xfrm>
            <a:off x="5097462" y="531812"/>
            <a:ext cx="3551238" cy="4059238"/>
          </a:xfrm>
          <a:prstGeom prst="rect">
            <a:avLst/>
          </a:prstGeom>
        </p:spPr>
        <p:txBody>
          <a:bodyPr lIns="0" tIns="0" rIns="0" bIns="0" anchor="ctr">
            <a:normAutofit/>
          </a:bodyPr>
          <a:lstStyle>
            <a:lvl1pPr>
              <a:lnSpc>
                <a:spcPct val="100000"/>
              </a:lnSpc>
              <a:buClr>
                <a:schemeClr val="accent1"/>
              </a:buClr>
              <a:buSzPct val="60000"/>
              <a:tabLst>
                <a:tab pos="228600" algn="l"/>
              </a:tabLst>
              <a:defRPr sz="2400" baseline="0">
                <a:solidFill>
                  <a:schemeClr val="accent3"/>
                </a:solidFill>
              </a:defRPr>
            </a:lvl1pPr>
            <a:lvl2pPr marL="346075" indent="-171450">
              <a:lnSpc>
                <a:spcPct val="100000"/>
              </a:lnSpc>
              <a:buClr>
                <a:schemeClr val="accent1"/>
              </a:buClr>
              <a:buSzPct val="60000"/>
              <a:tabLst>
                <a:tab pos="228600" algn="l"/>
              </a:tabLst>
              <a:defRPr sz="2400" baseline="0">
                <a:solidFill>
                  <a:schemeClr val="accent3"/>
                </a:solidFill>
              </a:defRPr>
            </a:lvl2pPr>
            <a:lvl3pPr marL="480694" indent="-140969">
              <a:lnSpc>
                <a:spcPct val="100000"/>
              </a:lnSpc>
              <a:buClr>
                <a:schemeClr val="accent1"/>
              </a:buClr>
              <a:buSzPct val="60000"/>
              <a:tabLst>
                <a:tab pos="228600" algn="l"/>
              </a:tabLst>
              <a:defRPr sz="2400" baseline="0">
                <a:solidFill>
                  <a:schemeClr val="accent3"/>
                </a:solidFill>
              </a:defRPr>
            </a:lvl3pPr>
            <a:lvl4pPr marL="613833" indent="-156633">
              <a:lnSpc>
                <a:spcPct val="100000"/>
              </a:lnSpc>
              <a:buClr>
                <a:schemeClr val="accent1"/>
              </a:buClr>
              <a:buSzPct val="60000"/>
              <a:tabLst>
                <a:tab pos="228600" algn="l"/>
              </a:tabLst>
              <a:defRPr sz="2400" baseline="0">
                <a:solidFill>
                  <a:schemeClr val="accent3"/>
                </a:solidFill>
              </a:defRPr>
            </a:lvl4pPr>
            <a:lvl5pPr marL="782108" indent="-150283">
              <a:lnSpc>
                <a:spcPct val="100000"/>
              </a:lnSpc>
              <a:buClr>
                <a:schemeClr val="accent1"/>
              </a:buClr>
              <a:buSzPct val="60000"/>
              <a:tabLst>
                <a:tab pos="228600" algn="l"/>
              </a:tabLst>
              <a:defRPr sz="2400" baseline="0">
                <a:solidFill>
                  <a:schemeClr val="accent3"/>
                </a:solidFill>
              </a:defRPr>
            </a:lvl5pPr>
          </a:lstStyle>
          <a:p>
            <a:r>
              <a:t>Body Level One</a:t>
            </a:r>
          </a:p>
          <a:p>
            <a:pPr lvl="1"/>
            <a:r>
              <a:t>Body Level Two</a:t>
            </a:r>
          </a:p>
          <a:p>
            <a:pPr lvl="2"/>
            <a:r>
              <a:t>Body Level Three</a:t>
            </a:r>
          </a:p>
          <a:p>
            <a:pPr lvl="3"/>
            <a:r>
              <a:t>Body Level Four</a:t>
            </a:r>
          </a:p>
          <a:p>
            <a:pPr lvl="4"/>
            <a:r>
              <a:t>Body Level Five</a:t>
            </a:r>
          </a:p>
        </p:txBody>
      </p:sp>
      <p:pic>
        <p:nvPicPr>
          <p:cNvPr id="7" name="Picture 6" descr="A picture containing drawing&#10;&#10;Description automatically generated">
            <a:extLst>
              <a:ext uri="{FF2B5EF4-FFF2-40B4-BE49-F238E27FC236}">
                <a16:creationId xmlns:a16="http://schemas.microsoft.com/office/drawing/2014/main" id="{B35727C5-6D0B-C248-846A-172823CED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8" name="Title Text">
            <a:extLst>
              <a:ext uri="{FF2B5EF4-FFF2-40B4-BE49-F238E27FC236}">
                <a16:creationId xmlns:a16="http://schemas.microsoft.com/office/drawing/2014/main" id="{24FAEBEA-1A26-6749-B917-537EAD3DE7C1}"/>
              </a:ext>
            </a:extLst>
          </p:cNvPr>
          <p:cNvSpPr txBox="1">
            <a:spLocks noGrp="1"/>
          </p:cNvSpPr>
          <p:nvPr>
            <p:ph type="title"/>
          </p:nvPr>
        </p:nvSpPr>
        <p:spPr>
          <a:xfrm>
            <a:off x="437766" y="1659731"/>
            <a:ext cx="3808797" cy="1824039"/>
          </a:xfrm>
          <a:prstGeom prst="rect">
            <a:avLst/>
          </a:prstGeom>
        </p:spPr>
        <p:txBody>
          <a:bodyPr anchor="ctr"/>
          <a:lstStyle>
            <a:lvl1pPr>
              <a:lnSpc>
                <a:spcPct val="85000"/>
              </a:lnSpc>
              <a:defRPr sz="3200" baseline="0">
                <a:solidFill>
                  <a:schemeClr val="tx1"/>
                </a:solidFill>
              </a:defRPr>
            </a:lvl1pPr>
          </a:lstStyle>
          <a:p>
            <a:r>
              <a:t>Title Text</a:t>
            </a:r>
          </a:p>
        </p:txBody>
      </p:sp>
      <p:sp>
        <p:nvSpPr>
          <p:cNvPr id="11" name="Google Shape;106;p19">
            <a:extLst>
              <a:ext uri="{FF2B5EF4-FFF2-40B4-BE49-F238E27FC236}">
                <a16:creationId xmlns:a16="http://schemas.microsoft.com/office/drawing/2014/main" id="{885CE30F-1B0B-4745-BCF5-C1ED3E9B61D4}"/>
              </a:ext>
            </a:extLst>
          </p:cNvPr>
          <p:cNvSpPr txBox="1"/>
          <p:nvPr userDrawn="1"/>
        </p:nvSpPr>
        <p:spPr>
          <a:xfrm>
            <a:off x="2212324" y="4832292"/>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tx1"/>
                </a:solidFill>
                <a:latin typeface="CiscoSansTT ExtraLight" panose="020B0303020201020303" pitchFamily="34" charset="0"/>
              </a:rPr>
              <a:t>© 2020  Cisco and/or its affiliates. All rights reserved.   </a:t>
            </a:r>
          </a:p>
        </p:txBody>
      </p:sp>
      <p:pic>
        <p:nvPicPr>
          <p:cNvPr id="14" name="Picture 13">
            <a:extLst>
              <a:ext uri="{FF2B5EF4-FFF2-40B4-BE49-F238E27FC236}">
                <a16:creationId xmlns:a16="http://schemas.microsoft.com/office/drawing/2014/main" id="{B902C395-7BE6-2747-8739-E2584C666D6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2" y="4764755"/>
            <a:ext cx="1420078" cy="219181"/>
          </a:xfrm>
          <a:prstGeom prst="rect">
            <a:avLst/>
          </a:prstGeom>
        </p:spPr>
      </p:pic>
      <p:grpSp>
        <p:nvGrpSpPr>
          <p:cNvPr id="9" name="Group 8">
            <a:extLst>
              <a:ext uri="{FF2B5EF4-FFF2-40B4-BE49-F238E27FC236}">
                <a16:creationId xmlns:a16="http://schemas.microsoft.com/office/drawing/2014/main" id="{C4144A99-FAB5-5B48-B2E3-0073B88E4434}"/>
              </a:ext>
            </a:extLst>
          </p:cNvPr>
          <p:cNvGrpSpPr/>
          <p:nvPr userDrawn="1"/>
        </p:nvGrpSpPr>
        <p:grpSpPr>
          <a:xfrm>
            <a:off x="7506700" y="-53975"/>
            <a:ext cx="1107275" cy="4162628"/>
            <a:chOff x="7324522" y="-53975"/>
            <a:chExt cx="1107275" cy="4162628"/>
          </a:xfrm>
        </p:grpSpPr>
        <p:grpSp>
          <p:nvGrpSpPr>
            <p:cNvPr id="10" name="Group 9">
              <a:extLst>
                <a:ext uri="{FF2B5EF4-FFF2-40B4-BE49-F238E27FC236}">
                  <a16:creationId xmlns:a16="http://schemas.microsoft.com/office/drawing/2014/main" id="{AF7F8B32-613E-8F45-9753-0D7D76D53981}"/>
                </a:ext>
              </a:extLst>
            </p:cNvPr>
            <p:cNvGrpSpPr/>
            <p:nvPr/>
          </p:nvGrpSpPr>
          <p:grpSpPr>
            <a:xfrm rot="10800000">
              <a:off x="7327542" y="1025525"/>
              <a:ext cx="489105" cy="912812"/>
              <a:chOff x="8426449" y="3046009"/>
              <a:chExt cx="489105" cy="912812"/>
            </a:xfrm>
          </p:grpSpPr>
          <p:grpSp>
            <p:nvGrpSpPr>
              <p:cNvPr id="90" name="Group 89">
                <a:extLst>
                  <a:ext uri="{FF2B5EF4-FFF2-40B4-BE49-F238E27FC236}">
                    <a16:creationId xmlns:a16="http://schemas.microsoft.com/office/drawing/2014/main" id="{FC9DA480-751F-E14E-85A1-6C72AD44EDFD}"/>
                  </a:ext>
                </a:extLst>
              </p:cNvPr>
              <p:cNvGrpSpPr/>
              <p:nvPr/>
            </p:nvGrpSpPr>
            <p:grpSpPr>
              <a:xfrm>
                <a:off x="8426449" y="3046009"/>
                <a:ext cx="489105" cy="373062"/>
                <a:chOff x="7762875" y="228600"/>
                <a:chExt cx="397528" cy="303212"/>
              </a:xfrm>
            </p:grpSpPr>
            <p:cxnSp>
              <p:nvCxnSpPr>
                <p:cNvPr id="94" name="Straight Connector 93">
                  <a:extLst>
                    <a:ext uri="{FF2B5EF4-FFF2-40B4-BE49-F238E27FC236}">
                      <a16:creationId xmlns:a16="http://schemas.microsoft.com/office/drawing/2014/main" id="{652435C9-7700-E44F-9A41-1A64A0CC25E1}"/>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95" name="Straight Connector 94">
                  <a:extLst>
                    <a:ext uri="{FF2B5EF4-FFF2-40B4-BE49-F238E27FC236}">
                      <a16:creationId xmlns:a16="http://schemas.microsoft.com/office/drawing/2014/main" id="{C6C13897-4F21-004C-99E2-712E28C9C68D}"/>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91" name="Group 90">
                <a:extLst>
                  <a:ext uri="{FF2B5EF4-FFF2-40B4-BE49-F238E27FC236}">
                    <a16:creationId xmlns:a16="http://schemas.microsoft.com/office/drawing/2014/main" id="{50207B5D-8A92-4143-84E4-A66CAEFA877C}"/>
                  </a:ext>
                </a:extLst>
              </p:cNvPr>
              <p:cNvGrpSpPr/>
              <p:nvPr/>
            </p:nvGrpSpPr>
            <p:grpSpPr>
              <a:xfrm>
                <a:off x="8426449" y="3585759"/>
                <a:ext cx="489105" cy="373062"/>
                <a:chOff x="7762875" y="228600"/>
                <a:chExt cx="397528" cy="303212"/>
              </a:xfrm>
            </p:grpSpPr>
            <p:cxnSp>
              <p:nvCxnSpPr>
                <p:cNvPr id="92" name="Straight Connector 91">
                  <a:extLst>
                    <a:ext uri="{FF2B5EF4-FFF2-40B4-BE49-F238E27FC236}">
                      <a16:creationId xmlns:a16="http://schemas.microsoft.com/office/drawing/2014/main" id="{950CABF0-D64E-9C4A-B922-E38450C4611F}"/>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93" name="Straight Connector 92">
                  <a:extLst>
                    <a:ext uri="{FF2B5EF4-FFF2-40B4-BE49-F238E27FC236}">
                      <a16:creationId xmlns:a16="http://schemas.microsoft.com/office/drawing/2014/main" id="{57484B17-503B-2D44-A780-602C7FCCB84E}"/>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2" name="Group 11">
              <a:extLst>
                <a:ext uri="{FF2B5EF4-FFF2-40B4-BE49-F238E27FC236}">
                  <a16:creationId xmlns:a16="http://schemas.microsoft.com/office/drawing/2014/main" id="{A7FFFC97-D2F9-B24F-B53B-0937F0FB378B}"/>
                </a:ext>
              </a:extLst>
            </p:cNvPr>
            <p:cNvGrpSpPr/>
            <p:nvPr/>
          </p:nvGrpSpPr>
          <p:grpSpPr>
            <a:xfrm>
              <a:off x="7942692" y="1569535"/>
              <a:ext cx="489105" cy="912812"/>
              <a:chOff x="8426449" y="3046009"/>
              <a:chExt cx="489105" cy="912812"/>
            </a:xfrm>
          </p:grpSpPr>
          <p:grpSp>
            <p:nvGrpSpPr>
              <p:cNvPr id="84" name="Group 83">
                <a:extLst>
                  <a:ext uri="{FF2B5EF4-FFF2-40B4-BE49-F238E27FC236}">
                    <a16:creationId xmlns:a16="http://schemas.microsoft.com/office/drawing/2014/main" id="{2EE2CF25-2E78-6E48-BC4A-9B6409BE4A6F}"/>
                  </a:ext>
                </a:extLst>
              </p:cNvPr>
              <p:cNvGrpSpPr/>
              <p:nvPr/>
            </p:nvGrpSpPr>
            <p:grpSpPr>
              <a:xfrm>
                <a:off x="8426449" y="3046009"/>
                <a:ext cx="489105" cy="373062"/>
                <a:chOff x="7762875" y="228600"/>
                <a:chExt cx="397528" cy="303212"/>
              </a:xfrm>
            </p:grpSpPr>
            <p:cxnSp>
              <p:nvCxnSpPr>
                <p:cNvPr id="88" name="Straight Connector 87">
                  <a:extLst>
                    <a:ext uri="{FF2B5EF4-FFF2-40B4-BE49-F238E27FC236}">
                      <a16:creationId xmlns:a16="http://schemas.microsoft.com/office/drawing/2014/main" id="{6F42F799-18B3-784C-AA05-A3D4C5DA6EBB}"/>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89" name="Straight Connector 88">
                  <a:extLst>
                    <a:ext uri="{FF2B5EF4-FFF2-40B4-BE49-F238E27FC236}">
                      <a16:creationId xmlns:a16="http://schemas.microsoft.com/office/drawing/2014/main" id="{2ED347FD-3859-A040-8B3F-4CFBC8BEDCD9}"/>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85" name="Group 84">
                <a:extLst>
                  <a:ext uri="{FF2B5EF4-FFF2-40B4-BE49-F238E27FC236}">
                    <a16:creationId xmlns:a16="http://schemas.microsoft.com/office/drawing/2014/main" id="{DA160A4E-7B3A-7540-A306-8EA86873F629}"/>
                  </a:ext>
                </a:extLst>
              </p:cNvPr>
              <p:cNvGrpSpPr/>
              <p:nvPr/>
            </p:nvGrpSpPr>
            <p:grpSpPr>
              <a:xfrm>
                <a:off x="8426449" y="3585759"/>
                <a:ext cx="489105" cy="373062"/>
                <a:chOff x="7762875" y="228600"/>
                <a:chExt cx="397528" cy="303212"/>
              </a:xfrm>
            </p:grpSpPr>
            <p:cxnSp>
              <p:nvCxnSpPr>
                <p:cNvPr id="86" name="Straight Connector 85">
                  <a:extLst>
                    <a:ext uri="{FF2B5EF4-FFF2-40B4-BE49-F238E27FC236}">
                      <a16:creationId xmlns:a16="http://schemas.microsoft.com/office/drawing/2014/main" id="{01A1D290-9622-B04F-9AF4-BD47EDE84452}"/>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87" name="Straight Connector 86">
                  <a:extLst>
                    <a:ext uri="{FF2B5EF4-FFF2-40B4-BE49-F238E27FC236}">
                      <a16:creationId xmlns:a16="http://schemas.microsoft.com/office/drawing/2014/main" id="{5F60D849-1376-6C4E-8C85-6D02B50989F5}"/>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3" name="Group 12">
              <a:extLst>
                <a:ext uri="{FF2B5EF4-FFF2-40B4-BE49-F238E27FC236}">
                  <a16:creationId xmlns:a16="http://schemas.microsoft.com/office/drawing/2014/main" id="{34EB48B7-61C3-8549-BEFF-99A4A63D925A}"/>
                </a:ext>
              </a:extLst>
            </p:cNvPr>
            <p:cNvGrpSpPr/>
            <p:nvPr/>
          </p:nvGrpSpPr>
          <p:grpSpPr>
            <a:xfrm rot="10800000">
              <a:off x="7327542" y="1569535"/>
              <a:ext cx="489105" cy="912812"/>
              <a:chOff x="8426449" y="3046009"/>
              <a:chExt cx="489105" cy="912812"/>
            </a:xfrm>
          </p:grpSpPr>
          <p:grpSp>
            <p:nvGrpSpPr>
              <p:cNvPr id="78" name="Group 77">
                <a:extLst>
                  <a:ext uri="{FF2B5EF4-FFF2-40B4-BE49-F238E27FC236}">
                    <a16:creationId xmlns:a16="http://schemas.microsoft.com/office/drawing/2014/main" id="{5A25286B-BDF0-EA4C-B681-B732F326AB37}"/>
                  </a:ext>
                </a:extLst>
              </p:cNvPr>
              <p:cNvGrpSpPr/>
              <p:nvPr/>
            </p:nvGrpSpPr>
            <p:grpSpPr>
              <a:xfrm>
                <a:off x="8426449" y="3046009"/>
                <a:ext cx="489105" cy="373062"/>
                <a:chOff x="7762875" y="228600"/>
                <a:chExt cx="397528" cy="303212"/>
              </a:xfrm>
            </p:grpSpPr>
            <p:cxnSp>
              <p:nvCxnSpPr>
                <p:cNvPr id="82" name="Straight Connector 81">
                  <a:extLst>
                    <a:ext uri="{FF2B5EF4-FFF2-40B4-BE49-F238E27FC236}">
                      <a16:creationId xmlns:a16="http://schemas.microsoft.com/office/drawing/2014/main" id="{8074D0D2-72A3-DD44-B1F7-DCE58BA7DCC0}"/>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83" name="Straight Connector 82">
                  <a:extLst>
                    <a:ext uri="{FF2B5EF4-FFF2-40B4-BE49-F238E27FC236}">
                      <a16:creationId xmlns:a16="http://schemas.microsoft.com/office/drawing/2014/main" id="{89757D87-02C4-B647-928F-26FD02A0FBBF}"/>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79" name="Group 78">
                <a:extLst>
                  <a:ext uri="{FF2B5EF4-FFF2-40B4-BE49-F238E27FC236}">
                    <a16:creationId xmlns:a16="http://schemas.microsoft.com/office/drawing/2014/main" id="{49C8978D-78A0-1C4E-9AD5-76A7C88C1C7A}"/>
                  </a:ext>
                </a:extLst>
              </p:cNvPr>
              <p:cNvGrpSpPr/>
              <p:nvPr/>
            </p:nvGrpSpPr>
            <p:grpSpPr>
              <a:xfrm>
                <a:off x="8426449" y="3585759"/>
                <a:ext cx="489105" cy="373062"/>
                <a:chOff x="7762875" y="228600"/>
                <a:chExt cx="397528" cy="303212"/>
              </a:xfrm>
            </p:grpSpPr>
            <p:cxnSp>
              <p:nvCxnSpPr>
                <p:cNvPr id="80" name="Straight Connector 79">
                  <a:extLst>
                    <a:ext uri="{FF2B5EF4-FFF2-40B4-BE49-F238E27FC236}">
                      <a16:creationId xmlns:a16="http://schemas.microsoft.com/office/drawing/2014/main" id="{D047E10E-D93E-F842-BA2B-8C05D97453CB}"/>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81" name="Straight Connector 80">
                  <a:extLst>
                    <a:ext uri="{FF2B5EF4-FFF2-40B4-BE49-F238E27FC236}">
                      <a16:creationId xmlns:a16="http://schemas.microsoft.com/office/drawing/2014/main" id="{45D1AE36-5A2C-7E49-BE50-380D3E3DC970}"/>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5" name="Group 14">
              <a:extLst>
                <a:ext uri="{FF2B5EF4-FFF2-40B4-BE49-F238E27FC236}">
                  <a16:creationId xmlns:a16="http://schemas.microsoft.com/office/drawing/2014/main" id="{C272CF10-3A95-F24E-BB8B-F77B8AD9044C}"/>
                </a:ext>
              </a:extLst>
            </p:cNvPr>
            <p:cNvGrpSpPr/>
            <p:nvPr/>
          </p:nvGrpSpPr>
          <p:grpSpPr>
            <a:xfrm>
              <a:off x="7942692" y="3184525"/>
              <a:ext cx="489105" cy="912812"/>
              <a:chOff x="8426449" y="3046009"/>
              <a:chExt cx="489105" cy="912812"/>
            </a:xfrm>
          </p:grpSpPr>
          <p:grpSp>
            <p:nvGrpSpPr>
              <p:cNvPr id="72" name="Group 71">
                <a:extLst>
                  <a:ext uri="{FF2B5EF4-FFF2-40B4-BE49-F238E27FC236}">
                    <a16:creationId xmlns:a16="http://schemas.microsoft.com/office/drawing/2014/main" id="{AB3DECA0-7A7C-304D-920E-7A6A233E462A}"/>
                  </a:ext>
                </a:extLst>
              </p:cNvPr>
              <p:cNvGrpSpPr/>
              <p:nvPr/>
            </p:nvGrpSpPr>
            <p:grpSpPr>
              <a:xfrm>
                <a:off x="8426449" y="3046009"/>
                <a:ext cx="489105" cy="373062"/>
                <a:chOff x="7762875" y="228600"/>
                <a:chExt cx="397528" cy="303212"/>
              </a:xfrm>
            </p:grpSpPr>
            <p:cxnSp>
              <p:nvCxnSpPr>
                <p:cNvPr id="76" name="Straight Connector 75">
                  <a:extLst>
                    <a:ext uri="{FF2B5EF4-FFF2-40B4-BE49-F238E27FC236}">
                      <a16:creationId xmlns:a16="http://schemas.microsoft.com/office/drawing/2014/main" id="{320D7C16-5B24-394D-B1D8-DD1212930C1C}"/>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77" name="Straight Connector 76">
                  <a:extLst>
                    <a:ext uri="{FF2B5EF4-FFF2-40B4-BE49-F238E27FC236}">
                      <a16:creationId xmlns:a16="http://schemas.microsoft.com/office/drawing/2014/main" id="{10C65FB7-1B4D-5545-A63F-E2BBA9ADD77C}"/>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73" name="Group 72">
                <a:extLst>
                  <a:ext uri="{FF2B5EF4-FFF2-40B4-BE49-F238E27FC236}">
                    <a16:creationId xmlns:a16="http://schemas.microsoft.com/office/drawing/2014/main" id="{89A258C8-77B8-F341-AFF9-0F87CAB3DD57}"/>
                  </a:ext>
                </a:extLst>
              </p:cNvPr>
              <p:cNvGrpSpPr/>
              <p:nvPr/>
            </p:nvGrpSpPr>
            <p:grpSpPr>
              <a:xfrm>
                <a:off x="8426449" y="3585759"/>
                <a:ext cx="489105" cy="373062"/>
                <a:chOff x="7762875" y="228600"/>
                <a:chExt cx="397528" cy="303212"/>
              </a:xfrm>
            </p:grpSpPr>
            <p:cxnSp>
              <p:nvCxnSpPr>
                <p:cNvPr id="74" name="Straight Connector 73">
                  <a:extLst>
                    <a:ext uri="{FF2B5EF4-FFF2-40B4-BE49-F238E27FC236}">
                      <a16:creationId xmlns:a16="http://schemas.microsoft.com/office/drawing/2014/main" id="{BB1C83A4-150E-1E46-B498-1917B4C7B8D0}"/>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75" name="Straight Connector 74">
                  <a:extLst>
                    <a:ext uri="{FF2B5EF4-FFF2-40B4-BE49-F238E27FC236}">
                      <a16:creationId xmlns:a16="http://schemas.microsoft.com/office/drawing/2014/main" id="{241E7F9B-4587-CE40-BB09-096357BC65B4}"/>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6" name="Group 15">
              <a:extLst>
                <a:ext uri="{FF2B5EF4-FFF2-40B4-BE49-F238E27FC236}">
                  <a16:creationId xmlns:a16="http://schemas.microsoft.com/office/drawing/2014/main" id="{8CC3517E-6300-7D47-AE05-18279B018D85}"/>
                </a:ext>
              </a:extLst>
            </p:cNvPr>
            <p:cNvGrpSpPr/>
            <p:nvPr/>
          </p:nvGrpSpPr>
          <p:grpSpPr>
            <a:xfrm>
              <a:off x="7942692" y="2640515"/>
              <a:ext cx="489105" cy="912812"/>
              <a:chOff x="8426449" y="3046009"/>
              <a:chExt cx="489105" cy="912812"/>
            </a:xfrm>
          </p:grpSpPr>
          <p:grpSp>
            <p:nvGrpSpPr>
              <p:cNvPr id="66" name="Group 65">
                <a:extLst>
                  <a:ext uri="{FF2B5EF4-FFF2-40B4-BE49-F238E27FC236}">
                    <a16:creationId xmlns:a16="http://schemas.microsoft.com/office/drawing/2014/main" id="{17E8F69E-2567-724E-8F3B-5D15B317F374}"/>
                  </a:ext>
                </a:extLst>
              </p:cNvPr>
              <p:cNvGrpSpPr/>
              <p:nvPr/>
            </p:nvGrpSpPr>
            <p:grpSpPr>
              <a:xfrm>
                <a:off x="8426449" y="3046009"/>
                <a:ext cx="489105" cy="373062"/>
                <a:chOff x="7762875" y="228600"/>
                <a:chExt cx="397528" cy="303212"/>
              </a:xfrm>
            </p:grpSpPr>
            <p:cxnSp>
              <p:nvCxnSpPr>
                <p:cNvPr id="70" name="Straight Connector 69">
                  <a:extLst>
                    <a:ext uri="{FF2B5EF4-FFF2-40B4-BE49-F238E27FC236}">
                      <a16:creationId xmlns:a16="http://schemas.microsoft.com/office/drawing/2014/main" id="{B794363E-DD2E-4F45-84F1-C0FF92668528}"/>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71" name="Straight Connector 70">
                  <a:extLst>
                    <a:ext uri="{FF2B5EF4-FFF2-40B4-BE49-F238E27FC236}">
                      <a16:creationId xmlns:a16="http://schemas.microsoft.com/office/drawing/2014/main" id="{E41D1F96-354D-1D42-8E9A-AC274F65AFDB}"/>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67" name="Group 66">
                <a:extLst>
                  <a:ext uri="{FF2B5EF4-FFF2-40B4-BE49-F238E27FC236}">
                    <a16:creationId xmlns:a16="http://schemas.microsoft.com/office/drawing/2014/main" id="{9DCAAB55-3BA8-074D-ACAE-F8EEC98B4F80}"/>
                  </a:ext>
                </a:extLst>
              </p:cNvPr>
              <p:cNvGrpSpPr/>
              <p:nvPr/>
            </p:nvGrpSpPr>
            <p:grpSpPr>
              <a:xfrm>
                <a:off x="8426449" y="3585759"/>
                <a:ext cx="489105" cy="373062"/>
                <a:chOff x="7762875" y="228600"/>
                <a:chExt cx="397528" cy="303212"/>
              </a:xfrm>
            </p:grpSpPr>
            <p:cxnSp>
              <p:nvCxnSpPr>
                <p:cNvPr id="68" name="Straight Connector 67">
                  <a:extLst>
                    <a:ext uri="{FF2B5EF4-FFF2-40B4-BE49-F238E27FC236}">
                      <a16:creationId xmlns:a16="http://schemas.microsoft.com/office/drawing/2014/main" id="{20E7CF9F-60FF-474D-9378-4C23745D7529}"/>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69" name="Straight Connector 68">
                  <a:extLst>
                    <a:ext uri="{FF2B5EF4-FFF2-40B4-BE49-F238E27FC236}">
                      <a16:creationId xmlns:a16="http://schemas.microsoft.com/office/drawing/2014/main" id="{C3F87F76-D995-6748-81AF-21674BAC6D24}"/>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7" name="Group 16">
              <a:extLst>
                <a:ext uri="{FF2B5EF4-FFF2-40B4-BE49-F238E27FC236}">
                  <a16:creationId xmlns:a16="http://schemas.microsoft.com/office/drawing/2014/main" id="{4DE51A8D-F3CA-BF43-B370-EFC5CE491E61}"/>
                </a:ext>
              </a:extLst>
            </p:cNvPr>
            <p:cNvGrpSpPr/>
            <p:nvPr/>
          </p:nvGrpSpPr>
          <p:grpSpPr>
            <a:xfrm rot="10800000">
              <a:off x="7327542" y="2640515"/>
              <a:ext cx="489105" cy="912812"/>
              <a:chOff x="8426449" y="3046009"/>
              <a:chExt cx="489105" cy="912812"/>
            </a:xfrm>
          </p:grpSpPr>
          <p:grpSp>
            <p:nvGrpSpPr>
              <p:cNvPr id="60" name="Group 59">
                <a:extLst>
                  <a:ext uri="{FF2B5EF4-FFF2-40B4-BE49-F238E27FC236}">
                    <a16:creationId xmlns:a16="http://schemas.microsoft.com/office/drawing/2014/main" id="{3B94B0AE-23B4-1742-850D-2EF4B824592C}"/>
                  </a:ext>
                </a:extLst>
              </p:cNvPr>
              <p:cNvGrpSpPr/>
              <p:nvPr/>
            </p:nvGrpSpPr>
            <p:grpSpPr>
              <a:xfrm>
                <a:off x="8426449" y="3046009"/>
                <a:ext cx="489105" cy="373062"/>
                <a:chOff x="7762875" y="228600"/>
                <a:chExt cx="397528" cy="303212"/>
              </a:xfrm>
            </p:grpSpPr>
            <p:cxnSp>
              <p:nvCxnSpPr>
                <p:cNvPr id="64" name="Straight Connector 63">
                  <a:extLst>
                    <a:ext uri="{FF2B5EF4-FFF2-40B4-BE49-F238E27FC236}">
                      <a16:creationId xmlns:a16="http://schemas.microsoft.com/office/drawing/2014/main" id="{EEEBED15-A510-4249-AB34-1BBB702A0E45}"/>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65" name="Straight Connector 64">
                  <a:extLst>
                    <a:ext uri="{FF2B5EF4-FFF2-40B4-BE49-F238E27FC236}">
                      <a16:creationId xmlns:a16="http://schemas.microsoft.com/office/drawing/2014/main" id="{79D06A68-5203-7B40-95DD-5F84E4319BE5}"/>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61" name="Group 60">
                <a:extLst>
                  <a:ext uri="{FF2B5EF4-FFF2-40B4-BE49-F238E27FC236}">
                    <a16:creationId xmlns:a16="http://schemas.microsoft.com/office/drawing/2014/main" id="{344FAEF4-1093-5F4A-BA1D-18C72B9F9809}"/>
                  </a:ext>
                </a:extLst>
              </p:cNvPr>
              <p:cNvGrpSpPr/>
              <p:nvPr/>
            </p:nvGrpSpPr>
            <p:grpSpPr>
              <a:xfrm>
                <a:off x="8426449" y="3585759"/>
                <a:ext cx="489105" cy="373062"/>
                <a:chOff x="7762875" y="228600"/>
                <a:chExt cx="397528" cy="303212"/>
              </a:xfrm>
            </p:grpSpPr>
            <p:cxnSp>
              <p:nvCxnSpPr>
                <p:cNvPr id="62" name="Straight Connector 61">
                  <a:extLst>
                    <a:ext uri="{FF2B5EF4-FFF2-40B4-BE49-F238E27FC236}">
                      <a16:creationId xmlns:a16="http://schemas.microsoft.com/office/drawing/2014/main" id="{8D4C8EDB-C21B-D84A-A343-BBDB336071F6}"/>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63" name="Straight Connector 62">
                  <a:extLst>
                    <a:ext uri="{FF2B5EF4-FFF2-40B4-BE49-F238E27FC236}">
                      <a16:creationId xmlns:a16="http://schemas.microsoft.com/office/drawing/2014/main" id="{243BE794-EBF2-014E-959F-CB1FC3338E59}"/>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18" name="Group 17">
              <a:extLst>
                <a:ext uri="{FF2B5EF4-FFF2-40B4-BE49-F238E27FC236}">
                  <a16:creationId xmlns:a16="http://schemas.microsoft.com/office/drawing/2014/main" id="{6444EA89-AF23-0A43-94E2-8246691BCC03}"/>
                </a:ext>
              </a:extLst>
            </p:cNvPr>
            <p:cNvGrpSpPr/>
            <p:nvPr/>
          </p:nvGrpSpPr>
          <p:grpSpPr>
            <a:xfrm>
              <a:off x="7942692" y="3158534"/>
              <a:ext cx="489105" cy="950119"/>
              <a:chOff x="8426449" y="3559768"/>
              <a:chExt cx="489105" cy="950119"/>
            </a:xfrm>
          </p:grpSpPr>
          <p:grpSp>
            <p:nvGrpSpPr>
              <p:cNvPr id="54" name="Group 53">
                <a:extLst>
                  <a:ext uri="{FF2B5EF4-FFF2-40B4-BE49-F238E27FC236}">
                    <a16:creationId xmlns:a16="http://schemas.microsoft.com/office/drawing/2014/main" id="{33FEAD33-C577-3341-A2A4-E8BB773D8C44}"/>
                  </a:ext>
                </a:extLst>
              </p:cNvPr>
              <p:cNvGrpSpPr/>
              <p:nvPr/>
            </p:nvGrpSpPr>
            <p:grpSpPr>
              <a:xfrm>
                <a:off x="8426449" y="3559768"/>
                <a:ext cx="489105" cy="410369"/>
                <a:chOff x="7762875" y="646160"/>
                <a:chExt cx="397528" cy="333534"/>
              </a:xfrm>
            </p:grpSpPr>
            <p:cxnSp>
              <p:nvCxnSpPr>
                <p:cNvPr id="58" name="Straight Connector 57">
                  <a:extLst>
                    <a:ext uri="{FF2B5EF4-FFF2-40B4-BE49-F238E27FC236}">
                      <a16:creationId xmlns:a16="http://schemas.microsoft.com/office/drawing/2014/main" id="{E216BCD1-4F69-6043-B80E-989FC8FE65BF}"/>
                    </a:ext>
                  </a:extLst>
                </p:cNvPr>
                <p:cNvCxnSpPr>
                  <a:cxnSpLocks/>
                </p:cNvCxnSpPr>
                <p:nvPr/>
              </p:nvCxnSpPr>
              <p:spPr>
                <a:xfrm flipV="1">
                  <a:off x="7959725" y="646161"/>
                  <a:ext cx="200678" cy="333533"/>
                </a:xfrm>
                <a:prstGeom prst="line">
                  <a:avLst/>
                </a:prstGeom>
                <a:noFill/>
                <a:ln w="127000" cap="rnd">
                  <a:solidFill>
                    <a:schemeClr val="accent6"/>
                  </a:solidFill>
                  <a:prstDash val="solid"/>
                  <a:round/>
                </a:ln>
                <a:effectLst/>
                <a:sp3d/>
              </p:spPr>
              <p:style>
                <a:lnRef idx="0">
                  <a:scrgbClr r="0" g="0" b="0"/>
                </a:lnRef>
                <a:fillRef idx="0">
                  <a:scrgbClr r="0" g="0" b="0"/>
                </a:fillRef>
                <a:effectRef idx="0">
                  <a:scrgbClr r="0" g="0" b="0"/>
                </a:effectRef>
                <a:fontRef idx="none"/>
              </p:style>
            </p:cxnSp>
            <p:cxnSp>
              <p:nvCxnSpPr>
                <p:cNvPr id="59" name="Straight Connector 58">
                  <a:extLst>
                    <a:ext uri="{FF2B5EF4-FFF2-40B4-BE49-F238E27FC236}">
                      <a16:creationId xmlns:a16="http://schemas.microsoft.com/office/drawing/2014/main" id="{046CDEC5-3FD4-AF4A-8C22-1AB2C2DB0DAD}"/>
                    </a:ext>
                  </a:extLst>
                </p:cNvPr>
                <p:cNvCxnSpPr/>
                <p:nvPr/>
              </p:nvCxnSpPr>
              <p:spPr>
                <a:xfrm flipH="1" flipV="1">
                  <a:off x="7762875" y="646160"/>
                  <a:ext cx="196850" cy="333533"/>
                </a:xfrm>
                <a:prstGeom prst="line">
                  <a:avLst/>
                </a:prstGeom>
                <a:noFill/>
                <a:ln w="127000" cap="rnd">
                  <a:solidFill>
                    <a:schemeClr val="accent6"/>
                  </a:solidFill>
                  <a:prstDash val="solid"/>
                  <a:round/>
                </a:ln>
                <a:effectLst/>
                <a:sp3d/>
              </p:spPr>
              <p:style>
                <a:lnRef idx="0">
                  <a:scrgbClr r="0" g="0" b="0"/>
                </a:lnRef>
                <a:fillRef idx="0">
                  <a:scrgbClr r="0" g="0" b="0"/>
                </a:fillRef>
                <a:effectRef idx="0">
                  <a:scrgbClr r="0" g="0" b="0"/>
                </a:effectRef>
                <a:fontRef idx="none"/>
              </p:style>
            </p:cxnSp>
          </p:grpSp>
          <p:grpSp>
            <p:nvGrpSpPr>
              <p:cNvPr id="55" name="Group 54">
                <a:extLst>
                  <a:ext uri="{FF2B5EF4-FFF2-40B4-BE49-F238E27FC236}">
                    <a16:creationId xmlns:a16="http://schemas.microsoft.com/office/drawing/2014/main" id="{BF99ECD3-9855-5F4C-B23D-2E12ADA31B80}"/>
                  </a:ext>
                </a:extLst>
              </p:cNvPr>
              <p:cNvGrpSpPr/>
              <p:nvPr/>
            </p:nvGrpSpPr>
            <p:grpSpPr>
              <a:xfrm>
                <a:off x="8426449" y="4099518"/>
                <a:ext cx="489105" cy="410369"/>
                <a:chOff x="7762875" y="646160"/>
                <a:chExt cx="397528" cy="333534"/>
              </a:xfrm>
            </p:grpSpPr>
            <p:cxnSp>
              <p:nvCxnSpPr>
                <p:cNvPr id="56" name="Straight Connector 55">
                  <a:extLst>
                    <a:ext uri="{FF2B5EF4-FFF2-40B4-BE49-F238E27FC236}">
                      <a16:creationId xmlns:a16="http://schemas.microsoft.com/office/drawing/2014/main" id="{BC534307-ECB9-DE41-BE31-D9433638F9DA}"/>
                    </a:ext>
                  </a:extLst>
                </p:cNvPr>
                <p:cNvCxnSpPr>
                  <a:cxnSpLocks/>
                </p:cNvCxnSpPr>
                <p:nvPr/>
              </p:nvCxnSpPr>
              <p:spPr>
                <a:xfrm flipV="1">
                  <a:off x="7959725" y="646161"/>
                  <a:ext cx="200678" cy="333533"/>
                </a:xfrm>
                <a:prstGeom prst="line">
                  <a:avLst/>
                </a:prstGeom>
                <a:noFill/>
                <a:ln w="127000" cap="rnd">
                  <a:solidFill>
                    <a:schemeClr val="accent6"/>
                  </a:solidFill>
                  <a:prstDash val="solid"/>
                  <a:round/>
                </a:ln>
                <a:effectLst/>
                <a:sp3d/>
              </p:spPr>
              <p:style>
                <a:lnRef idx="0">
                  <a:scrgbClr r="0" g="0" b="0"/>
                </a:lnRef>
                <a:fillRef idx="0">
                  <a:scrgbClr r="0" g="0" b="0"/>
                </a:fillRef>
                <a:effectRef idx="0">
                  <a:scrgbClr r="0" g="0" b="0"/>
                </a:effectRef>
                <a:fontRef idx="none"/>
              </p:style>
            </p:cxnSp>
            <p:cxnSp>
              <p:nvCxnSpPr>
                <p:cNvPr id="57" name="Straight Connector 56">
                  <a:extLst>
                    <a:ext uri="{FF2B5EF4-FFF2-40B4-BE49-F238E27FC236}">
                      <a16:creationId xmlns:a16="http://schemas.microsoft.com/office/drawing/2014/main" id="{D5911219-2C55-A848-ACC9-86A3A883B5DB}"/>
                    </a:ext>
                  </a:extLst>
                </p:cNvPr>
                <p:cNvCxnSpPr/>
                <p:nvPr/>
              </p:nvCxnSpPr>
              <p:spPr>
                <a:xfrm flipH="1" flipV="1">
                  <a:off x="7762875" y="646160"/>
                  <a:ext cx="196850" cy="333533"/>
                </a:xfrm>
                <a:prstGeom prst="line">
                  <a:avLst/>
                </a:prstGeom>
                <a:noFill/>
                <a:ln w="127000" cap="rnd">
                  <a:solidFill>
                    <a:schemeClr val="accent6"/>
                  </a:solidFill>
                  <a:prstDash val="solid"/>
                  <a:round/>
                </a:ln>
                <a:effectLst/>
                <a:sp3d/>
              </p:spPr>
              <p:style>
                <a:lnRef idx="0">
                  <a:scrgbClr r="0" g="0" b="0"/>
                </a:lnRef>
                <a:fillRef idx="0">
                  <a:scrgbClr r="0" g="0" b="0"/>
                </a:fillRef>
                <a:effectRef idx="0">
                  <a:scrgbClr r="0" g="0" b="0"/>
                </a:effectRef>
                <a:fontRef idx="none"/>
              </p:style>
            </p:cxnSp>
          </p:grpSp>
        </p:grpSp>
        <p:grpSp>
          <p:nvGrpSpPr>
            <p:cNvPr id="49" name="Group 48">
              <a:extLst>
                <a:ext uri="{FF2B5EF4-FFF2-40B4-BE49-F238E27FC236}">
                  <a16:creationId xmlns:a16="http://schemas.microsoft.com/office/drawing/2014/main" id="{50CFA159-BE6B-6C47-9CD0-0C8DCCAC326B}"/>
                </a:ext>
              </a:extLst>
            </p:cNvPr>
            <p:cNvGrpSpPr/>
            <p:nvPr/>
          </p:nvGrpSpPr>
          <p:grpSpPr>
            <a:xfrm rot="10800000">
              <a:off x="7324522" y="1033120"/>
              <a:ext cx="489122" cy="373062"/>
              <a:chOff x="7765320" y="661118"/>
              <a:chExt cx="397542" cy="303212"/>
            </a:xfrm>
          </p:grpSpPr>
          <p:cxnSp>
            <p:nvCxnSpPr>
              <p:cNvPr id="50" name="Straight Connector 49">
                <a:extLst>
                  <a:ext uri="{FF2B5EF4-FFF2-40B4-BE49-F238E27FC236}">
                    <a16:creationId xmlns:a16="http://schemas.microsoft.com/office/drawing/2014/main" id="{20713415-4018-D54F-9E25-13488B6DF1B1}"/>
                  </a:ext>
                </a:extLst>
              </p:cNvPr>
              <p:cNvCxnSpPr>
                <a:cxnSpLocks/>
              </p:cNvCxnSpPr>
              <p:nvPr/>
            </p:nvCxnSpPr>
            <p:spPr>
              <a:xfrm flipV="1">
                <a:off x="7962184" y="661118"/>
                <a:ext cx="200678" cy="303212"/>
              </a:xfrm>
              <a:prstGeom prst="line">
                <a:avLst/>
              </a:prstGeom>
              <a:noFill/>
              <a:ln w="127000" cap="rnd">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51" name="Straight Connector 50">
                <a:extLst>
                  <a:ext uri="{FF2B5EF4-FFF2-40B4-BE49-F238E27FC236}">
                    <a16:creationId xmlns:a16="http://schemas.microsoft.com/office/drawing/2014/main" id="{A207D9A3-C4F4-C745-83E2-411FA71B8E87}"/>
                  </a:ext>
                </a:extLst>
              </p:cNvPr>
              <p:cNvCxnSpPr/>
              <p:nvPr/>
            </p:nvCxnSpPr>
            <p:spPr>
              <a:xfrm flipH="1" flipV="1">
                <a:off x="7765320" y="661118"/>
                <a:ext cx="196850" cy="303212"/>
              </a:xfrm>
              <a:prstGeom prst="line">
                <a:avLst/>
              </a:prstGeom>
              <a:noFill/>
              <a:ln w="127000" cap="rnd">
                <a:solidFill>
                  <a:schemeClr val="accent1"/>
                </a:solidFill>
                <a:prstDash val="solid"/>
                <a:round/>
              </a:ln>
              <a:effectLst/>
              <a:sp3d/>
            </p:spPr>
            <p:style>
              <a:lnRef idx="0">
                <a:scrgbClr r="0" g="0" b="0"/>
              </a:lnRef>
              <a:fillRef idx="0">
                <a:scrgbClr r="0" g="0" b="0"/>
              </a:fillRef>
              <a:effectRef idx="0">
                <a:scrgbClr r="0" g="0" b="0"/>
              </a:effectRef>
              <a:fontRef idx="none"/>
            </p:style>
          </p:cxnSp>
        </p:grpSp>
        <p:grpSp>
          <p:nvGrpSpPr>
            <p:cNvPr id="20" name="Group 19">
              <a:extLst>
                <a:ext uri="{FF2B5EF4-FFF2-40B4-BE49-F238E27FC236}">
                  <a16:creationId xmlns:a16="http://schemas.microsoft.com/office/drawing/2014/main" id="{98A5329C-9D1D-7C40-B094-702959281E54}"/>
                </a:ext>
              </a:extLst>
            </p:cNvPr>
            <p:cNvGrpSpPr/>
            <p:nvPr/>
          </p:nvGrpSpPr>
          <p:grpSpPr>
            <a:xfrm>
              <a:off x="7942692" y="1025525"/>
              <a:ext cx="489105" cy="912812"/>
              <a:chOff x="8426449" y="3046009"/>
              <a:chExt cx="489105" cy="912812"/>
            </a:xfrm>
          </p:grpSpPr>
          <p:grpSp>
            <p:nvGrpSpPr>
              <p:cNvPr id="42" name="Group 41">
                <a:extLst>
                  <a:ext uri="{FF2B5EF4-FFF2-40B4-BE49-F238E27FC236}">
                    <a16:creationId xmlns:a16="http://schemas.microsoft.com/office/drawing/2014/main" id="{2ACCFCEA-BF91-B84B-9BEC-77E3FF057144}"/>
                  </a:ext>
                </a:extLst>
              </p:cNvPr>
              <p:cNvGrpSpPr/>
              <p:nvPr/>
            </p:nvGrpSpPr>
            <p:grpSpPr>
              <a:xfrm>
                <a:off x="8426449" y="3046009"/>
                <a:ext cx="489105" cy="373062"/>
                <a:chOff x="7762875" y="228600"/>
                <a:chExt cx="397528" cy="303212"/>
              </a:xfrm>
            </p:grpSpPr>
            <p:cxnSp>
              <p:nvCxnSpPr>
                <p:cNvPr id="46" name="Straight Connector 45">
                  <a:extLst>
                    <a:ext uri="{FF2B5EF4-FFF2-40B4-BE49-F238E27FC236}">
                      <a16:creationId xmlns:a16="http://schemas.microsoft.com/office/drawing/2014/main" id="{51AC0484-C479-4244-8578-A48C24A2739A}"/>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47" name="Straight Connector 46">
                  <a:extLst>
                    <a:ext uri="{FF2B5EF4-FFF2-40B4-BE49-F238E27FC236}">
                      <a16:creationId xmlns:a16="http://schemas.microsoft.com/office/drawing/2014/main" id="{0A8815C1-06EB-EE4F-8879-BFD14CC52BAB}"/>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43" name="Group 42">
                <a:extLst>
                  <a:ext uri="{FF2B5EF4-FFF2-40B4-BE49-F238E27FC236}">
                    <a16:creationId xmlns:a16="http://schemas.microsoft.com/office/drawing/2014/main" id="{530D9F2A-CAC6-1746-B221-1D1CC5230073}"/>
                  </a:ext>
                </a:extLst>
              </p:cNvPr>
              <p:cNvGrpSpPr/>
              <p:nvPr/>
            </p:nvGrpSpPr>
            <p:grpSpPr>
              <a:xfrm>
                <a:off x="8426449" y="3585759"/>
                <a:ext cx="489105" cy="373062"/>
                <a:chOff x="7762875" y="228600"/>
                <a:chExt cx="397528" cy="303212"/>
              </a:xfrm>
            </p:grpSpPr>
            <p:cxnSp>
              <p:nvCxnSpPr>
                <p:cNvPr id="44" name="Straight Connector 43">
                  <a:extLst>
                    <a:ext uri="{FF2B5EF4-FFF2-40B4-BE49-F238E27FC236}">
                      <a16:creationId xmlns:a16="http://schemas.microsoft.com/office/drawing/2014/main" id="{F43F5D7A-0E9A-034B-B5D9-25FEBBAACF00}"/>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45" name="Straight Connector 44">
                  <a:extLst>
                    <a:ext uri="{FF2B5EF4-FFF2-40B4-BE49-F238E27FC236}">
                      <a16:creationId xmlns:a16="http://schemas.microsoft.com/office/drawing/2014/main" id="{E67FA03A-9D6F-3643-9120-D9955D475FC6}"/>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21" name="Group 20">
              <a:extLst>
                <a:ext uri="{FF2B5EF4-FFF2-40B4-BE49-F238E27FC236}">
                  <a16:creationId xmlns:a16="http://schemas.microsoft.com/office/drawing/2014/main" id="{3513FF48-ED55-2040-8130-3A16C71C7B16}"/>
                </a:ext>
              </a:extLst>
            </p:cNvPr>
            <p:cNvGrpSpPr/>
            <p:nvPr/>
          </p:nvGrpSpPr>
          <p:grpSpPr>
            <a:xfrm>
              <a:off x="7942692" y="-53975"/>
              <a:ext cx="489105" cy="912812"/>
              <a:chOff x="8426449" y="3046009"/>
              <a:chExt cx="489105" cy="912812"/>
            </a:xfrm>
          </p:grpSpPr>
          <p:grpSp>
            <p:nvGrpSpPr>
              <p:cNvPr id="36" name="Group 35">
                <a:extLst>
                  <a:ext uri="{FF2B5EF4-FFF2-40B4-BE49-F238E27FC236}">
                    <a16:creationId xmlns:a16="http://schemas.microsoft.com/office/drawing/2014/main" id="{A7BF252D-9566-E44B-A29E-D34A1769B50F}"/>
                  </a:ext>
                </a:extLst>
              </p:cNvPr>
              <p:cNvGrpSpPr/>
              <p:nvPr/>
            </p:nvGrpSpPr>
            <p:grpSpPr>
              <a:xfrm>
                <a:off x="8426449" y="3046009"/>
                <a:ext cx="489105" cy="373062"/>
                <a:chOff x="7762875" y="228600"/>
                <a:chExt cx="397528" cy="303212"/>
              </a:xfrm>
            </p:grpSpPr>
            <p:cxnSp>
              <p:nvCxnSpPr>
                <p:cNvPr id="40" name="Straight Connector 39">
                  <a:extLst>
                    <a:ext uri="{FF2B5EF4-FFF2-40B4-BE49-F238E27FC236}">
                      <a16:creationId xmlns:a16="http://schemas.microsoft.com/office/drawing/2014/main" id="{FF4A2641-2D33-5548-A0E2-5F40BE8B4516}"/>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41" name="Straight Connector 40">
                  <a:extLst>
                    <a:ext uri="{FF2B5EF4-FFF2-40B4-BE49-F238E27FC236}">
                      <a16:creationId xmlns:a16="http://schemas.microsoft.com/office/drawing/2014/main" id="{771895D9-071C-1B42-ABF8-A78773CD8FBB}"/>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37" name="Group 36">
                <a:extLst>
                  <a:ext uri="{FF2B5EF4-FFF2-40B4-BE49-F238E27FC236}">
                    <a16:creationId xmlns:a16="http://schemas.microsoft.com/office/drawing/2014/main" id="{BF04E392-C961-584C-8DA4-F0AB5C5B4944}"/>
                  </a:ext>
                </a:extLst>
              </p:cNvPr>
              <p:cNvGrpSpPr/>
              <p:nvPr/>
            </p:nvGrpSpPr>
            <p:grpSpPr>
              <a:xfrm>
                <a:off x="8426449" y="3585759"/>
                <a:ext cx="489105" cy="373062"/>
                <a:chOff x="7762875" y="228600"/>
                <a:chExt cx="397528" cy="303212"/>
              </a:xfrm>
            </p:grpSpPr>
            <p:cxnSp>
              <p:nvCxnSpPr>
                <p:cNvPr id="38" name="Straight Connector 37">
                  <a:extLst>
                    <a:ext uri="{FF2B5EF4-FFF2-40B4-BE49-F238E27FC236}">
                      <a16:creationId xmlns:a16="http://schemas.microsoft.com/office/drawing/2014/main" id="{8C224BD7-3F6D-BB4E-BB4C-98536BA11349}"/>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E87B9072-9B1C-C945-8D7F-68C8C7D180F6}"/>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22" name="Group 21">
              <a:extLst>
                <a:ext uri="{FF2B5EF4-FFF2-40B4-BE49-F238E27FC236}">
                  <a16:creationId xmlns:a16="http://schemas.microsoft.com/office/drawing/2014/main" id="{96D2B589-32A6-2448-861E-A74ED72FD6C5}"/>
                </a:ext>
              </a:extLst>
            </p:cNvPr>
            <p:cNvGrpSpPr/>
            <p:nvPr/>
          </p:nvGrpSpPr>
          <p:grpSpPr>
            <a:xfrm rot="10800000">
              <a:off x="7327542" y="-53975"/>
              <a:ext cx="489105" cy="912812"/>
              <a:chOff x="8426449" y="3046009"/>
              <a:chExt cx="489105" cy="912812"/>
            </a:xfrm>
          </p:grpSpPr>
          <p:grpSp>
            <p:nvGrpSpPr>
              <p:cNvPr id="30" name="Group 29">
                <a:extLst>
                  <a:ext uri="{FF2B5EF4-FFF2-40B4-BE49-F238E27FC236}">
                    <a16:creationId xmlns:a16="http://schemas.microsoft.com/office/drawing/2014/main" id="{080517B8-A432-B54A-8A61-474BC4FA16BB}"/>
                  </a:ext>
                </a:extLst>
              </p:cNvPr>
              <p:cNvGrpSpPr/>
              <p:nvPr/>
            </p:nvGrpSpPr>
            <p:grpSpPr>
              <a:xfrm>
                <a:off x="8426449" y="3046009"/>
                <a:ext cx="489105" cy="373062"/>
                <a:chOff x="7762875" y="228600"/>
                <a:chExt cx="397528" cy="303212"/>
              </a:xfrm>
            </p:grpSpPr>
            <p:cxnSp>
              <p:nvCxnSpPr>
                <p:cNvPr id="34" name="Straight Connector 33">
                  <a:extLst>
                    <a:ext uri="{FF2B5EF4-FFF2-40B4-BE49-F238E27FC236}">
                      <a16:creationId xmlns:a16="http://schemas.microsoft.com/office/drawing/2014/main" id="{5823C960-9876-0C4E-8F6F-B2486517D09D}"/>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35" name="Straight Connector 34">
                  <a:extLst>
                    <a:ext uri="{FF2B5EF4-FFF2-40B4-BE49-F238E27FC236}">
                      <a16:creationId xmlns:a16="http://schemas.microsoft.com/office/drawing/2014/main" id="{161AE804-C92A-7D4C-AD03-C4A9DBBF7B97}"/>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31" name="Group 30">
                <a:extLst>
                  <a:ext uri="{FF2B5EF4-FFF2-40B4-BE49-F238E27FC236}">
                    <a16:creationId xmlns:a16="http://schemas.microsoft.com/office/drawing/2014/main" id="{8498F559-CBE4-C44C-8086-246616EE21D5}"/>
                  </a:ext>
                </a:extLst>
              </p:cNvPr>
              <p:cNvGrpSpPr/>
              <p:nvPr/>
            </p:nvGrpSpPr>
            <p:grpSpPr>
              <a:xfrm>
                <a:off x="8426449" y="3585759"/>
                <a:ext cx="489105" cy="373062"/>
                <a:chOff x="7762875" y="228600"/>
                <a:chExt cx="397528" cy="303212"/>
              </a:xfrm>
            </p:grpSpPr>
            <p:cxnSp>
              <p:nvCxnSpPr>
                <p:cNvPr id="32" name="Straight Connector 31">
                  <a:extLst>
                    <a:ext uri="{FF2B5EF4-FFF2-40B4-BE49-F238E27FC236}">
                      <a16:creationId xmlns:a16="http://schemas.microsoft.com/office/drawing/2014/main" id="{96443729-5564-6F4E-91A4-E2D17486B114}"/>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33" name="Straight Connector 32">
                  <a:extLst>
                    <a:ext uri="{FF2B5EF4-FFF2-40B4-BE49-F238E27FC236}">
                      <a16:creationId xmlns:a16="http://schemas.microsoft.com/office/drawing/2014/main" id="{7016542C-AEE8-2B4C-A4AF-7E95F5DA0E8A}"/>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nvGrpSpPr>
            <p:cNvPr id="23" name="Group 22">
              <a:extLst>
                <a:ext uri="{FF2B5EF4-FFF2-40B4-BE49-F238E27FC236}">
                  <a16:creationId xmlns:a16="http://schemas.microsoft.com/office/drawing/2014/main" id="{B8DFC9DC-CE2E-B842-A47F-297ADF93DF8F}"/>
                </a:ext>
              </a:extLst>
            </p:cNvPr>
            <p:cNvGrpSpPr/>
            <p:nvPr/>
          </p:nvGrpSpPr>
          <p:grpSpPr>
            <a:xfrm rot="10800000">
              <a:off x="7327542" y="3184525"/>
              <a:ext cx="489105" cy="912812"/>
              <a:chOff x="8426449" y="3046009"/>
              <a:chExt cx="489105" cy="912812"/>
            </a:xfrm>
          </p:grpSpPr>
          <p:grpSp>
            <p:nvGrpSpPr>
              <p:cNvPr id="24" name="Group 23">
                <a:extLst>
                  <a:ext uri="{FF2B5EF4-FFF2-40B4-BE49-F238E27FC236}">
                    <a16:creationId xmlns:a16="http://schemas.microsoft.com/office/drawing/2014/main" id="{0347659A-1A2D-5B46-8529-DCE443491233}"/>
                  </a:ext>
                </a:extLst>
              </p:cNvPr>
              <p:cNvGrpSpPr/>
              <p:nvPr/>
            </p:nvGrpSpPr>
            <p:grpSpPr>
              <a:xfrm>
                <a:off x="8426449" y="3046009"/>
                <a:ext cx="489105" cy="373062"/>
                <a:chOff x="7762875" y="228600"/>
                <a:chExt cx="397528" cy="303212"/>
              </a:xfrm>
            </p:grpSpPr>
            <p:cxnSp>
              <p:nvCxnSpPr>
                <p:cNvPr id="28" name="Straight Connector 27">
                  <a:extLst>
                    <a:ext uri="{FF2B5EF4-FFF2-40B4-BE49-F238E27FC236}">
                      <a16:creationId xmlns:a16="http://schemas.microsoft.com/office/drawing/2014/main" id="{34879F5C-B06F-A24A-B4FD-F8E37D28477B}"/>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29" name="Straight Connector 28">
                  <a:extLst>
                    <a:ext uri="{FF2B5EF4-FFF2-40B4-BE49-F238E27FC236}">
                      <a16:creationId xmlns:a16="http://schemas.microsoft.com/office/drawing/2014/main" id="{CC02CB9D-13B8-214F-99F0-44656F7802FF}"/>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nvGrpSpPr>
              <p:cNvPr id="25" name="Group 24">
                <a:extLst>
                  <a:ext uri="{FF2B5EF4-FFF2-40B4-BE49-F238E27FC236}">
                    <a16:creationId xmlns:a16="http://schemas.microsoft.com/office/drawing/2014/main" id="{E686CEEF-C315-D24B-9D2D-5212E2FD82E1}"/>
                  </a:ext>
                </a:extLst>
              </p:cNvPr>
              <p:cNvGrpSpPr/>
              <p:nvPr/>
            </p:nvGrpSpPr>
            <p:grpSpPr>
              <a:xfrm>
                <a:off x="8426449" y="3585759"/>
                <a:ext cx="489105" cy="373062"/>
                <a:chOff x="7762875" y="228600"/>
                <a:chExt cx="397528" cy="303212"/>
              </a:xfrm>
            </p:grpSpPr>
            <p:cxnSp>
              <p:nvCxnSpPr>
                <p:cNvPr id="26" name="Straight Connector 25">
                  <a:extLst>
                    <a:ext uri="{FF2B5EF4-FFF2-40B4-BE49-F238E27FC236}">
                      <a16:creationId xmlns:a16="http://schemas.microsoft.com/office/drawing/2014/main" id="{2F41D1CC-CA87-FC46-9514-4A9BB6726B87}"/>
                    </a:ext>
                  </a:extLst>
                </p:cNvPr>
                <p:cNvCxnSpPr>
                  <a:cxnSpLocks/>
                </p:cNvCxnSpPr>
                <p:nvPr/>
              </p:nvCxnSpPr>
              <p:spPr>
                <a:xfrm flipV="1">
                  <a:off x="7959725" y="228600"/>
                  <a:ext cx="200678"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61C391F6-F85A-9E4B-98DC-4304D3FE04D0}"/>
                    </a:ext>
                  </a:extLst>
                </p:cNvPr>
                <p:cNvCxnSpPr/>
                <p:nvPr/>
              </p:nvCxnSpPr>
              <p:spPr>
                <a:xfrm flipH="1" flipV="1">
                  <a:off x="7762875" y="228600"/>
                  <a:ext cx="196850" cy="303212"/>
                </a:xfrm>
                <a:prstGeom prst="line">
                  <a:avLst/>
                </a:prstGeom>
                <a:noFill/>
                <a:ln w="127000" cap="rnd">
                  <a:solidFill>
                    <a:schemeClr val="tx1">
                      <a:lumMod val="95000"/>
                    </a:schemeClr>
                  </a:solidFill>
                  <a:prstDash val="solid"/>
                  <a:round/>
                </a:ln>
                <a:effectLst/>
                <a:sp3d/>
              </p:spPr>
              <p:style>
                <a:lnRef idx="0">
                  <a:scrgbClr r="0" g="0" b="0"/>
                </a:lnRef>
                <a:fillRef idx="0">
                  <a:scrgbClr r="0" g="0" b="0"/>
                </a:fillRef>
                <a:effectRef idx="0">
                  <a:scrgbClr r="0" g="0" b="0"/>
                </a:effectRef>
                <a:fontRef idx="none"/>
              </p:style>
            </p:cxnSp>
          </p:grpSp>
        </p:grpSp>
      </p:grpSp>
    </p:spTree>
    <p:extLst>
      <p:ext uri="{BB962C8B-B14F-4D97-AF65-F5344CB8AC3E}">
        <p14:creationId xmlns:p14="http://schemas.microsoft.com/office/powerpoint/2010/main" val="3993471619"/>
      </p:ext>
    </p:extLst>
  </p:cSld>
  <p:clrMapOvr>
    <a:masterClrMapping/>
  </p:clrMapOvr>
  <p:transition spd="med"/>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ext + Collage A">
    <p:spTree>
      <p:nvGrpSpPr>
        <p:cNvPr id="1" name=""/>
        <p:cNvGrpSpPr/>
        <p:nvPr/>
      </p:nvGrpSpPr>
      <p:grpSpPr>
        <a:xfrm>
          <a:off x="0" y="0"/>
          <a:ext cx="0" cy="0"/>
          <a:chOff x="0" y="0"/>
          <a:chExt cx="0" cy="0"/>
        </a:xfrm>
      </p:grpSpPr>
      <p:sp>
        <p:nvSpPr>
          <p:cNvPr id="102"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lvl1pPr>
          </a:lstStyle>
          <a:p>
            <a:r>
              <a:t>Title Text</a:t>
            </a:r>
          </a:p>
        </p:txBody>
      </p:sp>
      <p:sp>
        <p:nvSpPr>
          <p:cNvPr id="104" name="Text"/>
          <p:cNvSpPr txBox="1"/>
          <p:nvPr/>
        </p:nvSpPr>
        <p:spPr>
          <a:xfrm>
            <a:off x="4498746" y="2439263"/>
            <a:ext cx="138819" cy="400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7" name="Cisco Security - Working File_2-21.png" descr="Cisco Security - Working File_2-21.png">
            <a:extLst>
              <a:ext uri="{FF2B5EF4-FFF2-40B4-BE49-F238E27FC236}">
                <a16:creationId xmlns:a16="http://schemas.microsoft.com/office/drawing/2014/main" id="{BFE2F80C-08F4-AE4B-92D8-412069B640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564907" y="2843199"/>
            <a:ext cx="2790633" cy="2300301"/>
          </a:xfrm>
          <a:prstGeom prst="rect">
            <a:avLst/>
          </a:prstGeom>
          <a:ln w="12700">
            <a:miter lim="400000"/>
          </a:ln>
        </p:spPr>
      </p:pic>
      <p:sp>
        <p:nvSpPr>
          <p:cNvPr id="8" name="Body Level One…">
            <a:extLst>
              <a:ext uri="{FF2B5EF4-FFF2-40B4-BE49-F238E27FC236}">
                <a16:creationId xmlns:a16="http://schemas.microsoft.com/office/drawing/2014/main" id="{5D545FE5-BFE8-6243-B090-B678BCEEF118}"/>
              </a:ext>
            </a:extLst>
          </p:cNvPr>
          <p:cNvSpPr txBox="1">
            <a:spLocks noGrp="1"/>
          </p:cNvSpPr>
          <p:nvPr>
            <p:ph type="body" sz="half" idx="1"/>
          </p:nvPr>
        </p:nvSpPr>
        <p:spPr>
          <a:xfrm>
            <a:off x="437766" y="1189422"/>
            <a:ext cx="5693046" cy="3083094"/>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pic>
        <p:nvPicPr>
          <p:cNvPr id="10" name="Picture 9" descr="A picture containing drawing&#10;&#10;Description automatically generated">
            <a:extLst>
              <a:ext uri="{FF2B5EF4-FFF2-40B4-BE49-F238E27FC236}">
                <a16:creationId xmlns:a16="http://schemas.microsoft.com/office/drawing/2014/main" id="{20D81B2F-AB6A-8546-93A4-CFE884ED990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68857" y="4662685"/>
            <a:ext cx="1461955" cy="302000"/>
          </a:xfrm>
          <a:prstGeom prst="rect">
            <a:avLst/>
          </a:prstGeom>
        </p:spPr>
      </p:pic>
      <p:sp>
        <p:nvSpPr>
          <p:cNvPr id="14" name="Google Shape;106;p19">
            <a:extLst>
              <a:ext uri="{FF2B5EF4-FFF2-40B4-BE49-F238E27FC236}">
                <a16:creationId xmlns:a16="http://schemas.microsoft.com/office/drawing/2014/main" id="{3CA497A9-0B6A-2B4A-99EF-334C6F393B8D}"/>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15" name="Picture 14">
            <a:extLst>
              <a:ext uri="{FF2B5EF4-FFF2-40B4-BE49-F238E27FC236}">
                <a16:creationId xmlns:a16="http://schemas.microsoft.com/office/drawing/2014/main" id="{F02584D1-3953-A442-8BEC-FCC60DB9366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spTree>
    <p:extLst>
      <p:ext uri="{BB962C8B-B14F-4D97-AF65-F5344CB8AC3E}">
        <p14:creationId xmlns:p14="http://schemas.microsoft.com/office/powerpoint/2010/main" val="1399088545"/>
      </p:ext>
    </p:extLst>
  </p:cSld>
  <p:clrMapOvr>
    <a:masterClrMapping/>
  </p:clrMapOvr>
  <p:transition spd="med"/>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ext + Collage D">
    <p:spTree>
      <p:nvGrpSpPr>
        <p:cNvPr id="1" name=""/>
        <p:cNvGrpSpPr/>
        <p:nvPr/>
      </p:nvGrpSpPr>
      <p:grpSpPr>
        <a:xfrm>
          <a:off x="0" y="0"/>
          <a:ext cx="0" cy="0"/>
          <a:chOff x="0" y="0"/>
          <a:chExt cx="0" cy="0"/>
        </a:xfrm>
      </p:grpSpPr>
      <p:sp>
        <p:nvSpPr>
          <p:cNvPr id="104" name="Text"/>
          <p:cNvSpPr txBox="1"/>
          <p:nvPr/>
        </p:nvSpPr>
        <p:spPr>
          <a:xfrm>
            <a:off x="4498746" y="2439263"/>
            <a:ext cx="138819" cy="400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6CCEA53E-E238-9E49-B176-7E381813FB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Title Text">
            <a:extLst>
              <a:ext uri="{FF2B5EF4-FFF2-40B4-BE49-F238E27FC236}">
                <a16:creationId xmlns:a16="http://schemas.microsoft.com/office/drawing/2014/main" id="{F3F0AAC7-5660-914C-9C5F-F2322D3C6BA8}"/>
              </a:ext>
            </a:extLst>
          </p:cNvPr>
          <p:cNvSpPr txBox="1">
            <a:spLocks noGrp="1"/>
          </p:cNvSpPr>
          <p:nvPr>
            <p:ph type="title"/>
          </p:nvPr>
        </p:nvSpPr>
        <p:spPr>
          <a:xfrm>
            <a:off x="437767" y="341313"/>
            <a:ext cx="4958018" cy="731838"/>
          </a:xfrm>
          <a:prstGeom prst="rect">
            <a:avLst/>
          </a:prstGeom>
        </p:spPr>
        <p:txBody>
          <a:bodyPr anchor="ctr"/>
          <a:lstStyle>
            <a:lvl1pPr>
              <a:lnSpc>
                <a:spcPct val="80000"/>
              </a:lnSpc>
              <a:defRPr sz="2800"/>
            </a:lvl1pPr>
          </a:lstStyle>
          <a:p>
            <a:r>
              <a:t>Title Text</a:t>
            </a:r>
          </a:p>
        </p:txBody>
      </p:sp>
      <p:sp>
        <p:nvSpPr>
          <p:cNvPr id="10" name="Body Level One…">
            <a:extLst>
              <a:ext uri="{FF2B5EF4-FFF2-40B4-BE49-F238E27FC236}">
                <a16:creationId xmlns:a16="http://schemas.microsoft.com/office/drawing/2014/main" id="{8A230E2F-DE2B-9B44-B43B-6DACF6DA3AFA}"/>
              </a:ext>
            </a:extLst>
          </p:cNvPr>
          <p:cNvSpPr txBox="1">
            <a:spLocks noGrp="1"/>
          </p:cNvSpPr>
          <p:nvPr>
            <p:ph type="body" sz="half" idx="1"/>
          </p:nvPr>
        </p:nvSpPr>
        <p:spPr>
          <a:xfrm>
            <a:off x="437766" y="1189421"/>
            <a:ext cx="3837672" cy="3308437"/>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pic>
        <p:nvPicPr>
          <p:cNvPr id="11" name="Picture 10">
            <a:extLst>
              <a:ext uri="{FF2B5EF4-FFF2-40B4-BE49-F238E27FC236}">
                <a16:creationId xmlns:a16="http://schemas.microsoft.com/office/drawing/2014/main" id="{AB348ABE-F74D-774C-8142-AC542FDFB9F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020587" y="467425"/>
            <a:ext cx="2723746" cy="3943676"/>
          </a:xfrm>
          <a:prstGeom prst="rect">
            <a:avLst/>
          </a:prstGeom>
        </p:spPr>
      </p:pic>
      <p:sp>
        <p:nvSpPr>
          <p:cNvPr id="15" name="Google Shape;106;p19">
            <a:extLst>
              <a:ext uri="{FF2B5EF4-FFF2-40B4-BE49-F238E27FC236}">
                <a16:creationId xmlns:a16="http://schemas.microsoft.com/office/drawing/2014/main" id="{80E02D83-FA55-7741-9525-255E0660DCD5}"/>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16" name="Picture 15">
            <a:extLst>
              <a:ext uri="{FF2B5EF4-FFF2-40B4-BE49-F238E27FC236}">
                <a16:creationId xmlns:a16="http://schemas.microsoft.com/office/drawing/2014/main" id="{4688BB80-2545-F84D-AC30-1B716DE57C4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spTree>
    <p:extLst>
      <p:ext uri="{BB962C8B-B14F-4D97-AF65-F5344CB8AC3E}">
        <p14:creationId xmlns:p14="http://schemas.microsoft.com/office/powerpoint/2010/main" val="3731312470"/>
      </p:ext>
    </p:extLst>
  </p:cSld>
  <p:clrMapOvr>
    <a:masterClrMapping/>
  </p:clrMapOvr>
  <p:transition spd="med"/>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ext + Collage E">
    <p:spTree>
      <p:nvGrpSpPr>
        <p:cNvPr id="1" name=""/>
        <p:cNvGrpSpPr/>
        <p:nvPr/>
      </p:nvGrpSpPr>
      <p:grpSpPr>
        <a:xfrm>
          <a:off x="0" y="0"/>
          <a:ext cx="0" cy="0"/>
          <a:chOff x="0" y="0"/>
          <a:chExt cx="0" cy="0"/>
        </a:xfrm>
      </p:grpSpPr>
      <p:sp>
        <p:nvSpPr>
          <p:cNvPr id="104" name="Text"/>
          <p:cNvSpPr txBox="1"/>
          <p:nvPr/>
        </p:nvSpPr>
        <p:spPr>
          <a:xfrm>
            <a:off x="4498746" y="2439263"/>
            <a:ext cx="138819" cy="400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6CCEA53E-E238-9E49-B176-7E381813FB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Title Text">
            <a:extLst>
              <a:ext uri="{FF2B5EF4-FFF2-40B4-BE49-F238E27FC236}">
                <a16:creationId xmlns:a16="http://schemas.microsoft.com/office/drawing/2014/main" id="{F3F0AAC7-5660-914C-9C5F-F2322D3C6BA8}"/>
              </a:ext>
            </a:extLst>
          </p:cNvPr>
          <p:cNvSpPr txBox="1">
            <a:spLocks noGrp="1"/>
          </p:cNvSpPr>
          <p:nvPr>
            <p:ph type="title"/>
          </p:nvPr>
        </p:nvSpPr>
        <p:spPr>
          <a:xfrm>
            <a:off x="437767" y="341313"/>
            <a:ext cx="4958018" cy="731838"/>
          </a:xfrm>
          <a:prstGeom prst="rect">
            <a:avLst/>
          </a:prstGeom>
        </p:spPr>
        <p:txBody>
          <a:bodyPr anchor="ctr"/>
          <a:lstStyle>
            <a:lvl1pPr>
              <a:lnSpc>
                <a:spcPct val="80000"/>
              </a:lnSpc>
              <a:defRPr sz="2800"/>
            </a:lvl1pPr>
          </a:lstStyle>
          <a:p>
            <a:r>
              <a:t>Title Text</a:t>
            </a:r>
          </a:p>
        </p:txBody>
      </p:sp>
      <p:sp>
        <p:nvSpPr>
          <p:cNvPr id="10" name="Body Level One…">
            <a:extLst>
              <a:ext uri="{FF2B5EF4-FFF2-40B4-BE49-F238E27FC236}">
                <a16:creationId xmlns:a16="http://schemas.microsoft.com/office/drawing/2014/main" id="{8A230E2F-DE2B-9B44-B43B-6DACF6DA3AFA}"/>
              </a:ext>
            </a:extLst>
          </p:cNvPr>
          <p:cNvSpPr txBox="1">
            <a:spLocks noGrp="1"/>
          </p:cNvSpPr>
          <p:nvPr>
            <p:ph type="body" sz="half" idx="1"/>
          </p:nvPr>
        </p:nvSpPr>
        <p:spPr>
          <a:xfrm>
            <a:off x="437766" y="1189421"/>
            <a:ext cx="3837672" cy="3308437"/>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sp>
        <p:nvSpPr>
          <p:cNvPr id="15" name="Google Shape;106;p19">
            <a:extLst>
              <a:ext uri="{FF2B5EF4-FFF2-40B4-BE49-F238E27FC236}">
                <a16:creationId xmlns:a16="http://schemas.microsoft.com/office/drawing/2014/main" id="{80E02D83-FA55-7741-9525-255E0660DCD5}"/>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16" name="Picture 15">
            <a:extLst>
              <a:ext uri="{FF2B5EF4-FFF2-40B4-BE49-F238E27FC236}">
                <a16:creationId xmlns:a16="http://schemas.microsoft.com/office/drawing/2014/main" id="{4688BB80-2545-F84D-AC30-1B716DE57C4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pic>
        <p:nvPicPr>
          <p:cNvPr id="3" name="Picture 2" descr="A picture containing holding, looking, woman, phone&#10;&#10;Description automatically generated">
            <a:extLst>
              <a:ext uri="{FF2B5EF4-FFF2-40B4-BE49-F238E27FC236}">
                <a16:creationId xmlns:a16="http://schemas.microsoft.com/office/drawing/2014/main" id="{00EBCD49-7382-1043-9DD7-2CB1385E8F6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318874" y="470314"/>
            <a:ext cx="3837826" cy="3940787"/>
          </a:xfrm>
          <a:prstGeom prst="rect">
            <a:avLst/>
          </a:prstGeom>
        </p:spPr>
      </p:pic>
    </p:spTree>
    <p:extLst>
      <p:ext uri="{BB962C8B-B14F-4D97-AF65-F5344CB8AC3E}">
        <p14:creationId xmlns:p14="http://schemas.microsoft.com/office/powerpoint/2010/main" val="3858483499"/>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ext + Collage G">
    <p:spTree>
      <p:nvGrpSpPr>
        <p:cNvPr id="1" name=""/>
        <p:cNvGrpSpPr/>
        <p:nvPr/>
      </p:nvGrpSpPr>
      <p:grpSpPr>
        <a:xfrm>
          <a:off x="0" y="0"/>
          <a:ext cx="0" cy="0"/>
          <a:chOff x="0" y="0"/>
          <a:chExt cx="0" cy="0"/>
        </a:xfrm>
      </p:grpSpPr>
      <p:sp>
        <p:nvSpPr>
          <p:cNvPr id="104" name="Text"/>
          <p:cNvSpPr txBox="1"/>
          <p:nvPr/>
        </p:nvSpPr>
        <p:spPr>
          <a:xfrm>
            <a:off x="4498746" y="2439263"/>
            <a:ext cx="138819" cy="400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6CCEA53E-E238-9E49-B176-7E381813FB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Title Text">
            <a:extLst>
              <a:ext uri="{FF2B5EF4-FFF2-40B4-BE49-F238E27FC236}">
                <a16:creationId xmlns:a16="http://schemas.microsoft.com/office/drawing/2014/main" id="{F3F0AAC7-5660-914C-9C5F-F2322D3C6BA8}"/>
              </a:ext>
            </a:extLst>
          </p:cNvPr>
          <p:cNvSpPr txBox="1">
            <a:spLocks noGrp="1"/>
          </p:cNvSpPr>
          <p:nvPr>
            <p:ph type="title"/>
          </p:nvPr>
        </p:nvSpPr>
        <p:spPr>
          <a:xfrm>
            <a:off x="437767" y="341313"/>
            <a:ext cx="4958018" cy="731838"/>
          </a:xfrm>
          <a:prstGeom prst="rect">
            <a:avLst/>
          </a:prstGeom>
        </p:spPr>
        <p:txBody>
          <a:bodyPr anchor="ctr"/>
          <a:lstStyle>
            <a:lvl1pPr>
              <a:lnSpc>
                <a:spcPct val="80000"/>
              </a:lnSpc>
              <a:defRPr sz="2800"/>
            </a:lvl1pPr>
          </a:lstStyle>
          <a:p>
            <a:r>
              <a:t>Title Text</a:t>
            </a:r>
          </a:p>
        </p:txBody>
      </p:sp>
      <p:sp>
        <p:nvSpPr>
          <p:cNvPr id="10" name="Body Level One…">
            <a:extLst>
              <a:ext uri="{FF2B5EF4-FFF2-40B4-BE49-F238E27FC236}">
                <a16:creationId xmlns:a16="http://schemas.microsoft.com/office/drawing/2014/main" id="{8A230E2F-DE2B-9B44-B43B-6DACF6DA3AFA}"/>
              </a:ext>
            </a:extLst>
          </p:cNvPr>
          <p:cNvSpPr txBox="1">
            <a:spLocks noGrp="1"/>
          </p:cNvSpPr>
          <p:nvPr>
            <p:ph type="body" sz="half" idx="1"/>
          </p:nvPr>
        </p:nvSpPr>
        <p:spPr>
          <a:xfrm>
            <a:off x="437765" y="1189421"/>
            <a:ext cx="4298991" cy="3308437"/>
          </a:xfrm>
          <a:prstGeom prst="rect">
            <a:avLst/>
          </a:prstGeom>
        </p:spPr>
        <p:txBody>
          <a:bodyPr lIns="0" tIns="0" rIns="0" bIns="0">
            <a:normAutofit/>
          </a:bodyPr>
          <a:lstStyle>
            <a:lvl1pPr marL="174625" indent="-117475">
              <a:spcBef>
                <a:spcPts val="1100"/>
              </a:spcBef>
              <a:buClr>
                <a:schemeClr val="accent1"/>
              </a:buClr>
              <a:buSzPct val="60000"/>
              <a:defRPr sz="2000" baseline="0">
                <a:solidFill>
                  <a:schemeClr val="bg1"/>
                </a:solidFill>
              </a:defRPr>
            </a:lvl1pPr>
            <a:lvl2pPr marL="301625" indent="-127000">
              <a:spcBef>
                <a:spcPts val="1100"/>
              </a:spcBef>
              <a:buClr>
                <a:schemeClr val="accent1"/>
              </a:buClr>
              <a:buSzPct val="60000"/>
              <a:defRPr sz="2000" baseline="0">
                <a:solidFill>
                  <a:schemeClr val="bg1"/>
                </a:solidFill>
              </a:defRPr>
            </a:lvl2pPr>
            <a:lvl3pPr marL="431800" indent="-142875">
              <a:spcBef>
                <a:spcPts val="1100"/>
              </a:spcBef>
              <a:buClr>
                <a:schemeClr val="accent1"/>
              </a:buClr>
              <a:buSzPct val="60000"/>
              <a:defRPr sz="2000" baseline="0">
                <a:solidFill>
                  <a:schemeClr val="bg1"/>
                </a:solidFill>
              </a:defRPr>
            </a:lvl3pPr>
            <a:lvl4pPr marL="566510" indent="-163285">
              <a:spcBef>
                <a:spcPts val="1100"/>
              </a:spcBef>
              <a:buClr>
                <a:schemeClr val="accent1"/>
              </a:buClr>
              <a:buSzPct val="60000"/>
              <a:defRPr sz="2000" baseline="0">
                <a:solidFill>
                  <a:schemeClr val="bg1"/>
                </a:solidFill>
              </a:defRPr>
            </a:lvl4pPr>
            <a:lvl5pPr marL="708025" indent="-190500">
              <a:spcBef>
                <a:spcPts val="1100"/>
              </a:spcBef>
              <a:buClr>
                <a:schemeClr val="accent1"/>
              </a:buClr>
              <a:buSzPct val="60000"/>
              <a:defRPr sz="2000" baseline="0">
                <a:solidFill>
                  <a:schemeClr val="bg1"/>
                </a:solidFill>
              </a:defRPr>
            </a:lvl5pPr>
          </a:lstStyle>
          <a:p>
            <a:r>
              <a:t>Body Level One</a:t>
            </a:r>
          </a:p>
          <a:p>
            <a:pPr lvl="1"/>
            <a:r>
              <a:t>Body Level Two</a:t>
            </a:r>
          </a:p>
          <a:p>
            <a:pPr lvl="2"/>
            <a:r>
              <a:t>Body Level Three</a:t>
            </a:r>
          </a:p>
          <a:p>
            <a:pPr lvl="3"/>
            <a:r>
              <a:t>Body Level Four</a:t>
            </a:r>
          </a:p>
          <a:p>
            <a:pPr lvl="4"/>
            <a:r>
              <a:t>Body Level Five</a:t>
            </a:r>
          </a:p>
        </p:txBody>
      </p:sp>
      <p:sp>
        <p:nvSpPr>
          <p:cNvPr id="13" name="Google Shape;106;p19">
            <a:extLst>
              <a:ext uri="{FF2B5EF4-FFF2-40B4-BE49-F238E27FC236}">
                <a16:creationId xmlns:a16="http://schemas.microsoft.com/office/drawing/2014/main" id="{92D30DAD-BDEF-8549-B027-6B29AA85DD04}"/>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16" name="Picture 15">
            <a:extLst>
              <a:ext uri="{FF2B5EF4-FFF2-40B4-BE49-F238E27FC236}">
                <a16:creationId xmlns:a16="http://schemas.microsoft.com/office/drawing/2014/main" id="{7BB7CB80-CCC5-9548-96C0-9EAE625CB0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pic>
        <p:nvPicPr>
          <p:cNvPr id="11" name="Picture 10">
            <a:extLst>
              <a:ext uri="{FF2B5EF4-FFF2-40B4-BE49-F238E27FC236}">
                <a16:creationId xmlns:a16="http://schemas.microsoft.com/office/drawing/2014/main" id="{EBEF1ECC-28C0-1A43-8C7E-9B260BEE990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553591" y="918332"/>
            <a:ext cx="6254087" cy="3517924"/>
          </a:xfrm>
          <a:prstGeom prst="rect">
            <a:avLst/>
          </a:prstGeom>
        </p:spPr>
      </p:pic>
    </p:spTree>
    <p:extLst>
      <p:ext uri="{BB962C8B-B14F-4D97-AF65-F5344CB8AC3E}">
        <p14:creationId xmlns:p14="http://schemas.microsoft.com/office/powerpoint/2010/main" val="2606749639"/>
      </p:ext>
    </p:extLst>
  </p:cSld>
  <p:clrMapOvr>
    <a:masterClrMapping/>
  </p:clrMapOvr>
  <p:transition spd="med"/>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tx" preserve="1">
  <p:cSld name="Title Text for emphasis">
    <p:spTree>
      <p:nvGrpSpPr>
        <p:cNvPr id="1" name=""/>
        <p:cNvGrpSpPr/>
        <p:nvPr/>
      </p:nvGrpSpPr>
      <p:grpSpPr>
        <a:xfrm>
          <a:off x="0" y="0"/>
          <a:ext cx="0" cy="0"/>
          <a:chOff x="0" y="0"/>
          <a:chExt cx="0" cy="0"/>
        </a:xfrm>
      </p:grpSpPr>
      <p:sp>
        <p:nvSpPr>
          <p:cNvPr id="102" name="Title Text"/>
          <p:cNvSpPr txBox="1">
            <a:spLocks noGrp="1"/>
          </p:cNvSpPr>
          <p:nvPr>
            <p:ph type="title"/>
          </p:nvPr>
        </p:nvSpPr>
        <p:spPr>
          <a:xfrm>
            <a:off x="437766" y="593124"/>
            <a:ext cx="8345489" cy="3171568"/>
          </a:xfrm>
          <a:prstGeom prst="rect">
            <a:avLst/>
          </a:prstGeom>
        </p:spPr>
        <p:txBody>
          <a:bodyPr anchor="ctr">
            <a:normAutofit/>
          </a:bodyPr>
          <a:lstStyle>
            <a:lvl1pPr>
              <a:lnSpc>
                <a:spcPct val="80000"/>
              </a:lnSpc>
              <a:defRPr sz="4000" baseline="0"/>
            </a:lvl1pPr>
          </a:lstStyle>
          <a:p>
            <a:r>
              <a:t>Title Text</a:t>
            </a:r>
          </a:p>
        </p:txBody>
      </p:sp>
      <p:sp>
        <p:nvSpPr>
          <p:cNvPr id="104" name="Text"/>
          <p:cNvSpPr txBox="1"/>
          <p:nvPr/>
        </p:nvSpPr>
        <p:spPr>
          <a:xfrm>
            <a:off x="4498746" y="2439263"/>
            <a:ext cx="138819" cy="4004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nSpc>
                <a:spcPts val="2800"/>
              </a:lnSpc>
              <a:defRPr sz="1200">
                <a:solidFill>
                  <a:srgbClr val="000000"/>
                </a:solidFill>
                <a:latin typeface="Helvetica Neue"/>
                <a:ea typeface="Helvetica Neue"/>
                <a:cs typeface="Helvetica Neue"/>
                <a:sym typeface="Helvetica Neue"/>
              </a:defRPr>
            </a:lvl1pPr>
          </a:lstStyle>
          <a:p>
            <a:r>
              <a:rPr b="0" i="0">
                <a:latin typeface="CiscoSansTT Light" panose="020B0503020201020303"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6CCEA53E-E238-9E49-B176-7E381813FB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9" name="Google Shape;106;p19">
            <a:extLst>
              <a:ext uri="{FF2B5EF4-FFF2-40B4-BE49-F238E27FC236}">
                <a16:creationId xmlns:a16="http://schemas.microsoft.com/office/drawing/2014/main" id="{B811F446-BD0C-3E46-A833-F127CFDAFCBA}"/>
              </a:ext>
            </a:extLst>
          </p:cNvPr>
          <p:cNvSpPr txBox="1"/>
          <p:nvPr userDrawn="1"/>
        </p:nvSpPr>
        <p:spPr>
          <a:xfrm>
            <a:off x="4207878" y="4771791"/>
            <a:ext cx="2362197" cy="1544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0773" tIns="30773" rIns="30773" bIns="30773" anchor="b">
            <a:spAutoFit/>
          </a:bodyPr>
          <a:lstStyle>
            <a:lvl1pPr>
              <a:defRPr sz="600">
                <a:solidFill>
                  <a:srgbClr val="A5A5A5"/>
                </a:solidFill>
                <a:latin typeface="Arial"/>
                <a:ea typeface="Arial"/>
                <a:cs typeface="Arial"/>
                <a:sym typeface="Arial"/>
              </a:defRPr>
            </a:lvl1pPr>
          </a:lstStyle>
          <a:p>
            <a:pPr algn="l"/>
            <a:r>
              <a:rPr b="0" i="0">
                <a:solidFill>
                  <a:schemeClr val="tx1">
                    <a:lumMod val="50000"/>
                  </a:schemeClr>
                </a:solidFill>
                <a:latin typeface="CiscoSansTT ExtraLight" panose="020B0303020201020303" pitchFamily="34" charset="0"/>
              </a:rPr>
              <a:t>© </a:t>
            </a:r>
            <a:r>
              <a:rPr lang="en-US" b="0" i="0">
                <a:solidFill>
                  <a:schemeClr val="tx1">
                    <a:lumMod val="50000"/>
                  </a:schemeClr>
                </a:solidFill>
                <a:latin typeface="CiscoSansTT ExtraLight" panose="020B0303020201020303" pitchFamily="34" charset="0"/>
              </a:rPr>
              <a:t>2020</a:t>
            </a:r>
            <a:r>
              <a:rPr b="0" i="0">
                <a:solidFill>
                  <a:schemeClr val="tx1">
                    <a:lumMod val="50000"/>
                  </a:schemeClr>
                </a:solidFill>
                <a:latin typeface="CiscoSansTT ExtraLight" panose="020B0303020201020303" pitchFamily="34" charset="0"/>
              </a:rPr>
              <a:t>  Cisco and/or its affiliates. All rights reserved.</a:t>
            </a:r>
            <a:endParaRPr lang="en-US" b="0" i="0">
              <a:solidFill>
                <a:schemeClr val="tx1">
                  <a:lumMod val="50000"/>
                </a:schemeClr>
              </a:solidFill>
              <a:latin typeface="CiscoSansTT ExtraLight" panose="020B0303020201020303" pitchFamily="34" charset="0"/>
            </a:endParaRPr>
          </a:p>
        </p:txBody>
      </p:sp>
      <p:pic>
        <p:nvPicPr>
          <p:cNvPr id="10" name="Picture 9">
            <a:extLst>
              <a:ext uri="{FF2B5EF4-FFF2-40B4-BE49-F238E27FC236}">
                <a16:creationId xmlns:a16="http://schemas.microsoft.com/office/drawing/2014/main" id="{0F1A372D-9CB6-CD45-A55B-F0DDCEDA4DF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63243" y="4707089"/>
            <a:ext cx="1420078" cy="219182"/>
          </a:xfrm>
          <a:prstGeom prst="rect">
            <a:avLst/>
          </a:prstGeom>
        </p:spPr>
      </p:pic>
      <p:pic>
        <p:nvPicPr>
          <p:cNvPr id="11" name="Picture 10" descr="A picture containing man&#10;&#10;Description automatically generated">
            <a:extLst>
              <a:ext uri="{FF2B5EF4-FFF2-40B4-BE49-F238E27FC236}">
                <a16:creationId xmlns:a16="http://schemas.microsoft.com/office/drawing/2014/main" id="{E19DFB4D-E67B-DF48-A8D4-A193A41C19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279286" y="-12701"/>
            <a:ext cx="1874646" cy="4662685"/>
          </a:xfrm>
          <a:prstGeom prst="rect">
            <a:avLst/>
          </a:prstGeom>
        </p:spPr>
      </p:pic>
      <p:pic>
        <p:nvPicPr>
          <p:cNvPr id="13" name="Picture 12" descr="A picture containing holding, game, video&#10;&#10;Description automatically generated">
            <a:extLst>
              <a:ext uri="{FF2B5EF4-FFF2-40B4-BE49-F238E27FC236}">
                <a16:creationId xmlns:a16="http://schemas.microsoft.com/office/drawing/2014/main" id="{F890D9BB-96EE-0243-8186-FA780187200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76" y="2819260"/>
            <a:ext cx="2024175" cy="2336940"/>
          </a:xfrm>
          <a:prstGeom prst="rect">
            <a:avLst/>
          </a:prstGeom>
        </p:spPr>
      </p:pic>
    </p:spTree>
    <p:extLst>
      <p:ext uri="{BB962C8B-B14F-4D97-AF65-F5344CB8AC3E}">
        <p14:creationId xmlns:p14="http://schemas.microsoft.com/office/powerpoint/2010/main" val="1920612135"/>
      </p:ext>
    </p:extLst>
  </p:cSld>
  <p:clrMapOvr>
    <a:masterClrMapping/>
  </p:clrMapOvr>
  <p:transition spd="med"/>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reserve="1">
  <p:cSld name="Closing Slide B">
    <p:bg>
      <p:bgPr>
        <a:solidFill>
          <a:schemeClr val="accent3"/>
        </a:solidFill>
        <a:effectLst/>
      </p:bgPr>
    </p:bg>
    <p:spTree>
      <p:nvGrpSpPr>
        <p:cNvPr id="1" name=""/>
        <p:cNvGrpSpPr/>
        <p:nvPr/>
      </p:nvGrpSpPr>
      <p:grpSpPr>
        <a:xfrm>
          <a:off x="0" y="0"/>
          <a:ext cx="0" cy="0"/>
          <a:chOff x="0" y="0"/>
          <a:chExt cx="0" cy="0"/>
        </a:xfrm>
      </p:grpSpPr>
      <p:pic>
        <p:nvPicPr>
          <p:cNvPr id="3" name="Picture 2" descr="A picture containing drawing, light&#10;&#10;Description automatically generated">
            <a:extLst>
              <a:ext uri="{FF2B5EF4-FFF2-40B4-BE49-F238E27FC236}">
                <a16:creationId xmlns:a16="http://schemas.microsoft.com/office/drawing/2014/main" id="{42462F81-232C-E940-9263-89A223E265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02976" y="2129865"/>
            <a:ext cx="4149586" cy="855151"/>
          </a:xfrm>
          <a:prstGeom prst="rect">
            <a:avLst/>
          </a:prstGeom>
        </p:spPr>
      </p:pic>
    </p:spTree>
    <p:extLst>
      <p:ext uri="{BB962C8B-B14F-4D97-AF65-F5344CB8AC3E}">
        <p14:creationId xmlns:p14="http://schemas.microsoft.com/office/powerpoint/2010/main" val="483012753"/>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5313160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6048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984537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932305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905903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592334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32101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239381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9131534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1013642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9221794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2045904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771435484"/>
      </p:ext>
    </p:extLst>
  </p:cSld>
  <p:clrMapOvr>
    <a:masterClrMapping/>
  </p:clrMapOvr>
  <p:extLst>
    <p:ext uri="{DCECCB84-F9BA-43D5-87BE-67443E8EF086}">
      <p15:sldGuideLst xmlns:p15="http://schemas.microsoft.com/office/powerpoint/2012/main">
        <p15:guide id="2" pos="216" userDrawn="1">
          <p15:clr>
            <a:srgbClr val="FBAE40"/>
          </p15:clr>
        </p15:guide>
        <p15:guide id="3" pos="1949" userDrawn="1">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421685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79829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753117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8715350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403393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549439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8133197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6290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523745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288426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093486908"/>
      </p:ext>
    </p:extLst>
  </p:cSld>
  <p:clrMapOvr>
    <a:masterClrMapping/>
  </p:clrMapOvr>
  <p:extLst>
    <p:ext uri="{DCECCB84-F9BA-43D5-87BE-67443E8EF086}">
      <p15:sldGuideLst xmlns:p15="http://schemas.microsoft.com/office/powerpoint/2012/main">
        <p15:guide id="1" orient="horz" pos="783" userDrawn="1">
          <p15:clr>
            <a:srgbClr val="FBAE40"/>
          </p15:clr>
        </p15:guide>
        <p15:guide id="2" pos="198" userDrawn="1">
          <p15:clr>
            <a:srgbClr val="FBAE40"/>
          </p15:clr>
        </p15:guide>
        <p15:guide id="3" orient="horz" pos="1647" userDrawn="1">
          <p15:clr>
            <a:srgbClr val="FBAE40"/>
          </p15:clr>
        </p15:guide>
        <p15:guide id="4" pos="2006"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10021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2392261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977267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147105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73378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36738"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36738"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2"/>
            <a:ext cx="8236738"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p:nvPr>
        </p:nvSpPr>
        <p:spPr>
          <a:xfrm>
            <a:off x="463294" y="3043654"/>
            <a:ext cx="8243211"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endParaRPr lang="en-GB"/>
          </a:p>
        </p:txBody>
      </p:sp>
      <p:sp>
        <p:nvSpPr>
          <p:cNvPr id="20" name="Title 1"/>
          <p:cNvSpPr>
            <a:spLocks noGrp="1"/>
          </p:cNvSpPr>
          <p:nvPr>
            <p:ph type="ctrTitle"/>
          </p:nvPr>
        </p:nvSpPr>
        <p:spPr>
          <a:xfrm>
            <a:off x="425767" y="2472167"/>
            <a:ext cx="8280469"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endParaRPr lang="en-US"/>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chemeClr val="bg1">
                  <a:lumMod val="75000"/>
                </a:schemeClr>
              </a:solidFill>
            </a:endParaRPr>
          </a:p>
        </p:txBody>
      </p:sp>
    </p:spTree>
    <p:extLst>
      <p:ext uri="{BB962C8B-B14F-4D97-AF65-F5344CB8AC3E}">
        <p14:creationId xmlns:p14="http://schemas.microsoft.com/office/powerpoint/2010/main" val="171912246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1"/>
          <p:cNvSpPr>
            <a:spLocks noGrp="1"/>
          </p:cNvSpPr>
          <p:nvPr>
            <p:ph type="ctrTitle" hasCustomPrompt="1"/>
          </p:nvPr>
        </p:nvSpPr>
        <p:spPr>
          <a:xfrm>
            <a:off x="416423" y="915410"/>
            <a:ext cx="8293608"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06908283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7" name="Title 1"/>
          <p:cNvSpPr>
            <a:spLocks noGrp="1"/>
          </p:cNvSpPr>
          <p:nvPr>
            <p:ph type="ctrTitle" hasCustomPrompt="1"/>
          </p:nvPr>
        </p:nvSpPr>
        <p:spPr>
          <a:xfrm>
            <a:off x="416425" y="915410"/>
            <a:ext cx="8293608"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67800767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2"/>
              </a:solidFill>
            </a:endParaRPr>
          </a:p>
        </p:txBody>
      </p:sp>
      <p:sp>
        <p:nvSpPr>
          <p:cNvPr id="3" name="Text Placeholder 9"/>
          <p:cNvSpPr>
            <a:spLocks noGrp="1"/>
          </p:cNvSpPr>
          <p:nvPr>
            <p:ph type="body" sz="quarter" idx="11"/>
          </p:nvPr>
        </p:nvSpPr>
        <p:spPr>
          <a:xfrm>
            <a:off x="468316" y="3916058"/>
            <a:ext cx="8266175"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29768" y="1540551"/>
            <a:ext cx="829360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87472865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635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2"/>
              </a:solidFill>
            </a:endParaRPr>
          </a:p>
        </p:txBody>
      </p:sp>
      <p:sp>
        <p:nvSpPr>
          <p:cNvPr id="3" name="Text Placeholder 9"/>
          <p:cNvSpPr>
            <a:spLocks noGrp="1"/>
          </p:cNvSpPr>
          <p:nvPr>
            <p:ph type="body" sz="quarter" idx="11"/>
          </p:nvPr>
        </p:nvSpPr>
        <p:spPr>
          <a:xfrm>
            <a:off x="468315" y="3916058"/>
            <a:ext cx="8266175"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429770" y="1536193"/>
            <a:ext cx="8266175"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6436627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6230117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909185473"/>
      </p:ext>
    </p:extLst>
  </p:cSld>
  <p:clrMapOvr>
    <a:masterClrMapping/>
  </p:clrMapOvr>
  <p:extLst>
    <p:ext uri="{DCECCB84-F9BA-43D5-87BE-67443E8EF086}">
      <p15:sldGuideLst xmlns:p15="http://schemas.microsoft.com/office/powerpoint/2012/main">
        <p15:guide id="4" pos="2006"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33400" y="3903357"/>
            <a:ext cx="8077200"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3295720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 y="2"/>
            <a:ext cx="9143999"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8" y="3054519"/>
            <a:ext cx="8266175"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8594426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34859402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324405"/>
            <a:ext cx="8527976"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90182731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9" y="1201738"/>
            <a:ext cx="8266175" cy="3389312"/>
          </a:xfrm>
          <a:prstGeom prst="rect">
            <a:avLst/>
          </a:prstGeom>
        </p:spPr>
        <p:txBody>
          <a:bodyPr lIns="91420" tIns="45710" rIns="91420" bIns="45710">
            <a:noAutofit/>
          </a:bodyPr>
          <a:lstStyle>
            <a:lvl1pPr marL="173736" indent="-17373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29422343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26143" y="1205898"/>
            <a:ext cx="3886200" cy="3083094"/>
          </a:xfrm>
          <a:prstGeom prst="rect">
            <a:avLst/>
          </a:prstGeom>
        </p:spPr>
        <p:txBody>
          <a:bodyPr lIns="0" tIns="45710" rIns="0" bIns="45710">
            <a:noAutofit/>
          </a:bodyPr>
          <a:lstStyle>
            <a:lvl1pPr marL="174625" indent="-173736">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403225" indent="-114300">
              <a:buClr>
                <a:schemeClr val="tx1"/>
              </a:buClr>
              <a:buSzPct val="80000"/>
              <a:buFont typeface="Arial"/>
              <a:buChar char="•"/>
              <a:defRPr sz="1600" b="0" i="0">
                <a:solidFill>
                  <a:schemeClr val="tx1"/>
                </a:solidFill>
                <a:latin typeface="+mn-lt"/>
                <a:cs typeface="CiscoSans ExtraLight"/>
              </a:defRPr>
            </a:lvl3pPr>
            <a:lvl4pPr marL="517525" indent="-114300">
              <a:buClr>
                <a:schemeClr val="tx1"/>
              </a:buClr>
              <a:buSzPct val="80000"/>
              <a:buFont typeface="Arial"/>
              <a:buChar char="•"/>
              <a:defRPr sz="1400" b="0" i="0">
                <a:solidFill>
                  <a:schemeClr val="tx1"/>
                </a:solidFill>
                <a:latin typeface="+mn-lt"/>
                <a:cs typeface="CiscoSans ExtraLight"/>
              </a:defRPr>
            </a:lvl4pPr>
            <a:lvl5pPr marL="631825" indent="-114300">
              <a:buClr>
                <a:schemeClr val="tx1"/>
              </a:buClr>
              <a:buSzPct val="8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24400" y="1201739"/>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403225" indent="-114300">
              <a:buClr>
                <a:schemeClr val="tx1"/>
              </a:buClr>
              <a:buSzPct val="80000"/>
              <a:buFont typeface="Arial"/>
              <a:buChar char="•"/>
              <a:defRPr sz="1600" b="0" i="0">
                <a:solidFill>
                  <a:schemeClr val="tx1"/>
                </a:solidFill>
                <a:latin typeface="+mn-lt"/>
                <a:cs typeface="CiscoSans ExtraLight"/>
              </a:defRPr>
            </a:lvl3pPr>
            <a:lvl4pPr marL="517525" indent="-114300">
              <a:buClr>
                <a:schemeClr val="tx1"/>
              </a:buClr>
              <a:buSzPct val="80000"/>
              <a:buFont typeface="Arial"/>
              <a:buChar char="•"/>
              <a:defRPr sz="1400" b="0" i="0">
                <a:solidFill>
                  <a:schemeClr val="tx1"/>
                </a:solidFill>
                <a:latin typeface="+mn-lt"/>
                <a:cs typeface="CiscoSans ExtraLight"/>
              </a:defRPr>
            </a:lvl4pPr>
            <a:lvl5pPr marL="631825" indent="-114300">
              <a:buClr>
                <a:schemeClr val="tx1"/>
              </a:buClr>
              <a:buSzPct val="8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62188053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62782375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9331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077200" cy="280720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9" y="4148220"/>
            <a:ext cx="8266175"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31861883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7" name="Text Placeholder 9"/>
          <p:cNvSpPr>
            <a:spLocks noGrp="1"/>
          </p:cNvSpPr>
          <p:nvPr>
            <p:ph type="body" sz="quarter" idx="11"/>
          </p:nvPr>
        </p:nvSpPr>
        <p:spPr>
          <a:xfrm>
            <a:off x="437769" y="4148220"/>
            <a:ext cx="8266175"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Chart Placeholder 2"/>
          <p:cNvSpPr>
            <a:spLocks noGrp="1"/>
          </p:cNvSpPr>
          <p:nvPr>
            <p:ph type="chart" sz="quarter" idx="10"/>
          </p:nvPr>
        </p:nvSpPr>
        <p:spPr>
          <a:xfrm>
            <a:off x="533400" y="1201738"/>
            <a:ext cx="8077200" cy="2803334"/>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Tree>
    <p:extLst>
      <p:ext uri="{BB962C8B-B14F-4D97-AF65-F5344CB8AC3E}">
        <p14:creationId xmlns:p14="http://schemas.microsoft.com/office/powerpoint/2010/main" val="29636770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067102120"/>
      </p:ext>
    </p:extLst>
  </p:cSld>
  <p:clrMapOvr>
    <a:masterClrMapping/>
  </p:clrMapOvr>
  <p:extLst>
    <p:ext uri="{DCECCB84-F9BA-43D5-87BE-67443E8EF086}">
      <p15:sldGuideLst xmlns:p15="http://schemas.microsoft.com/office/powerpoint/2012/main">
        <p15:guide id="1" orient="horz" pos="783" userDrawn="1">
          <p15:clr>
            <a:srgbClr val="FBAE40"/>
          </p15:clr>
        </p15:guide>
        <p15:guide id="2" pos="198" userDrawn="1">
          <p15:clr>
            <a:srgbClr val="FBAE40"/>
          </p15:clr>
        </p15:guide>
        <p15:guide id="3" orient="horz" pos="1645"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38912" y="1664208"/>
            <a:ext cx="3813048" cy="2935224"/>
          </a:xfrm>
          <a:prstGeom prst="rect">
            <a:avLst/>
          </a:prstGeom>
        </p:spPr>
        <p:txBody>
          <a:bodyPr lIns="91420" tIns="45710" rIns="91420" bIns="45710">
            <a:noAutofit/>
          </a:bodyPr>
          <a:lstStyle>
            <a:lvl1pPr marL="109728" indent="-109728">
              <a:lnSpc>
                <a:spcPct val="95000"/>
              </a:lnSpc>
              <a:spcBef>
                <a:spcPts val="1075"/>
              </a:spcBef>
              <a:buClr>
                <a:schemeClr val="bg1">
                  <a:lumMod val="75000"/>
                </a:schemeClr>
              </a:buClr>
              <a:buSzPct val="60000"/>
              <a:buFont typeface="Arial"/>
              <a:buChar char="•"/>
              <a:defRPr sz="2000" b="0" i="0">
                <a:solidFill>
                  <a:schemeClr val="bg1">
                    <a:lumMod val="75000"/>
                  </a:schemeClr>
                </a:solidFill>
                <a:latin typeface="+mn-lt"/>
                <a:ea typeface="CiscoSansTT Thin" charset="0"/>
                <a:cs typeface="CiscoSansTT Thin" charset="0"/>
              </a:defRPr>
            </a:lvl1pPr>
            <a:lvl2pPr marL="228600" indent="-114300">
              <a:lnSpc>
                <a:spcPct val="95000"/>
              </a:lnSpc>
              <a:spcBef>
                <a:spcPts val="600"/>
              </a:spcBef>
              <a:buClr>
                <a:schemeClr val="bg1">
                  <a:lumMod val="75000"/>
                </a:schemeClr>
              </a:buClr>
              <a:buSzPct val="60000"/>
              <a:buFont typeface="Arial"/>
              <a:buChar char="•"/>
              <a:defRPr sz="2000" b="0" i="0">
                <a:solidFill>
                  <a:schemeClr val="bg1">
                    <a:lumMod val="75000"/>
                  </a:schemeClr>
                </a:solidFill>
                <a:latin typeface="+mn-lt"/>
                <a:ea typeface="CiscoSansTT Thin" charset="0"/>
                <a:cs typeface="CiscoSansTT Thin" charset="0"/>
              </a:defRPr>
            </a:lvl2pPr>
            <a:lvl3pPr marL="347472" indent="-114300">
              <a:spcBef>
                <a:spcPts val="625"/>
              </a:spcBef>
              <a:buClr>
                <a:schemeClr val="bg1">
                  <a:lumMod val="75000"/>
                </a:schemeClr>
              </a:buClr>
              <a:buSzPct val="60000"/>
              <a:buFont typeface="Arial"/>
              <a:buChar char="•"/>
              <a:defRPr sz="1800" b="0" i="0">
                <a:solidFill>
                  <a:schemeClr val="bg1">
                    <a:lumMod val="75000"/>
                  </a:schemeClr>
                </a:solidFill>
                <a:latin typeface="+mn-lt"/>
                <a:ea typeface="CiscoSansTT Thin" charset="0"/>
                <a:cs typeface="CiscoSansTT Thin" charset="0"/>
              </a:defRPr>
            </a:lvl3pPr>
            <a:lvl4pPr marL="457200" indent="-128016">
              <a:spcBef>
                <a:spcPts val="625"/>
              </a:spcBef>
              <a:buClr>
                <a:schemeClr val="bg1">
                  <a:lumMod val="75000"/>
                </a:schemeClr>
              </a:buClr>
              <a:buSzPct val="60000"/>
              <a:buFont typeface="Arial"/>
              <a:buChar char="•"/>
              <a:defRPr sz="1600" b="0" i="0">
                <a:solidFill>
                  <a:schemeClr val="bg1">
                    <a:lumMod val="75000"/>
                  </a:schemeClr>
                </a:solidFill>
                <a:latin typeface="+mn-lt"/>
                <a:ea typeface="CiscoSansTT Thin" charset="0"/>
                <a:cs typeface="CiscoSansTT Thin" charset="0"/>
              </a:defRPr>
            </a:lvl4pPr>
            <a:lvl5pPr marL="576072" indent="-118872">
              <a:spcBef>
                <a:spcPts val="625"/>
              </a:spcBef>
              <a:buClr>
                <a:schemeClr val="bg1">
                  <a:lumMod val="75000"/>
                </a:schemeClr>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8912" y="512064"/>
            <a:ext cx="3813048" cy="658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nSpc>
                <a:spcPct val="85000"/>
              </a:lnSpc>
              <a:defRPr sz="3200">
                <a:solidFill>
                  <a:schemeClr val="bg1">
                    <a:lumMod val="75000"/>
                  </a:schemeClr>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51492630"/>
      </p:ext>
    </p:extLst>
  </p:cSld>
  <p:clrMapOvr>
    <a:masterClrMapping/>
  </p:clrMapOvr>
  <p:extLst>
    <p:ext uri="{DCECCB84-F9BA-43D5-87BE-67443E8EF086}">
      <p15:sldGuideLst xmlns:p15="http://schemas.microsoft.com/office/powerpoint/2012/main">
        <p15:guide id="3" pos="259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38914" y="1655064"/>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hasCustomPrompt="1"/>
          </p:nvPr>
        </p:nvSpPr>
        <p:spPr>
          <a:xfrm>
            <a:off x="5097465" y="531812"/>
            <a:ext cx="3551237" cy="4059237"/>
          </a:xfrm>
          <a:prstGeom prst="rect">
            <a:avLst/>
          </a:prstGeom>
        </p:spPr>
        <p:txBody>
          <a:bodyPr lIns="0" rIns="0" anchor="ctr" anchorCtr="0"/>
          <a:lstStyle>
            <a:lvl1pPr marL="109728" indent="-109728">
              <a:lnSpc>
                <a:spcPct val="100000"/>
              </a:lnSpc>
              <a:buClr>
                <a:schemeClr val="tx1"/>
              </a:buClr>
              <a:buSzPct val="60000"/>
              <a:buFont typeface="Arial" panose="020B0604020202020204" pitchFamily="34" charset="0"/>
              <a:buChar char="•"/>
              <a:tabLst>
                <a:tab pos="228600" algn="l"/>
              </a:tabLst>
              <a:defRPr sz="2000"/>
            </a:lvl1pPr>
            <a:lvl2pPr marL="228600" indent="-109728">
              <a:lnSpc>
                <a:spcPct val="100000"/>
              </a:lnSpc>
              <a:buClr>
                <a:schemeClr val="tx1"/>
              </a:buClr>
              <a:buSzPct val="60000"/>
              <a:buFont typeface="Arial" panose="020B0604020202020204" pitchFamily="34" charset="0"/>
              <a:buChar char="•"/>
              <a:defRPr sz="2000"/>
            </a:lvl2pPr>
            <a:lvl3pPr marL="347472" indent="-109728">
              <a:lnSpc>
                <a:spcPct val="100000"/>
              </a:lnSpc>
              <a:buClr>
                <a:schemeClr val="tx1"/>
              </a:buClr>
              <a:buSzPct val="60000"/>
              <a:buFont typeface="Arial" panose="020B0604020202020204" pitchFamily="34" charset="0"/>
              <a:buChar char="•"/>
              <a:defRPr sz="1800"/>
            </a:lvl3pPr>
            <a:lvl4pPr marL="457200" indent="-128016">
              <a:lnSpc>
                <a:spcPct val="100000"/>
              </a:lnSpc>
              <a:buClr>
                <a:schemeClr val="tx1"/>
              </a:buClr>
              <a:buSzPct val="60000"/>
              <a:buFont typeface="Arial" panose="020B0604020202020204" pitchFamily="34" charset="0"/>
              <a:buChar char="•"/>
              <a:tabLst/>
              <a:defRPr sz="1600"/>
            </a:lvl4pPr>
            <a:lvl5pPr marL="576072" indent="-118872">
              <a:lnSpc>
                <a:spcPct val="100000"/>
              </a:lnSpc>
              <a:buClr>
                <a:schemeClr val="tx1"/>
              </a:buClr>
              <a:buSzPct val="60000"/>
              <a:buFont typeface="Arial" panose="020B0604020202020204" pitchFamily="34" charset="0"/>
              <a:buChar char="•"/>
              <a:defRPr sz="1600"/>
            </a:lvl5pPr>
          </a:lstStyle>
          <a:p>
            <a:pPr marL="169863" marR="0" lvl="0" indent="-169863" algn="l" defTabSz="684213" rtl="0" eaLnBrk="1" fontAlgn="base" latinLnBrk="0" hangingPunct="1">
              <a:lnSpc>
                <a:spcPct val="100000"/>
              </a:lnSpc>
              <a:spcBef>
                <a:spcPts val="1075"/>
              </a:spcBef>
              <a:spcAft>
                <a:spcPct val="0"/>
              </a:spcAft>
              <a:buClr>
                <a:schemeClr val="tx1"/>
              </a:buClr>
              <a:buSzPct val="60000"/>
              <a:buFont typeface="Arial" panose="020B0604020202020204" pitchFamily="34" charset="0"/>
              <a:buChar char="•"/>
              <a:tabLst>
                <a:tab pos="228600" algn="l"/>
              </a:tabLst>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410884857"/>
      </p:ext>
    </p:extLst>
  </p:cSld>
  <p:clrMapOvr>
    <a:masterClrMapping/>
  </p:clrMapOvr>
  <p:extLst>
    <p:ext uri="{DCECCB84-F9BA-43D5-87BE-67443E8EF086}">
      <p15:sldGuideLst xmlns:p15="http://schemas.microsoft.com/office/powerpoint/2012/main">
        <p15:guide id="1" orient="horz" pos="997">
          <p15:clr>
            <a:srgbClr val="FBAE40"/>
          </p15:clr>
        </p15:guide>
        <p15:guide id="2" pos="264">
          <p15:clr>
            <a:srgbClr val="FBAE40"/>
          </p15:clr>
        </p15:guide>
        <p15:guide id="3" orient="horz" pos="2096">
          <p15:clr>
            <a:srgbClr val="FBAE40"/>
          </p15:clr>
        </p15:guide>
        <p15:guide id="4" pos="2675">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8912" y="512064"/>
            <a:ext cx="3813048" cy="658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5" y="531812"/>
            <a:ext cx="3551237" cy="4059237"/>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5" y="1664208"/>
            <a:ext cx="3813048" cy="2935224"/>
          </a:xfrm>
          <a:prstGeom prst="rect">
            <a:avLst/>
          </a:prstGeom>
        </p:spPr>
        <p:txBody>
          <a:bodyPr/>
          <a:lstStyle>
            <a:lvl1pPr marL="114300" indent="-114300">
              <a:buClr>
                <a:schemeClr val="bg1">
                  <a:lumMod val="75000"/>
                </a:schemeClr>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bg1">
                  <a:lumMod val="75000"/>
                </a:schemeClr>
              </a:buClr>
              <a:buSzPct val="60000"/>
              <a:defRPr sz="2000">
                <a:solidFill>
                  <a:schemeClr val="bg1">
                    <a:lumMod val="75000"/>
                  </a:schemeClr>
                </a:solidFill>
              </a:defRPr>
            </a:lvl2pPr>
            <a:lvl3pPr marL="342900" indent="-114300">
              <a:buClr>
                <a:schemeClr val="bg1">
                  <a:lumMod val="75000"/>
                </a:schemeClr>
              </a:buClr>
              <a:buSzPct val="60000"/>
              <a:defRPr sz="1800">
                <a:solidFill>
                  <a:schemeClr val="bg1">
                    <a:lumMod val="75000"/>
                  </a:schemeClr>
                </a:solidFill>
              </a:defRPr>
            </a:lvl3pPr>
            <a:lvl4pPr marL="457200" indent="-123825">
              <a:buClr>
                <a:schemeClr val="bg1">
                  <a:lumMod val="75000"/>
                </a:schemeClr>
              </a:buClr>
              <a:buSzPct val="60000"/>
              <a:defRPr sz="1600">
                <a:solidFill>
                  <a:schemeClr val="bg1">
                    <a:lumMod val="75000"/>
                  </a:schemeClr>
                </a:solidFill>
              </a:defRPr>
            </a:lvl4pPr>
            <a:lvl5pPr marL="574675" indent="-117475">
              <a:buClr>
                <a:schemeClr val="bg1">
                  <a:lumMod val="75000"/>
                </a:schemeClr>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80"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472996010"/>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7" y="531814"/>
            <a:ext cx="35210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7" y="4062351"/>
            <a:ext cx="35210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80" y="4741653"/>
            <a:ext cx="324523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99517854"/>
      </p:ext>
    </p:extLst>
  </p:cSld>
  <p:clrMapOvr>
    <a:masterClrMapping/>
  </p:clrMapOvr>
  <p:extLst>
    <p:ext uri="{DCECCB84-F9BA-43D5-87BE-67443E8EF086}">
      <p15:sldGuideLst xmlns:p15="http://schemas.microsoft.com/office/powerpoint/2012/main">
        <p15:guide id="1" orient="horz" pos="997">
          <p15:clr>
            <a:srgbClr val="FBAE40"/>
          </p15:clr>
        </p15:guide>
        <p15:guide id="2" pos="264">
          <p15:clr>
            <a:srgbClr val="FBAE40"/>
          </p15:clr>
        </p15:guide>
        <p15:guide id="3" orient="horz" pos="2094">
          <p15:clr>
            <a:srgbClr val="FBAE40"/>
          </p15:clr>
        </p15:guide>
        <p15:guide id="4" pos="2675">
          <p15:clr>
            <a:srgbClr val="FBAE40"/>
          </p15:clr>
        </p15:guide>
        <p15:guide id="7" pos="320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8914"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7" y="531814"/>
            <a:ext cx="35210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079417391"/>
      </p:ext>
    </p:extLst>
  </p:cSld>
  <p:clrMapOvr>
    <a:masterClrMapping/>
  </p:clrMapOvr>
  <p:extLst>
    <p:ext uri="{DCECCB84-F9BA-43D5-87BE-67443E8EF086}">
      <p15:sldGuideLst xmlns:p15="http://schemas.microsoft.com/office/powerpoint/2012/main">
        <p15:guide id="1" orient="horz" pos="997">
          <p15:clr>
            <a:srgbClr val="FBAE40"/>
          </p15:clr>
        </p15:guide>
        <p15:guide id="2" pos="264">
          <p15:clr>
            <a:srgbClr val="FBAE40"/>
          </p15:clr>
        </p15:guide>
        <p15:guide id="3" orient="horz" pos="2094">
          <p15:clr>
            <a:srgbClr val="FBAE40"/>
          </p15:clr>
        </p15:guide>
        <p15:guide id="4" pos="2675">
          <p15:clr>
            <a:srgbClr val="FBAE40"/>
          </p15:clr>
        </p15:guide>
        <p15:guide id="7" pos="320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8" name="Rectangle 4"/>
          <p:cNvSpPr>
            <a:spLocks noChangeArrowheads="1"/>
          </p:cNvSpPr>
          <p:nvPr userDrawn="1"/>
        </p:nvSpPr>
        <p:spPr bwMode="ltGray">
          <a:xfrm>
            <a:off x="477678" y="4741653"/>
            <a:ext cx="32517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730277753"/>
      </p:ext>
    </p:extLst>
  </p:cSld>
  <p:clrMapOvr>
    <a:masterClrMapping/>
  </p:clrMapOvr>
  <p:extLst>
    <p:ext uri="{DCECCB84-F9BA-43D5-87BE-67443E8EF086}">
      <p15:sldGuideLst xmlns:p15="http://schemas.microsoft.com/office/powerpoint/2012/main">
        <p15:guide id="1" orient="horz" pos="997">
          <p15:clr>
            <a:srgbClr val="FBAE40"/>
          </p15:clr>
        </p15:guide>
        <p15:guide id="3" orient="horz" pos="2094">
          <p15:clr>
            <a:srgbClr val="FBAE40"/>
          </p15:clr>
        </p15:guide>
        <p15:guide id="4" pos="2675">
          <p15:clr>
            <a:srgbClr val="FBAE40"/>
          </p15:clr>
        </p15:guide>
        <p15:guide id="7" pos="320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8"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03922468"/>
      </p:ext>
    </p:extLst>
  </p:cSld>
  <p:clrMapOvr>
    <a:masterClrMapping/>
  </p:clrMapOvr>
  <p:extLst>
    <p:ext uri="{DCECCB84-F9BA-43D5-87BE-67443E8EF086}">
      <p15:sldGuideLst xmlns:p15="http://schemas.microsoft.com/office/powerpoint/2012/main">
        <p15:guide id="1" orient="horz" pos="997">
          <p15:clr>
            <a:srgbClr val="FBAE40"/>
          </p15:clr>
        </p15:guide>
        <p15:guide id="3" orient="horz" pos="2094">
          <p15:clr>
            <a:srgbClr val="FBAE40"/>
          </p15:clr>
        </p15:guide>
        <p15:guide id="4" pos="2675">
          <p15:clr>
            <a:srgbClr val="FBAE40"/>
          </p15:clr>
        </p15:guide>
        <p15:guide id="7" pos="320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7" y="531814"/>
            <a:ext cx="35210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80"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84367580"/>
      </p:ext>
    </p:extLst>
  </p:cSld>
  <p:clrMapOvr>
    <a:masterClrMapping/>
  </p:clrMapOvr>
  <p:extLst>
    <p:ext uri="{DCECCB84-F9BA-43D5-87BE-67443E8EF086}">
      <p15:sldGuideLst xmlns:p15="http://schemas.microsoft.com/office/powerpoint/2012/main">
        <p15:guide id="3" orient="horz" pos="2096">
          <p15:clr>
            <a:srgbClr val="FBAE40"/>
          </p15:clr>
        </p15:guide>
        <p15:guide id="4" pos="2675">
          <p15:clr>
            <a:srgbClr val="FBAE40"/>
          </p15:clr>
        </p15:guide>
        <p15:guide id="7" pos="320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7" y="531814"/>
            <a:ext cx="35210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80"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21984912"/>
      </p:ext>
    </p:extLst>
  </p:cSld>
  <p:clrMapOvr>
    <a:masterClrMapping/>
  </p:clrMapOvr>
  <p:extLst>
    <p:ext uri="{DCECCB84-F9BA-43D5-87BE-67443E8EF086}">
      <p15:sldGuideLst xmlns:p15="http://schemas.microsoft.com/office/powerpoint/2012/main">
        <p15:guide id="1" orient="horz" pos="997">
          <p15:clr>
            <a:srgbClr val="FBAE40"/>
          </p15:clr>
        </p15:guide>
        <p15:guide id="3" orient="horz" pos="2096">
          <p15:clr>
            <a:srgbClr val="FBAE40"/>
          </p15:clr>
        </p15:guide>
        <p15:guide id="4" pos="2675">
          <p15:clr>
            <a:srgbClr val="FBAE40"/>
          </p15:clr>
        </p15:guide>
        <p15:guide id="7" pos="3206">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 name="Freeform 6"/>
          <p:cNvSpPr>
            <a:spLocks noChangeAspect="1" noEditPoints="1"/>
          </p:cNvSpPr>
          <p:nvPr userDrawn="1"/>
        </p:nvSpPr>
        <p:spPr bwMode="auto">
          <a:xfrm>
            <a:off x="3762994"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350">
              <a:solidFill>
                <a:schemeClr val="bg1"/>
              </a:solidFill>
            </a:endParaRPr>
          </a:p>
        </p:txBody>
      </p:sp>
    </p:spTree>
    <p:extLst>
      <p:ext uri="{BB962C8B-B14F-4D97-AF65-F5344CB8AC3E}">
        <p14:creationId xmlns:p14="http://schemas.microsoft.com/office/powerpoint/2010/main" val="7913151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068852870"/>
      </p:ext>
    </p:extLst>
  </p:cSld>
  <p:clrMapOvr>
    <a:masterClrMapping/>
  </p:clrMapOvr>
  <p:extLst>
    <p:ext uri="{DCECCB84-F9BA-43D5-87BE-67443E8EF086}">
      <p15:sldGuideLst xmlns:p15="http://schemas.microsoft.com/office/powerpoint/2012/main">
        <p15:guide id="1" orient="horz" pos="783" userDrawn="1">
          <p15:clr>
            <a:srgbClr val="FBAE40"/>
          </p15:clr>
        </p15:guide>
        <p15:guide id="2" pos="198" userDrawn="1">
          <p15:clr>
            <a:srgbClr val="FBAE40"/>
          </p15:clr>
        </p15:guide>
        <p15:guide id="3" orient="horz" pos="1645"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120521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6490"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1246977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937941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4006455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487933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016611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9032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1554024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6043843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6930590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472038205"/>
      </p:ext>
    </p:extLst>
  </p:cSld>
  <p:clrMapOvr>
    <a:masterClrMapping/>
  </p:clrMapOvr>
  <p:extLst>
    <p:ext uri="{DCECCB84-F9BA-43D5-87BE-67443E8EF086}">
      <p15:sldGuideLst xmlns:p15="http://schemas.microsoft.com/office/powerpoint/2012/main">
        <p15:guide id="1" orient="horz" pos="783" userDrawn="1">
          <p15:clr>
            <a:srgbClr val="FBAE40"/>
          </p15:clr>
        </p15:guide>
        <p15:guide id="3" orient="horz" pos="1645"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19606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637377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906032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65750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Illustration Slid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bg2"/>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chemeClr val="tx2"/>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1041472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874451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tx1"/>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0327184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1818852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4222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98124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227318510"/>
      </p:ext>
    </p:extLst>
  </p:cSld>
  <p:clrMapOvr>
    <a:masterClrMapping/>
  </p:clrMapOvr>
  <p:extLst>
    <p:ext uri="{DCECCB84-F9BA-43D5-87BE-67443E8EF086}">
      <p15:sldGuideLst xmlns:p15="http://schemas.microsoft.com/office/powerpoint/2012/main">
        <p15:guide id="1" orient="horz" pos="783" userDrawn="1">
          <p15:clr>
            <a:srgbClr val="FBAE40"/>
          </p15:clr>
        </p15:guide>
        <p15:guide id="3" orient="horz" pos="1645"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61385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226290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4856715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214333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2925899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85071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252468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23182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25242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61786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923849380"/>
      </p:ext>
    </p:extLst>
  </p:cSld>
  <p:clrMapOvr>
    <a:masterClrMapping/>
  </p:clrMapOvr>
  <p:extLst>
    <p:ext uri="{DCECCB84-F9BA-43D5-87BE-67443E8EF086}">
      <p15:sldGuideLst xmlns:p15="http://schemas.microsoft.com/office/powerpoint/2012/main">
        <p15:guide id="3" orient="horz" pos="1647"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0629756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332654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2_White Title Only">
    <p:bg>
      <p:bgPr>
        <a:solidFill>
          <a:schemeClr val="tx2"/>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307662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White 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tx1"/>
                </a:solidFill>
              </a:defRPr>
            </a:lvl1pPr>
          </a:lstStyle>
          <a:p>
            <a:pPr lvl="0"/>
            <a:r>
              <a:rPr lang="en-GB"/>
              <a:t>Click to edit Master title style</a:t>
            </a:r>
          </a:p>
        </p:txBody>
      </p:sp>
    </p:spTree>
    <p:extLst>
      <p:ext uri="{BB962C8B-B14F-4D97-AF65-F5344CB8AC3E}">
        <p14:creationId xmlns:p14="http://schemas.microsoft.com/office/powerpoint/2010/main" val="11820946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Theme Graphic">
    <p:bg>
      <p:bgPr>
        <a:solidFill>
          <a:srgbClr val="00263A"/>
        </a:solidFill>
        <a:effectLst/>
      </p:bgPr>
    </p:bg>
    <p:spTree>
      <p:nvGrpSpPr>
        <p:cNvPr id="1" name=""/>
        <p:cNvGrpSpPr/>
        <p:nvPr/>
      </p:nvGrpSpPr>
      <p:grpSpPr>
        <a:xfrm>
          <a:off x="0" y="0"/>
          <a:ext cx="0" cy="0"/>
          <a:chOff x="0" y="0"/>
          <a:chExt cx="0" cy="0"/>
        </a:xfrm>
      </p:grpSpPr>
      <p:sp>
        <p:nvSpPr>
          <p:cNvPr id="65" name="Freeform 6">
            <a:extLst>
              <a:ext uri="{FF2B5EF4-FFF2-40B4-BE49-F238E27FC236}">
                <a16:creationId xmlns:a16="http://schemas.microsoft.com/office/drawing/2014/main" id="{4558BFC1-2779-497B-9964-275329B0CC19}"/>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5" name="Group 4">
            <a:extLst>
              <a:ext uri="{FF2B5EF4-FFF2-40B4-BE49-F238E27FC236}">
                <a16:creationId xmlns:a16="http://schemas.microsoft.com/office/drawing/2014/main" id="{4EE09B8A-DF9D-4DD2-9081-1BAC3F8E9CCC}"/>
              </a:ext>
            </a:extLst>
          </p:cNvPr>
          <p:cNvGrpSpPr/>
          <p:nvPr/>
        </p:nvGrpSpPr>
        <p:grpSpPr>
          <a:xfrm>
            <a:off x="59436" y="1564327"/>
            <a:ext cx="9025128" cy="2199725"/>
            <a:chOff x="59436" y="1564327"/>
            <a:chExt cx="9025128" cy="2199725"/>
          </a:xfrm>
        </p:grpSpPr>
        <p:sp>
          <p:nvSpPr>
            <p:cNvPr id="17" name="Freeform 1">
              <a:extLst>
                <a:ext uri="{FF2B5EF4-FFF2-40B4-BE49-F238E27FC236}">
                  <a16:creationId xmlns:a16="http://schemas.microsoft.com/office/drawing/2014/main" id="{FE2A2A61-C21E-41E2-92AB-1122D1C91C6B}"/>
                </a:ext>
              </a:extLst>
            </p:cNvPr>
            <p:cNvSpPr>
              <a:spLocks noChangeAspect="1" noChangeArrowheads="1"/>
            </p:cNvSpPr>
            <p:nvPr/>
          </p:nvSpPr>
          <p:spPr bwMode="auto">
            <a:xfrm>
              <a:off x="59436" y="1564327"/>
              <a:ext cx="9025128" cy="2052603"/>
            </a:xfrm>
            <a:custGeom>
              <a:avLst/>
              <a:gdLst>
                <a:gd name="T0" fmla="*/ 2258 w 20031"/>
                <a:gd name="T1" fmla="*/ 2040 h 4557"/>
                <a:gd name="T2" fmla="*/ 883 w 20031"/>
                <a:gd name="T3" fmla="*/ 3611 h 4557"/>
                <a:gd name="T4" fmla="*/ 694 w 20031"/>
                <a:gd name="T5" fmla="*/ 2479 h 4557"/>
                <a:gd name="T6" fmla="*/ 697 w 20031"/>
                <a:gd name="T7" fmla="*/ 3236 h 4557"/>
                <a:gd name="T8" fmla="*/ 508 w 20031"/>
                <a:gd name="T9" fmla="*/ 3047 h 4557"/>
                <a:gd name="T10" fmla="*/ 697 w 20031"/>
                <a:gd name="T11" fmla="*/ 691 h 4557"/>
                <a:gd name="T12" fmla="*/ 0 w 20031"/>
                <a:gd name="T13" fmla="*/ 189 h 4557"/>
                <a:gd name="T14" fmla="*/ 189 w 20031"/>
                <a:gd name="T15" fmla="*/ 2046 h 4557"/>
                <a:gd name="T16" fmla="*/ 378 w 20031"/>
                <a:gd name="T17" fmla="*/ 2235 h 4557"/>
                <a:gd name="T18" fmla="*/ 1230 w 20031"/>
                <a:gd name="T19" fmla="*/ 0 h 4557"/>
                <a:gd name="T20" fmla="*/ 1420 w 20031"/>
                <a:gd name="T21" fmla="*/ 2235 h 4557"/>
                <a:gd name="T22" fmla="*/ 1422 w 20031"/>
                <a:gd name="T23" fmla="*/ 3738 h 4557"/>
                <a:gd name="T24" fmla="*/ 1233 w 20031"/>
                <a:gd name="T25" fmla="*/ 1851 h 4557"/>
                <a:gd name="T26" fmla="*/ 1044 w 20031"/>
                <a:gd name="T27" fmla="*/ 1662 h 4557"/>
                <a:gd name="T28" fmla="*/ 1738 w 20031"/>
                <a:gd name="T29" fmla="*/ 1346 h 4557"/>
                <a:gd name="T30" fmla="*/ 1927 w 20031"/>
                <a:gd name="T31" fmla="*/ 4367 h 4557"/>
                <a:gd name="T32" fmla="*/ 1741 w 20031"/>
                <a:gd name="T33" fmla="*/ 3236 h 4557"/>
                <a:gd name="T34" fmla="*/ 1741 w 20031"/>
                <a:gd name="T35" fmla="*/ 3236 h 4557"/>
                <a:gd name="T36" fmla="*/ 2768 w 20031"/>
                <a:gd name="T37" fmla="*/ 1346 h 4557"/>
                <a:gd name="T38" fmla="*/ 2771 w 20031"/>
                <a:gd name="T39" fmla="*/ 2730 h 4557"/>
                <a:gd name="T40" fmla="*/ 3291 w 20031"/>
                <a:gd name="T41" fmla="*/ 3179 h 4557"/>
                <a:gd name="T42" fmla="*/ 3291 w 20031"/>
                <a:gd name="T43" fmla="*/ 3927 h 4557"/>
                <a:gd name="T44" fmla="*/ 3101 w 20031"/>
                <a:gd name="T45" fmla="*/ 3738 h 4557"/>
                <a:gd name="T46" fmla="*/ 3291 w 20031"/>
                <a:gd name="T47" fmla="*/ 1346 h 4557"/>
                <a:gd name="T48" fmla="*/ 4007 w 20031"/>
                <a:gd name="T49" fmla="*/ 2290 h 4557"/>
                <a:gd name="T50" fmla="*/ 3818 w 20031"/>
                <a:gd name="T51" fmla="*/ 3236 h 4557"/>
                <a:gd name="T52" fmla="*/ 3818 w 20031"/>
                <a:gd name="T53" fmla="*/ 3236 h 4557"/>
                <a:gd name="T54" fmla="*/ 3629 w 20031"/>
                <a:gd name="T55" fmla="*/ 880 h 4557"/>
                <a:gd name="T56" fmla="*/ 17961 w 20031"/>
                <a:gd name="T57" fmla="*/ 3732 h 4557"/>
                <a:gd name="T58" fmla="*/ 19336 w 20031"/>
                <a:gd name="T59" fmla="*/ 3419 h 4557"/>
                <a:gd name="T60" fmla="*/ 19525 w 20031"/>
                <a:gd name="T61" fmla="*/ 1535 h 4557"/>
                <a:gd name="T62" fmla="*/ 19525 w 20031"/>
                <a:gd name="T63" fmla="*/ 2290 h 4557"/>
                <a:gd name="T64" fmla="*/ 19147 w 20031"/>
                <a:gd name="T65" fmla="*/ 3044 h 4557"/>
                <a:gd name="T66" fmla="*/ 19336 w 20031"/>
                <a:gd name="T67" fmla="*/ 691 h 4557"/>
                <a:gd name="T68" fmla="*/ 19841 w 20031"/>
                <a:gd name="T69" fmla="*/ 1882 h 4557"/>
                <a:gd name="T70" fmla="*/ 19652 w 20031"/>
                <a:gd name="T71" fmla="*/ 1693 h 4557"/>
                <a:gd name="T72" fmla="*/ 19841 w 20031"/>
                <a:gd name="T73" fmla="*/ 2046 h 4557"/>
                <a:gd name="T74" fmla="*/ 18610 w 20031"/>
                <a:gd name="T75" fmla="*/ 945 h 4557"/>
                <a:gd name="T76" fmla="*/ 18800 w 20031"/>
                <a:gd name="T77" fmla="*/ 2046 h 4557"/>
                <a:gd name="T78" fmla="*/ 18989 w 20031"/>
                <a:gd name="T79" fmla="*/ 3735 h 4557"/>
                <a:gd name="T80" fmla="*/ 18800 w 20031"/>
                <a:gd name="T81" fmla="*/ 3924 h 4557"/>
                <a:gd name="T82" fmla="*/ 18610 w 20031"/>
                <a:gd name="T83" fmla="*/ 1662 h 4557"/>
                <a:gd name="T84" fmla="*/ 18103 w 20031"/>
                <a:gd name="T85" fmla="*/ 1535 h 4557"/>
                <a:gd name="T86" fmla="*/ 18292 w 20031"/>
                <a:gd name="T87" fmla="*/ 3419 h 4557"/>
                <a:gd name="T88" fmla="*/ 18481 w 20031"/>
                <a:gd name="T89" fmla="*/ 3608 h 4557"/>
                <a:gd name="T90" fmla="*/ 18292 w 20031"/>
                <a:gd name="T91" fmla="*/ 3233 h 4557"/>
                <a:gd name="T92" fmla="*/ 17072 w 20031"/>
                <a:gd name="T93" fmla="*/ 2290 h 4557"/>
                <a:gd name="T94" fmla="*/ 17262 w 20031"/>
                <a:gd name="T95" fmla="*/ 2728 h 4557"/>
                <a:gd name="T96" fmla="*/ 16929 w 20031"/>
                <a:gd name="T97" fmla="*/ 2235 h 4557"/>
                <a:gd name="T98" fmla="*/ 16929 w 20031"/>
                <a:gd name="T99" fmla="*/ 2990 h 4557"/>
                <a:gd name="T100" fmla="*/ 16550 w 20031"/>
                <a:gd name="T101" fmla="*/ 3735 h 4557"/>
                <a:gd name="T102" fmla="*/ 16739 w 20031"/>
                <a:gd name="T103" fmla="*/ 1346 h 4557"/>
                <a:gd name="T104" fmla="*/ 16212 w 20031"/>
                <a:gd name="T105" fmla="*/ 1346 h 4557"/>
                <a:gd name="T106" fmla="*/ 16401 w 20031"/>
                <a:gd name="T107" fmla="*/ 1535 h 4557"/>
                <a:gd name="T108" fmla="*/ 16212 w 20031"/>
                <a:gd name="T109" fmla="*/ 3233 h 4557"/>
                <a:gd name="T110" fmla="*/ 16023 w 20031"/>
                <a:gd name="T111" fmla="*/ 880 h 4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31" h="4557">
                  <a:moveTo>
                    <a:pt x="2447" y="3732"/>
                  </a:moveTo>
                  <a:cubicBezTo>
                    <a:pt x="2447" y="3837"/>
                    <a:pt x="2362" y="3921"/>
                    <a:pt x="2258" y="3921"/>
                  </a:cubicBezTo>
                  <a:lnTo>
                    <a:pt x="2258" y="3921"/>
                  </a:lnTo>
                  <a:cubicBezTo>
                    <a:pt x="2153" y="3921"/>
                    <a:pt x="2069" y="3837"/>
                    <a:pt x="2069" y="3732"/>
                  </a:cubicBezTo>
                  <a:lnTo>
                    <a:pt x="2069" y="2229"/>
                  </a:lnTo>
                  <a:cubicBezTo>
                    <a:pt x="2069" y="2125"/>
                    <a:pt x="2153" y="2040"/>
                    <a:pt x="2258" y="2040"/>
                  </a:cubicBezTo>
                  <a:lnTo>
                    <a:pt x="2258" y="2040"/>
                  </a:lnTo>
                  <a:cubicBezTo>
                    <a:pt x="2362" y="2040"/>
                    <a:pt x="2447" y="2125"/>
                    <a:pt x="2447" y="2229"/>
                  </a:cubicBezTo>
                  <a:lnTo>
                    <a:pt x="2447" y="3732"/>
                  </a:lnTo>
                  <a:close/>
                  <a:moveTo>
                    <a:pt x="505" y="4367"/>
                  </a:moveTo>
                  <a:cubicBezTo>
                    <a:pt x="505" y="4472"/>
                    <a:pt x="590" y="4556"/>
                    <a:pt x="694" y="4556"/>
                  </a:cubicBezTo>
                  <a:lnTo>
                    <a:pt x="694" y="4556"/>
                  </a:lnTo>
                  <a:cubicBezTo>
                    <a:pt x="799" y="4556"/>
                    <a:pt x="883" y="4472"/>
                    <a:pt x="883" y="4367"/>
                  </a:cubicBezTo>
                  <a:lnTo>
                    <a:pt x="883" y="3611"/>
                  </a:lnTo>
                  <a:cubicBezTo>
                    <a:pt x="883" y="3507"/>
                    <a:pt x="799" y="3422"/>
                    <a:pt x="694" y="3422"/>
                  </a:cubicBezTo>
                  <a:lnTo>
                    <a:pt x="694" y="3422"/>
                  </a:lnTo>
                  <a:cubicBezTo>
                    <a:pt x="590" y="3422"/>
                    <a:pt x="505" y="3507"/>
                    <a:pt x="505" y="3611"/>
                  </a:cubicBezTo>
                  <a:lnTo>
                    <a:pt x="505" y="4367"/>
                  </a:lnTo>
                  <a:close/>
                  <a:moveTo>
                    <a:pt x="505" y="2290"/>
                  </a:moveTo>
                  <a:cubicBezTo>
                    <a:pt x="505" y="2395"/>
                    <a:pt x="590" y="2479"/>
                    <a:pt x="694" y="2479"/>
                  </a:cubicBezTo>
                  <a:lnTo>
                    <a:pt x="694" y="2479"/>
                  </a:lnTo>
                  <a:cubicBezTo>
                    <a:pt x="799" y="2479"/>
                    <a:pt x="883" y="2395"/>
                    <a:pt x="883" y="2290"/>
                  </a:cubicBezTo>
                  <a:lnTo>
                    <a:pt x="883" y="1535"/>
                  </a:lnTo>
                  <a:cubicBezTo>
                    <a:pt x="883" y="1430"/>
                    <a:pt x="799" y="1346"/>
                    <a:pt x="694" y="1346"/>
                  </a:cubicBezTo>
                  <a:lnTo>
                    <a:pt x="694" y="1346"/>
                  </a:lnTo>
                  <a:cubicBezTo>
                    <a:pt x="590" y="1346"/>
                    <a:pt x="505" y="1430"/>
                    <a:pt x="505" y="1535"/>
                  </a:cubicBezTo>
                  <a:lnTo>
                    <a:pt x="505" y="2290"/>
                  </a:lnTo>
                  <a:close/>
                  <a:moveTo>
                    <a:pt x="697" y="3236"/>
                  </a:moveTo>
                  <a:lnTo>
                    <a:pt x="697" y="3236"/>
                  </a:lnTo>
                  <a:cubicBezTo>
                    <a:pt x="801" y="3236"/>
                    <a:pt x="886" y="3151"/>
                    <a:pt x="886" y="3047"/>
                  </a:cubicBezTo>
                  <a:lnTo>
                    <a:pt x="886" y="2920"/>
                  </a:lnTo>
                  <a:cubicBezTo>
                    <a:pt x="886" y="2815"/>
                    <a:pt x="801" y="2730"/>
                    <a:pt x="697" y="2730"/>
                  </a:cubicBezTo>
                  <a:lnTo>
                    <a:pt x="697" y="2730"/>
                  </a:lnTo>
                  <a:cubicBezTo>
                    <a:pt x="593" y="2730"/>
                    <a:pt x="508" y="2815"/>
                    <a:pt x="508" y="2920"/>
                  </a:cubicBezTo>
                  <a:lnTo>
                    <a:pt x="508" y="3047"/>
                  </a:lnTo>
                  <a:cubicBezTo>
                    <a:pt x="505" y="3148"/>
                    <a:pt x="590" y="3236"/>
                    <a:pt x="697" y="3236"/>
                  </a:cubicBezTo>
                  <a:close/>
                  <a:moveTo>
                    <a:pt x="697" y="1196"/>
                  </a:moveTo>
                  <a:lnTo>
                    <a:pt x="697" y="1196"/>
                  </a:lnTo>
                  <a:cubicBezTo>
                    <a:pt x="801" y="1196"/>
                    <a:pt x="886" y="1112"/>
                    <a:pt x="886" y="1007"/>
                  </a:cubicBezTo>
                  <a:lnTo>
                    <a:pt x="886" y="880"/>
                  </a:lnTo>
                  <a:cubicBezTo>
                    <a:pt x="886" y="776"/>
                    <a:pt x="801" y="691"/>
                    <a:pt x="697" y="691"/>
                  </a:cubicBezTo>
                  <a:lnTo>
                    <a:pt x="697" y="691"/>
                  </a:lnTo>
                  <a:cubicBezTo>
                    <a:pt x="593" y="691"/>
                    <a:pt x="508" y="776"/>
                    <a:pt x="508" y="880"/>
                  </a:cubicBezTo>
                  <a:lnTo>
                    <a:pt x="508" y="1007"/>
                  </a:lnTo>
                  <a:cubicBezTo>
                    <a:pt x="505" y="1112"/>
                    <a:pt x="590" y="1196"/>
                    <a:pt x="697" y="1196"/>
                  </a:cubicBezTo>
                  <a:close/>
                  <a:moveTo>
                    <a:pt x="378" y="189"/>
                  </a:moveTo>
                  <a:cubicBezTo>
                    <a:pt x="378" y="84"/>
                    <a:pt x="294" y="0"/>
                    <a:pt x="189" y="0"/>
                  </a:cubicBezTo>
                  <a:lnTo>
                    <a:pt x="189" y="0"/>
                  </a:lnTo>
                  <a:cubicBezTo>
                    <a:pt x="85" y="0"/>
                    <a:pt x="0" y="84"/>
                    <a:pt x="0" y="189"/>
                  </a:cubicBezTo>
                  <a:lnTo>
                    <a:pt x="0" y="1693"/>
                  </a:lnTo>
                  <a:cubicBezTo>
                    <a:pt x="0" y="1797"/>
                    <a:pt x="85" y="1882"/>
                    <a:pt x="189" y="1882"/>
                  </a:cubicBezTo>
                  <a:lnTo>
                    <a:pt x="189" y="1882"/>
                  </a:lnTo>
                  <a:cubicBezTo>
                    <a:pt x="294" y="1882"/>
                    <a:pt x="378" y="1797"/>
                    <a:pt x="378" y="1693"/>
                  </a:cubicBezTo>
                  <a:lnTo>
                    <a:pt x="378" y="189"/>
                  </a:lnTo>
                  <a:close/>
                  <a:moveTo>
                    <a:pt x="378" y="2235"/>
                  </a:moveTo>
                  <a:cubicBezTo>
                    <a:pt x="378" y="2130"/>
                    <a:pt x="294" y="2046"/>
                    <a:pt x="189" y="2046"/>
                  </a:cubicBezTo>
                  <a:lnTo>
                    <a:pt x="189" y="2046"/>
                  </a:lnTo>
                  <a:cubicBezTo>
                    <a:pt x="85" y="2046"/>
                    <a:pt x="0" y="2130"/>
                    <a:pt x="0" y="2235"/>
                  </a:cubicBezTo>
                  <a:lnTo>
                    <a:pt x="0" y="3738"/>
                  </a:lnTo>
                  <a:cubicBezTo>
                    <a:pt x="0" y="3842"/>
                    <a:pt x="85" y="3927"/>
                    <a:pt x="189" y="3927"/>
                  </a:cubicBezTo>
                  <a:lnTo>
                    <a:pt x="189" y="3927"/>
                  </a:lnTo>
                  <a:cubicBezTo>
                    <a:pt x="294" y="3927"/>
                    <a:pt x="378" y="3842"/>
                    <a:pt x="378" y="3738"/>
                  </a:cubicBezTo>
                  <a:lnTo>
                    <a:pt x="378" y="2235"/>
                  </a:lnTo>
                  <a:close/>
                  <a:moveTo>
                    <a:pt x="1041" y="945"/>
                  </a:moveTo>
                  <a:cubicBezTo>
                    <a:pt x="1041" y="1049"/>
                    <a:pt x="1126" y="1134"/>
                    <a:pt x="1230" y="1134"/>
                  </a:cubicBezTo>
                  <a:lnTo>
                    <a:pt x="1230" y="1134"/>
                  </a:lnTo>
                  <a:cubicBezTo>
                    <a:pt x="1335" y="1134"/>
                    <a:pt x="1420" y="1049"/>
                    <a:pt x="1420" y="945"/>
                  </a:cubicBezTo>
                  <a:lnTo>
                    <a:pt x="1420" y="189"/>
                  </a:lnTo>
                  <a:cubicBezTo>
                    <a:pt x="1420" y="84"/>
                    <a:pt x="1335" y="0"/>
                    <a:pt x="1230" y="0"/>
                  </a:cubicBezTo>
                  <a:lnTo>
                    <a:pt x="1230" y="0"/>
                  </a:lnTo>
                  <a:cubicBezTo>
                    <a:pt x="1126" y="0"/>
                    <a:pt x="1041" y="84"/>
                    <a:pt x="1041" y="189"/>
                  </a:cubicBezTo>
                  <a:lnTo>
                    <a:pt x="1041" y="945"/>
                  </a:lnTo>
                  <a:close/>
                  <a:moveTo>
                    <a:pt x="1041" y="2990"/>
                  </a:moveTo>
                  <a:cubicBezTo>
                    <a:pt x="1041" y="3094"/>
                    <a:pt x="1126" y="3179"/>
                    <a:pt x="1230" y="3179"/>
                  </a:cubicBezTo>
                  <a:lnTo>
                    <a:pt x="1230" y="3179"/>
                  </a:lnTo>
                  <a:cubicBezTo>
                    <a:pt x="1335" y="3179"/>
                    <a:pt x="1420" y="3094"/>
                    <a:pt x="1420" y="2990"/>
                  </a:cubicBezTo>
                  <a:lnTo>
                    <a:pt x="1420" y="2235"/>
                  </a:lnTo>
                  <a:cubicBezTo>
                    <a:pt x="1420" y="2130"/>
                    <a:pt x="1335" y="2046"/>
                    <a:pt x="1230" y="2046"/>
                  </a:cubicBezTo>
                  <a:lnTo>
                    <a:pt x="1230" y="2046"/>
                  </a:lnTo>
                  <a:cubicBezTo>
                    <a:pt x="1126" y="2046"/>
                    <a:pt x="1041" y="2130"/>
                    <a:pt x="1041" y="2235"/>
                  </a:cubicBezTo>
                  <a:lnTo>
                    <a:pt x="1041" y="2990"/>
                  </a:lnTo>
                  <a:close/>
                  <a:moveTo>
                    <a:pt x="1233" y="3927"/>
                  </a:moveTo>
                  <a:lnTo>
                    <a:pt x="1233" y="3927"/>
                  </a:lnTo>
                  <a:cubicBezTo>
                    <a:pt x="1338" y="3927"/>
                    <a:pt x="1422" y="3842"/>
                    <a:pt x="1422" y="3738"/>
                  </a:cubicBezTo>
                  <a:lnTo>
                    <a:pt x="1422" y="3611"/>
                  </a:lnTo>
                  <a:cubicBezTo>
                    <a:pt x="1422" y="3507"/>
                    <a:pt x="1338" y="3422"/>
                    <a:pt x="1233" y="3422"/>
                  </a:cubicBezTo>
                  <a:lnTo>
                    <a:pt x="1233" y="3422"/>
                  </a:lnTo>
                  <a:cubicBezTo>
                    <a:pt x="1129" y="3422"/>
                    <a:pt x="1044" y="3507"/>
                    <a:pt x="1044" y="3611"/>
                  </a:cubicBezTo>
                  <a:lnTo>
                    <a:pt x="1044" y="3738"/>
                  </a:lnTo>
                  <a:cubicBezTo>
                    <a:pt x="1041" y="3840"/>
                    <a:pt x="1126" y="3927"/>
                    <a:pt x="1233" y="3927"/>
                  </a:cubicBezTo>
                  <a:close/>
                  <a:moveTo>
                    <a:pt x="1233" y="1851"/>
                  </a:moveTo>
                  <a:lnTo>
                    <a:pt x="1233" y="1851"/>
                  </a:lnTo>
                  <a:cubicBezTo>
                    <a:pt x="1338" y="1851"/>
                    <a:pt x="1422" y="1766"/>
                    <a:pt x="1422" y="1662"/>
                  </a:cubicBezTo>
                  <a:lnTo>
                    <a:pt x="1422" y="1535"/>
                  </a:lnTo>
                  <a:cubicBezTo>
                    <a:pt x="1422" y="1430"/>
                    <a:pt x="1338" y="1346"/>
                    <a:pt x="1233" y="1346"/>
                  </a:cubicBezTo>
                  <a:lnTo>
                    <a:pt x="1233" y="1346"/>
                  </a:lnTo>
                  <a:cubicBezTo>
                    <a:pt x="1129" y="1346"/>
                    <a:pt x="1044" y="1430"/>
                    <a:pt x="1044" y="1535"/>
                  </a:cubicBezTo>
                  <a:lnTo>
                    <a:pt x="1044" y="1662"/>
                  </a:lnTo>
                  <a:cubicBezTo>
                    <a:pt x="1041" y="1766"/>
                    <a:pt x="1126" y="1851"/>
                    <a:pt x="1233" y="1851"/>
                  </a:cubicBezTo>
                  <a:close/>
                  <a:moveTo>
                    <a:pt x="1549" y="2290"/>
                  </a:moveTo>
                  <a:cubicBezTo>
                    <a:pt x="1549" y="2395"/>
                    <a:pt x="1634" y="2479"/>
                    <a:pt x="1738" y="2479"/>
                  </a:cubicBezTo>
                  <a:lnTo>
                    <a:pt x="1738" y="2479"/>
                  </a:lnTo>
                  <a:cubicBezTo>
                    <a:pt x="1843" y="2479"/>
                    <a:pt x="1927" y="2395"/>
                    <a:pt x="1927" y="2290"/>
                  </a:cubicBezTo>
                  <a:lnTo>
                    <a:pt x="1927" y="1535"/>
                  </a:lnTo>
                  <a:cubicBezTo>
                    <a:pt x="1927" y="1430"/>
                    <a:pt x="1843" y="1346"/>
                    <a:pt x="1738" y="1346"/>
                  </a:cubicBezTo>
                  <a:lnTo>
                    <a:pt x="1738" y="1346"/>
                  </a:lnTo>
                  <a:cubicBezTo>
                    <a:pt x="1634" y="1346"/>
                    <a:pt x="1549" y="1430"/>
                    <a:pt x="1549" y="1535"/>
                  </a:cubicBezTo>
                  <a:lnTo>
                    <a:pt x="1549" y="2290"/>
                  </a:lnTo>
                  <a:close/>
                  <a:moveTo>
                    <a:pt x="1549" y="4367"/>
                  </a:moveTo>
                  <a:cubicBezTo>
                    <a:pt x="1549" y="4472"/>
                    <a:pt x="1634" y="4556"/>
                    <a:pt x="1738" y="4556"/>
                  </a:cubicBezTo>
                  <a:lnTo>
                    <a:pt x="1738" y="4556"/>
                  </a:lnTo>
                  <a:cubicBezTo>
                    <a:pt x="1843" y="4556"/>
                    <a:pt x="1927" y="4472"/>
                    <a:pt x="1927" y="4367"/>
                  </a:cubicBezTo>
                  <a:lnTo>
                    <a:pt x="1927" y="3611"/>
                  </a:lnTo>
                  <a:cubicBezTo>
                    <a:pt x="1927" y="3507"/>
                    <a:pt x="1843" y="3422"/>
                    <a:pt x="1738" y="3422"/>
                  </a:cubicBezTo>
                  <a:lnTo>
                    <a:pt x="1738" y="3422"/>
                  </a:lnTo>
                  <a:cubicBezTo>
                    <a:pt x="1634" y="3422"/>
                    <a:pt x="1549" y="3507"/>
                    <a:pt x="1549" y="3611"/>
                  </a:cubicBezTo>
                  <a:lnTo>
                    <a:pt x="1549" y="4367"/>
                  </a:lnTo>
                  <a:close/>
                  <a:moveTo>
                    <a:pt x="1741" y="3236"/>
                  </a:moveTo>
                  <a:lnTo>
                    <a:pt x="1741" y="3236"/>
                  </a:lnTo>
                  <a:cubicBezTo>
                    <a:pt x="1846" y="3236"/>
                    <a:pt x="1930" y="3151"/>
                    <a:pt x="1930" y="3047"/>
                  </a:cubicBezTo>
                  <a:lnTo>
                    <a:pt x="1930" y="2920"/>
                  </a:lnTo>
                  <a:cubicBezTo>
                    <a:pt x="1930" y="2815"/>
                    <a:pt x="1846" y="2730"/>
                    <a:pt x="1741" y="2730"/>
                  </a:cubicBezTo>
                  <a:lnTo>
                    <a:pt x="1741" y="2730"/>
                  </a:lnTo>
                  <a:cubicBezTo>
                    <a:pt x="1637" y="2730"/>
                    <a:pt x="1552" y="2815"/>
                    <a:pt x="1552" y="2920"/>
                  </a:cubicBezTo>
                  <a:lnTo>
                    <a:pt x="1552" y="3047"/>
                  </a:lnTo>
                  <a:cubicBezTo>
                    <a:pt x="1549" y="3148"/>
                    <a:pt x="1634" y="3236"/>
                    <a:pt x="1741" y="3236"/>
                  </a:cubicBezTo>
                  <a:close/>
                  <a:moveTo>
                    <a:pt x="2579" y="2290"/>
                  </a:moveTo>
                  <a:cubicBezTo>
                    <a:pt x="2579" y="2395"/>
                    <a:pt x="2664" y="2479"/>
                    <a:pt x="2768" y="2479"/>
                  </a:cubicBezTo>
                  <a:lnTo>
                    <a:pt x="2768" y="2479"/>
                  </a:lnTo>
                  <a:cubicBezTo>
                    <a:pt x="2873" y="2479"/>
                    <a:pt x="2958" y="2395"/>
                    <a:pt x="2958" y="2290"/>
                  </a:cubicBezTo>
                  <a:lnTo>
                    <a:pt x="2958" y="1535"/>
                  </a:lnTo>
                  <a:cubicBezTo>
                    <a:pt x="2958" y="1430"/>
                    <a:pt x="2873" y="1346"/>
                    <a:pt x="2768" y="1346"/>
                  </a:cubicBezTo>
                  <a:lnTo>
                    <a:pt x="2768" y="1346"/>
                  </a:lnTo>
                  <a:cubicBezTo>
                    <a:pt x="2664" y="1346"/>
                    <a:pt x="2579" y="1430"/>
                    <a:pt x="2579" y="1535"/>
                  </a:cubicBezTo>
                  <a:lnTo>
                    <a:pt x="2579" y="2290"/>
                  </a:lnTo>
                  <a:close/>
                  <a:moveTo>
                    <a:pt x="2771" y="3236"/>
                  </a:moveTo>
                  <a:lnTo>
                    <a:pt x="2771" y="3236"/>
                  </a:lnTo>
                  <a:cubicBezTo>
                    <a:pt x="2876" y="3236"/>
                    <a:pt x="2960" y="3151"/>
                    <a:pt x="2960" y="3047"/>
                  </a:cubicBezTo>
                  <a:lnTo>
                    <a:pt x="2960" y="2920"/>
                  </a:lnTo>
                  <a:cubicBezTo>
                    <a:pt x="2960" y="2815"/>
                    <a:pt x="2876" y="2730"/>
                    <a:pt x="2771" y="2730"/>
                  </a:cubicBezTo>
                  <a:lnTo>
                    <a:pt x="2771" y="2730"/>
                  </a:lnTo>
                  <a:cubicBezTo>
                    <a:pt x="2667" y="2730"/>
                    <a:pt x="2582" y="2815"/>
                    <a:pt x="2582" y="2920"/>
                  </a:cubicBezTo>
                  <a:lnTo>
                    <a:pt x="2582" y="3047"/>
                  </a:lnTo>
                  <a:cubicBezTo>
                    <a:pt x="2579" y="3148"/>
                    <a:pt x="2664" y="3236"/>
                    <a:pt x="2771" y="3236"/>
                  </a:cubicBezTo>
                  <a:close/>
                  <a:moveTo>
                    <a:pt x="3101" y="2990"/>
                  </a:moveTo>
                  <a:cubicBezTo>
                    <a:pt x="3101" y="3094"/>
                    <a:pt x="3186" y="3179"/>
                    <a:pt x="3291" y="3179"/>
                  </a:cubicBezTo>
                  <a:lnTo>
                    <a:pt x="3291" y="3179"/>
                  </a:lnTo>
                  <a:cubicBezTo>
                    <a:pt x="3395" y="3179"/>
                    <a:pt x="3480" y="3094"/>
                    <a:pt x="3480" y="2990"/>
                  </a:cubicBezTo>
                  <a:lnTo>
                    <a:pt x="3480" y="2235"/>
                  </a:lnTo>
                  <a:cubicBezTo>
                    <a:pt x="3480" y="2130"/>
                    <a:pt x="3395" y="2046"/>
                    <a:pt x="3291" y="2046"/>
                  </a:cubicBezTo>
                  <a:lnTo>
                    <a:pt x="3291" y="2046"/>
                  </a:lnTo>
                  <a:cubicBezTo>
                    <a:pt x="3186" y="2046"/>
                    <a:pt x="3101" y="2130"/>
                    <a:pt x="3101" y="2235"/>
                  </a:cubicBezTo>
                  <a:lnTo>
                    <a:pt x="3101" y="2990"/>
                  </a:lnTo>
                  <a:close/>
                  <a:moveTo>
                    <a:pt x="3291" y="3927"/>
                  </a:moveTo>
                  <a:lnTo>
                    <a:pt x="3291" y="3927"/>
                  </a:lnTo>
                  <a:cubicBezTo>
                    <a:pt x="3395" y="3927"/>
                    <a:pt x="3480" y="3842"/>
                    <a:pt x="3480" y="3738"/>
                  </a:cubicBezTo>
                  <a:lnTo>
                    <a:pt x="3480" y="3611"/>
                  </a:lnTo>
                  <a:cubicBezTo>
                    <a:pt x="3480" y="3507"/>
                    <a:pt x="3395" y="3422"/>
                    <a:pt x="3291" y="3422"/>
                  </a:cubicBezTo>
                  <a:lnTo>
                    <a:pt x="3291" y="3422"/>
                  </a:lnTo>
                  <a:cubicBezTo>
                    <a:pt x="3186" y="3422"/>
                    <a:pt x="3101" y="3507"/>
                    <a:pt x="3101" y="3611"/>
                  </a:cubicBezTo>
                  <a:lnTo>
                    <a:pt x="3101" y="3738"/>
                  </a:lnTo>
                  <a:cubicBezTo>
                    <a:pt x="3101" y="3840"/>
                    <a:pt x="3186" y="3927"/>
                    <a:pt x="3291" y="3927"/>
                  </a:cubicBezTo>
                  <a:close/>
                  <a:moveTo>
                    <a:pt x="3291" y="1851"/>
                  </a:moveTo>
                  <a:lnTo>
                    <a:pt x="3291" y="1851"/>
                  </a:lnTo>
                  <a:cubicBezTo>
                    <a:pt x="3395" y="1851"/>
                    <a:pt x="3480" y="1766"/>
                    <a:pt x="3480" y="1662"/>
                  </a:cubicBezTo>
                  <a:lnTo>
                    <a:pt x="3480" y="1535"/>
                  </a:lnTo>
                  <a:cubicBezTo>
                    <a:pt x="3480" y="1430"/>
                    <a:pt x="3395" y="1346"/>
                    <a:pt x="3291" y="1346"/>
                  </a:cubicBezTo>
                  <a:lnTo>
                    <a:pt x="3291" y="1346"/>
                  </a:lnTo>
                  <a:cubicBezTo>
                    <a:pt x="3186" y="1346"/>
                    <a:pt x="3101" y="1430"/>
                    <a:pt x="3101" y="1535"/>
                  </a:cubicBezTo>
                  <a:lnTo>
                    <a:pt x="3101" y="1662"/>
                  </a:lnTo>
                  <a:cubicBezTo>
                    <a:pt x="3101" y="1766"/>
                    <a:pt x="3186" y="1851"/>
                    <a:pt x="3291" y="1851"/>
                  </a:cubicBezTo>
                  <a:close/>
                  <a:moveTo>
                    <a:pt x="3629" y="2290"/>
                  </a:moveTo>
                  <a:cubicBezTo>
                    <a:pt x="3629" y="2395"/>
                    <a:pt x="3714" y="2479"/>
                    <a:pt x="3818" y="2479"/>
                  </a:cubicBezTo>
                  <a:lnTo>
                    <a:pt x="3818" y="2479"/>
                  </a:lnTo>
                  <a:cubicBezTo>
                    <a:pt x="3923" y="2479"/>
                    <a:pt x="4007" y="2395"/>
                    <a:pt x="4007" y="2290"/>
                  </a:cubicBezTo>
                  <a:lnTo>
                    <a:pt x="4007" y="1535"/>
                  </a:lnTo>
                  <a:cubicBezTo>
                    <a:pt x="4007" y="1430"/>
                    <a:pt x="3923" y="1346"/>
                    <a:pt x="3818" y="1346"/>
                  </a:cubicBezTo>
                  <a:lnTo>
                    <a:pt x="3818" y="1346"/>
                  </a:lnTo>
                  <a:cubicBezTo>
                    <a:pt x="3714" y="1346"/>
                    <a:pt x="3629" y="1430"/>
                    <a:pt x="3629" y="1535"/>
                  </a:cubicBezTo>
                  <a:lnTo>
                    <a:pt x="3629" y="2290"/>
                  </a:lnTo>
                  <a:close/>
                  <a:moveTo>
                    <a:pt x="3818" y="3236"/>
                  </a:moveTo>
                  <a:lnTo>
                    <a:pt x="3818" y="3236"/>
                  </a:lnTo>
                  <a:cubicBezTo>
                    <a:pt x="3923" y="3236"/>
                    <a:pt x="4007" y="3151"/>
                    <a:pt x="4007" y="3047"/>
                  </a:cubicBezTo>
                  <a:lnTo>
                    <a:pt x="4007" y="2920"/>
                  </a:lnTo>
                  <a:cubicBezTo>
                    <a:pt x="4007" y="2815"/>
                    <a:pt x="3923" y="2730"/>
                    <a:pt x="3818" y="2730"/>
                  </a:cubicBezTo>
                  <a:lnTo>
                    <a:pt x="3818" y="2730"/>
                  </a:lnTo>
                  <a:cubicBezTo>
                    <a:pt x="3714" y="2730"/>
                    <a:pt x="3629" y="2815"/>
                    <a:pt x="3629" y="2920"/>
                  </a:cubicBezTo>
                  <a:lnTo>
                    <a:pt x="3629" y="3047"/>
                  </a:lnTo>
                  <a:cubicBezTo>
                    <a:pt x="3629" y="3148"/>
                    <a:pt x="3714" y="3236"/>
                    <a:pt x="3818" y="3236"/>
                  </a:cubicBezTo>
                  <a:close/>
                  <a:moveTo>
                    <a:pt x="3818" y="1196"/>
                  </a:moveTo>
                  <a:lnTo>
                    <a:pt x="3818" y="1196"/>
                  </a:lnTo>
                  <a:cubicBezTo>
                    <a:pt x="3923" y="1196"/>
                    <a:pt x="4007" y="1112"/>
                    <a:pt x="4007" y="1007"/>
                  </a:cubicBezTo>
                  <a:lnTo>
                    <a:pt x="4007" y="880"/>
                  </a:lnTo>
                  <a:cubicBezTo>
                    <a:pt x="4007" y="776"/>
                    <a:pt x="3923" y="691"/>
                    <a:pt x="3818" y="691"/>
                  </a:cubicBezTo>
                  <a:lnTo>
                    <a:pt x="3818" y="691"/>
                  </a:lnTo>
                  <a:cubicBezTo>
                    <a:pt x="3714" y="691"/>
                    <a:pt x="3629" y="776"/>
                    <a:pt x="3629" y="880"/>
                  </a:cubicBezTo>
                  <a:lnTo>
                    <a:pt x="3629" y="1007"/>
                  </a:lnTo>
                  <a:cubicBezTo>
                    <a:pt x="3629" y="1112"/>
                    <a:pt x="3714" y="1196"/>
                    <a:pt x="3818" y="1196"/>
                  </a:cubicBezTo>
                  <a:close/>
                  <a:moveTo>
                    <a:pt x="17583" y="2229"/>
                  </a:moveTo>
                  <a:cubicBezTo>
                    <a:pt x="17583" y="2125"/>
                    <a:pt x="17668" y="2040"/>
                    <a:pt x="17772" y="2040"/>
                  </a:cubicBezTo>
                  <a:lnTo>
                    <a:pt x="17772" y="2040"/>
                  </a:lnTo>
                  <a:cubicBezTo>
                    <a:pt x="17877" y="2040"/>
                    <a:pt x="17961" y="2125"/>
                    <a:pt x="17961" y="2229"/>
                  </a:cubicBezTo>
                  <a:lnTo>
                    <a:pt x="17961" y="3732"/>
                  </a:lnTo>
                  <a:cubicBezTo>
                    <a:pt x="17961" y="3837"/>
                    <a:pt x="17877" y="3921"/>
                    <a:pt x="17772" y="3921"/>
                  </a:cubicBezTo>
                  <a:lnTo>
                    <a:pt x="17772" y="3921"/>
                  </a:lnTo>
                  <a:cubicBezTo>
                    <a:pt x="17668" y="3921"/>
                    <a:pt x="17583" y="3837"/>
                    <a:pt x="17583" y="3732"/>
                  </a:cubicBezTo>
                  <a:lnTo>
                    <a:pt x="17583" y="2229"/>
                  </a:lnTo>
                  <a:close/>
                  <a:moveTo>
                    <a:pt x="19525" y="3608"/>
                  </a:moveTo>
                  <a:cubicBezTo>
                    <a:pt x="19525" y="3504"/>
                    <a:pt x="19440" y="3419"/>
                    <a:pt x="19336" y="3419"/>
                  </a:cubicBezTo>
                  <a:lnTo>
                    <a:pt x="19336" y="3419"/>
                  </a:lnTo>
                  <a:cubicBezTo>
                    <a:pt x="19231" y="3419"/>
                    <a:pt x="19147" y="3504"/>
                    <a:pt x="19147" y="3608"/>
                  </a:cubicBezTo>
                  <a:lnTo>
                    <a:pt x="19147" y="4364"/>
                  </a:lnTo>
                  <a:cubicBezTo>
                    <a:pt x="19147" y="4469"/>
                    <a:pt x="19231" y="4554"/>
                    <a:pt x="19336" y="4554"/>
                  </a:cubicBezTo>
                  <a:lnTo>
                    <a:pt x="19336" y="4554"/>
                  </a:lnTo>
                  <a:cubicBezTo>
                    <a:pt x="19440" y="4554"/>
                    <a:pt x="19525" y="4469"/>
                    <a:pt x="19525" y="4364"/>
                  </a:cubicBezTo>
                  <a:lnTo>
                    <a:pt x="19525" y="3608"/>
                  </a:lnTo>
                  <a:close/>
                  <a:moveTo>
                    <a:pt x="19525" y="1535"/>
                  </a:moveTo>
                  <a:cubicBezTo>
                    <a:pt x="19525" y="1430"/>
                    <a:pt x="19440" y="1346"/>
                    <a:pt x="19336" y="1346"/>
                  </a:cubicBezTo>
                  <a:lnTo>
                    <a:pt x="19336" y="1346"/>
                  </a:lnTo>
                  <a:cubicBezTo>
                    <a:pt x="19231" y="1346"/>
                    <a:pt x="19147" y="1430"/>
                    <a:pt x="19147" y="1535"/>
                  </a:cubicBezTo>
                  <a:lnTo>
                    <a:pt x="19147" y="2290"/>
                  </a:lnTo>
                  <a:cubicBezTo>
                    <a:pt x="19147" y="2395"/>
                    <a:pt x="19231" y="2479"/>
                    <a:pt x="19336" y="2479"/>
                  </a:cubicBezTo>
                  <a:lnTo>
                    <a:pt x="19336" y="2479"/>
                  </a:lnTo>
                  <a:cubicBezTo>
                    <a:pt x="19440" y="2479"/>
                    <a:pt x="19525" y="2395"/>
                    <a:pt x="19525" y="2290"/>
                  </a:cubicBezTo>
                  <a:lnTo>
                    <a:pt x="19525" y="1535"/>
                  </a:lnTo>
                  <a:close/>
                  <a:moveTo>
                    <a:pt x="19525" y="3044"/>
                  </a:moveTo>
                  <a:lnTo>
                    <a:pt x="19525" y="2917"/>
                  </a:lnTo>
                  <a:cubicBezTo>
                    <a:pt x="19525" y="2812"/>
                    <a:pt x="19440" y="2728"/>
                    <a:pt x="19336" y="2728"/>
                  </a:cubicBezTo>
                  <a:lnTo>
                    <a:pt x="19336" y="2728"/>
                  </a:lnTo>
                  <a:cubicBezTo>
                    <a:pt x="19231" y="2728"/>
                    <a:pt x="19147" y="2812"/>
                    <a:pt x="19147" y="2917"/>
                  </a:cubicBezTo>
                  <a:lnTo>
                    <a:pt x="19147" y="3044"/>
                  </a:lnTo>
                  <a:cubicBezTo>
                    <a:pt x="19147" y="3148"/>
                    <a:pt x="19231" y="3233"/>
                    <a:pt x="19336" y="3233"/>
                  </a:cubicBezTo>
                  <a:lnTo>
                    <a:pt x="19336" y="3233"/>
                  </a:lnTo>
                  <a:cubicBezTo>
                    <a:pt x="19437" y="3236"/>
                    <a:pt x="19525" y="3148"/>
                    <a:pt x="19525" y="3044"/>
                  </a:cubicBezTo>
                  <a:close/>
                  <a:moveTo>
                    <a:pt x="19525" y="1007"/>
                  </a:moveTo>
                  <a:lnTo>
                    <a:pt x="19525" y="880"/>
                  </a:lnTo>
                  <a:cubicBezTo>
                    <a:pt x="19525" y="776"/>
                    <a:pt x="19440" y="691"/>
                    <a:pt x="19336" y="691"/>
                  </a:cubicBezTo>
                  <a:lnTo>
                    <a:pt x="19336" y="691"/>
                  </a:lnTo>
                  <a:cubicBezTo>
                    <a:pt x="19231" y="691"/>
                    <a:pt x="19147" y="776"/>
                    <a:pt x="19147" y="880"/>
                  </a:cubicBezTo>
                  <a:lnTo>
                    <a:pt x="19147" y="1007"/>
                  </a:lnTo>
                  <a:cubicBezTo>
                    <a:pt x="19147" y="1112"/>
                    <a:pt x="19231" y="1196"/>
                    <a:pt x="19336" y="1196"/>
                  </a:cubicBezTo>
                  <a:lnTo>
                    <a:pt x="19336" y="1196"/>
                  </a:lnTo>
                  <a:cubicBezTo>
                    <a:pt x="19437" y="1196"/>
                    <a:pt x="19525" y="1112"/>
                    <a:pt x="19525" y="1007"/>
                  </a:cubicBezTo>
                  <a:close/>
                  <a:moveTo>
                    <a:pt x="19652" y="1693"/>
                  </a:moveTo>
                  <a:cubicBezTo>
                    <a:pt x="19652" y="1797"/>
                    <a:pt x="19736" y="1882"/>
                    <a:pt x="19841" y="1882"/>
                  </a:cubicBezTo>
                  <a:lnTo>
                    <a:pt x="19841" y="1882"/>
                  </a:lnTo>
                  <a:cubicBezTo>
                    <a:pt x="19945" y="1882"/>
                    <a:pt x="20030" y="1797"/>
                    <a:pt x="20030" y="1693"/>
                  </a:cubicBezTo>
                  <a:lnTo>
                    <a:pt x="20030" y="189"/>
                  </a:lnTo>
                  <a:cubicBezTo>
                    <a:pt x="20030" y="84"/>
                    <a:pt x="19945" y="0"/>
                    <a:pt x="19841" y="0"/>
                  </a:cubicBezTo>
                  <a:lnTo>
                    <a:pt x="19841" y="0"/>
                  </a:lnTo>
                  <a:cubicBezTo>
                    <a:pt x="19736" y="0"/>
                    <a:pt x="19652" y="84"/>
                    <a:pt x="19652" y="189"/>
                  </a:cubicBezTo>
                  <a:lnTo>
                    <a:pt x="19652" y="1693"/>
                  </a:lnTo>
                  <a:close/>
                  <a:moveTo>
                    <a:pt x="19652" y="3738"/>
                  </a:moveTo>
                  <a:cubicBezTo>
                    <a:pt x="19652" y="3842"/>
                    <a:pt x="19736" y="3927"/>
                    <a:pt x="19841" y="3927"/>
                  </a:cubicBezTo>
                  <a:lnTo>
                    <a:pt x="19841" y="3927"/>
                  </a:lnTo>
                  <a:cubicBezTo>
                    <a:pt x="19945" y="3927"/>
                    <a:pt x="20030" y="3842"/>
                    <a:pt x="20030" y="3738"/>
                  </a:cubicBezTo>
                  <a:lnTo>
                    <a:pt x="20030" y="2235"/>
                  </a:lnTo>
                  <a:cubicBezTo>
                    <a:pt x="20030" y="2130"/>
                    <a:pt x="19945" y="2046"/>
                    <a:pt x="19841" y="2046"/>
                  </a:cubicBezTo>
                  <a:lnTo>
                    <a:pt x="19841" y="2046"/>
                  </a:lnTo>
                  <a:cubicBezTo>
                    <a:pt x="19736" y="2046"/>
                    <a:pt x="19652" y="2130"/>
                    <a:pt x="19652" y="2235"/>
                  </a:cubicBezTo>
                  <a:lnTo>
                    <a:pt x="19652" y="3738"/>
                  </a:lnTo>
                  <a:close/>
                  <a:moveTo>
                    <a:pt x="18989" y="189"/>
                  </a:moveTo>
                  <a:cubicBezTo>
                    <a:pt x="18989" y="84"/>
                    <a:pt x="18904" y="0"/>
                    <a:pt x="18800" y="0"/>
                  </a:cubicBezTo>
                  <a:lnTo>
                    <a:pt x="18800" y="0"/>
                  </a:lnTo>
                  <a:cubicBezTo>
                    <a:pt x="18695" y="0"/>
                    <a:pt x="18610" y="84"/>
                    <a:pt x="18610" y="189"/>
                  </a:cubicBezTo>
                  <a:lnTo>
                    <a:pt x="18610" y="945"/>
                  </a:lnTo>
                  <a:cubicBezTo>
                    <a:pt x="18610" y="1049"/>
                    <a:pt x="18695" y="1134"/>
                    <a:pt x="18800" y="1134"/>
                  </a:cubicBezTo>
                  <a:lnTo>
                    <a:pt x="18800" y="1134"/>
                  </a:lnTo>
                  <a:cubicBezTo>
                    <a:pt x="18904" y="1134"/>
                    <a:pt x="18989" y="1049"/>
                    <a:pt x="18989" y="945"/>
                  </a:cubicBezTo>
                  <a:lnTo>
                    <a:pt x="18989" y="189"/>
                  </a:lnTo>
                  <a:close/>
                  <a:moveTo>
                    <a:pt x="18989" y="2235"/>
                  </a:moveTo>
                  <a:cubicBezTo>
                    <a:pt x="18989" y="2130"/>
                    <a:pt x="18904" y="2046"/>
                    <a:pt x="18800" y="2046"/>
                  </a:cubicBezTo>
                  <a:lnTo>
                    <a:pt x="18800" y="2046"/>
                  </a:lnTo>
                  <a:cubicBezTo>
                    <a:pt x="18695" y="2046"/>
                    <a:pt x="18610" y="2130"/>
                    <a:pt x="18610" y="2235"/>
                  </a:cubicBezTo>
                  <a:lnTo>
                    <a:pt x="18610" y="2990"/>
                  </a:lnTo>
                  <a:cubicBezTo>
                    <a:pt x="18610" y="3094"/>
                    <a:pt x="18695" y="3179"/>
                    <a:pt x="18800" y="3179"/>
                  </a:cubicBezTo>
                  <a:lnTo>
                    <a:pt x="18800" y="3179"/>
                  </a:lnTo>
                  <a:cubicBezTo>
                    <a:pt x="18904" y="3179"/>
                    <a:pt x="18989" y="3094"/>
                    <a:pt x="18989" y="2990"/>
                  </a:cubicBezTo>
                  <a:lnTo>
                    <a:pt x="18989" y="2235"/>
                  </a:lnTo>
                  <a:close/>
                  <a:moveTo>
                    <a:pt x="18989" y="3735"/>
                  </a:moveTo>
                  <a:lnTo>
                    <a:pt x="18989" y="3608"/>
                  </a:lnTo>
                  <a:cubicBezTo>
                    <a:pt x="18989" y="3504"/>
                    <a:pt x="18904" y="3419"/>
                    <a:pt x="18800" y="3419"/>
                  </a:cubicBezTo>
                  <a:lnTo>
                    <a:pt x="18800" y="3419"/>
                  </a:lnTo>
                  <a:cubicBezTo>
                    <a:pt x="18695" y="3419"/>
                    <a:pt x="18610" y="3504"/>
                    <a:pt x="18610" y="3608"/>
                  </a:cubicBezTo>
                  <a:lnTo>
                    <a:pt x="18610" y="3735"/>
                  </a:lnTo>
                  <a:cubicBezTo>
                    <a:pt x="18610" y="3840"/>
                    <a:pt x="18695" y="3924"/>
                    <a:pt x="18800" y="3924"/>
                  </a:cubicBezTo>
                  <a:lnTo>
                    <a:pt x="18800" y="3924"/>
                  </a:lnTo>
                  <a:cubicBezTo>
                    <a:pt x="18901" y="3927"/>
                    <a:pt x="18989" y="3840"/>
                    <a:pt x="18989" y="3735"/>
                  </a:cubicBezTo>
                  <a:close/>
                  <a:moveTo>
                    <a:pt x="18989" y="1662"/>
                  </a:moveTo>
                  <a:lnTo>
                    <a:pt x="18989" y="1535"/>
                  </a:lnTo>
                  <a:cubicBezTo>
                    <a:pt x="18989" y="1430"/>
                    <a:pt x="18904" y="1346"/>
                    <a:pt x="18800" y="1346"/>
                  </a:cubicBezTo>
                  <a:lnTo>
                    <a:pt x="18800" y="1346"/>
                  </a:lnTo>
                  <a:cubicBezTo>
                    <a:pt x="18695" y="1346"/>
                    <a:pt x="18610" y="1430"/>
                    <a:pt x="18610" y="1535"/>
                  </a:cubicBezTo>
                  <a:lnTo>
                    <a:pt x="18610" y="1662"/>
                  </a:lnTo>
                  <a:cubicBezTo>
                    <a:pt x="18610" y="1766"/>
                    <a:pt x="18695" y="1851"/>
                    <a:pt x="18800" y="1851"/>
                  </a:cubicBezTo>
                  <a:lnTo>
                    <a:pt x="18800" y="1851"/>
                  </a:lnTo>
                  <a:cubicBezTo>
                    <a:pt x="18901" y="1851"/>
                    <a:pt x="18989" y="1766"/>
                    <a:pt x="18989" y="1662"/>
                  </a:cubicBezTo>
                  <a:close/>
                  <a:moveTo>
                    <a:pt x="18481" y="1535"/>
                  </a:moveTo>
                  <a:cubicBezTo>
                    <a:pt x="18481" y="1430"/>
                    <a:pt x="18396" y="1346"/>
                    <a:pt x="18292" y="1346"/>
                  </a:cubicBezTo>
                  <a:lnTo>
                    <a:pt x="18292" y="1346"/>
                  </a:lnTo>
                  <a:cubicBezTo>
                    <a:pt x="18187" y="1346"/>
                    <a:pt x="18103" y="1430"/>
                    <a:pt x="18103" y="1535"/>
                  </a:cubicBezTo>
                  <a:lnTo>
                    <a:pt x="18103" y="2290"/>
                  </a:lnTo>
                  <a:cubicBezTo>
                    <a:pt x="18103" y="2395"/>
                    <a:pt x="18187" y="2479"/>
                    <a:pt x="18292" y="2479"/>
                  </a:cubicBezTo>
                  <a:lnTo>
                    <a:pt x="18292" y="2479"/>
                  </a:lnTo>
                  <a:cubicBezTo>
                    <a:pt x="18396" y="2479"/>
                    <a:pt x="18481" y="2395"/>
                    <a:pt x="18481" y="2290"/>
                  </a:cubicBezTo>
                  <a:lnTo>
                    <a:pt x="18481" y="1535"/>
                  </a:lnTo>
                  <a:close/>
                  <a:moveTo>
                    <a:pt x="18481" y="3608"/>
                  </a:moveTo>
                  <a:cubicBezTo>
                    <a:pt x="18481" y="3504"/>
                    <a:pt x="18396" y="3419"/>
                    <a:pt x="18292" y="3419"/>
                  </a:cubicBezTo>
                  <a:lnTo>
                    <a:pt x="18292" y="3419"/>
                  </a:lnTo>
                  <a:cubicBezTo>
                    <a:pt x="18187" y="3419"/>
                    <a:pt x="18103" y="3504"/>
                    <a:pt x="18103" y="3608"/>
                  </a:cubicBezTo>
                  <a:lnTo>
                    <a:pt x="18103" y="4364"/>
                  </a:lnTo>
                  <a:cubicBezTo>
                    <a:pt x="18103" y="4469"/>
                    <a:pt x="18187" y="4554"/>
                    <a:pt x="18292" y="4554"/>
                  </a:cubicBezTo>
                  <a:lnTo>
                    <a:pt x="18292" y="4554"/>
                  </a:lnTo>
                  <a:cubicBezTo>
                    <a:pt x="18396" y="4554"/>
                    <a:pt x="18481" y="4469"/>
                    <a:pt x="18481" y="4364"/>
                  </a:cubicBezTo>
                  <a:lnTo>
                    <a:pt x="18481" y="3608"/>
                  </a:lnTo>
                  <a:close/>
                  <a:moveTo>
                    <a:pt x="18481" y="3044"/>
                  </a:moveTo>
                  <a:lnTo>
                    <a:pt x="18481" y="2917"/>
                  </a:lnTo>
                  <a:cubicBezTo>
                    <a:pt x="18481" y="2812"/>
                    <a:pt x="18396" y="2728"/>
                    <a:pt x="18292" y="2728"/>
                  </a:cubicBezTo>
                  <a:lnTo>
                    <a:pt x="18292" y="2728"/>
                  </a:lnTo>
                  <a:cubicBezTo>
                    <a:pt x="18187" y="2728"/>
                    <a:pt x="18103" y="2812"/>
                    <a:pt x="18103" y="2917"/>
                  </a:cubicBezTo>
                  <a:lnTo>
                    <a:pt x="18103" y="3044"/>
                  </a:lnTo>
                  <a:cubicBezTo>
                    <a:pt x="18103" y="3148"/>
                    <a:pt x="18187" y="3233"/>
                    <a:pt x="18292" y="3233"/>
                  </a:cubicBezTo>
                  <a:lnTo>
                    <a:pt x="18292" y="3233"/>
                  </a:lnTo>
                  <a:cubicBezTo>
                    <a:pt x="18393" y="3236"/>
                    <a:pt x="18481" y="3148"/>
                    <a:pt x="18481" y="3044"/>
                  </a:cubicBezTo>
                  <a:close/>
                  <a:moveTo>
                    <a:pt x="17451" y="1535"/>
                  </a:moveTo>
                  <a:cubicBezTo>
                    <a:pt x="17451" y="1430"/>
                    <a:pt x="17366" y="1346"/>
                    <a:pt x="17262" y="1346"/>
                  </a:cubicBezTo>
                  <a:lnTo>
                    <a:pt x="17262" y="1346"/>
                  </a:lnTo>
                  <a:cubicBezTo>
                    <a:pt x="17157" y="1346"/>
                    <a:pt x="17072" y="1430"/>
                    <a:pt x="17072" y="1535"/>
                  </a:cubicBezTo>
                  <a:lnTo>
                    <a:pt x="17072" y="2290"/>
                  </a:lnTo>
                  <a:cubicBezTo>
                    <a:pt x="17072" y="2395"/>
                    <a:pt x="17157" y="2479"/>
                    <a:pt x="17262" y="2479"/>
                  </a:cubicBezTo>
                  <a:lnTo>
                    <a:pt x="17262" y="2479"/>
                  </a:lnTo>
                  <a:cubicBezTo>
                    <a:pt x="17366" y="2479"/>
                    <a:pt x="17451" y="2395"/>
                    <a:pt x="17451" y="2290"/>
                  </a:cubicBezTo>
                  <a:lnTo>
                    <a:pt x="17451" y="1535"/>
                  </a:lnTo>
                  <a:close/>
                  <a:moveTo>
                    <a:pt x="17451" y="3044"/>
                  </a:moveTo>
                  <a:lnTo>
                    <a:pt x="17451" y="2917"/>
                  </a:lnTo>
                  <a:cubicBezTo>
                    <a:pt x="17451" y="2812"/>
                    <a:pt x="17366" y="2728"/>
                    <a:pt x="17262" y="2728"/>
                  </a:cubicBezTo>
                  <a:lnTo>
                    <a:pt x="17262" y="2728"/>
                  </a:lnTo>
                  <a:cubicBezTo>
                    <a:pt x="17157" y="2728"/>
                    <a:pt x="17072" y="2812"/>
                    <a:pt x="17072" y="2917"/>
                  </a:cubicBezTo>
                  <a:lnTo>
                    <a:pt x="17072" y="3044"/>
                  </a:lnTo>
                  <a:cubicBezTo>
                    <a:pt x="17072" y="3148"/>
                    <a:pt x="17157" y="3233"/>
                    <a:pt x="17262" y="3233"/>
                  </a:cubicBezTo>
                  <a:lnTo>
                    <a:pt x="17262" y="3233"/>
                  </a:lnTo>
                  <a:cubicBezTo>
                    <a:pt x="17363" y="3236"/>
                    <a:pt x="17451" y="3148"/>
                    <a:pt x="17451" y="3044"/>
                  </a:cubicBezTo>
                  <a:close/>
                  <a:moveTo>
                    <a:pt x="16929" y="2235"/>
                  </a:moveTo>
                  <a:cubicBezTo>
                    <a:pt x="16929" y="2130"/>
                    <a:pt x="16844" y="2046"/>
                    <a:pt x="16739" y="2046"/>
                  </a:cubicBezTo>
                  <a:lnTo>
                    <a:pt x="16739" y="2046"/>
                  </a:lnTo>
                  <a:cubicBezTo>
                    <a:pt x="16635" y="2046"/>
                    <a:pt x="16550" y="2130"/>
                    <a:pt x="16550" y="2235"/>
                  </a:cubicBezTo>
                  <a:lnTo>
                    <a:pt x="16550" y="2990"/>
                  </a:lnTo>
                  <a:cubicBezTo>
                    <a:pt x="16550" y="3094"/>
                    <a:pt x="16635" y="3179"/>
                    <a:pt x="16739" y="3179"/>
                  </a:cubicBezTo>
                  <a:lnTo>
                    <a:pt x="16739" y="3179"/>
                  </a:lnTo>
                  <a:cubicBezTo>
                    <a:pt x="16844" y="3179"/>
                    <a:pt x="16929" y="3094"/>
                    <a:pt x="16929" y="2990"/>
                  </a:cubicBezTo>
                  <a:lnTo>
                    <a:pt x="16929" y="2235"/>
                  </a:lnTo>
                  <a:close/>
                  <a:moveTo>
                    <a:pt x="16929" y="3735"/>
                  </a:moveTo>
                  <a:lnTo>
                    <a:pt x="16929" y="3608"/>
                  </a:lnTo>
                  <a:cubicBezTo>
                    <a:pt x="16929" y="3504"/>
                    <a:pt x="16844" y="3419"/>
                    <a:pt x="16739" y="3419"/>
                  </a:cubicBezTo>
                  <a:lnTo>
                    <a:pt x="16739" y="3419"/>
                  </a:lnTo>
                  <a:cubicBezTo>
                    <a:pt x="16635" y="3419"/>
                    <a:pt x="16550" y="3504"/>
                    <a:pt x="16550" y="3608"/>
                  </a:cubicBezTo>
                  <a:lnTo>
                    <a:pt x="16550" y="3735"/>
                  </a:lnTo>
                  <a:cubicBezTo>
                    <a:pt x="16550" y="3840"/>
                    <a:pt x="16635" y="3924"/>
                    <a:pt x="16739" y="3924"/>
                  </a:cubicBezTo>
                  <a:lnTo>
                    <a:pt x="16739" y="3924"/>
                  </a:lnTo>
                  <a:cubicBezTo>
                    <a:pt x="16844" y="3927"/>
                    <a:pt x="16929" y="3840"/>
                    <a:pt x="16929" y="3735"/>
                  </a:cubicBezTo>
                  <a:close/>
                  <a:moveTo>
                    <a:pt x="16929" y="1662"/>
                  </a:moveTo>
                  <a:lnTo>
                    <a:pt x="16929" y="1535"/>
                  </a:lnTo>
                  <a:cubicBezTo>
                    <a:pt x="16929" y="1430"/>
                    <a:pt x="16844" y="1346"/>
                    <a:pt x="16739" y="1346"/>
                  </a:cubicBezTo>
                  <a:lnTo>
                    <a:pt x="16739" y="1346"/>
                  </a:lnTo>
                  <a:cubicBezTo>
                    <a:pt x="16635" y="1346"/>
                    <a:pt x="16550" y="1430"/>
                    <a:pt x="16550" y="1535"/>
                  </a:cubicBezTo>
                  <a:lnTo>
                    <a:pt x="16550" y="1662"/>
                  </a:lnTo>
                  <a:cubicBezTo>
                    <a:pt x="16550" y="1766"/>
                    <a:pt x="16635" y="1851"/>
                    <a:pt x="16739" y="1851"/>
                  </a:cubicBezTo>
                  <a:lnTo>
                    <a:pt x="16739" y="1851"/>
                  </a:lnTo>
                  <a:cubicBezTo>
                    <a:pt x="16844" y="1851"/>
                    <a:pt x="16929" y="1766"/>
                    <a:pt x="16929" y="1662"/>
                  </a:cubicBezTo>
                  <a:close/>
                  <a:moveTo>
                    <a:pt x="16401" y="1535"/>
                  </a:moveTo>
                  <a:cubicBezTo>
                    <a:pt x="16401" y="1430"/>
                    <a:pt x="16316" y="1346"/>
                    <a:pt x="16212" y="1346"/>
                  </a:cubicBezTo>
                  <a:lnTo>
                    <a:pt x="16212" y="1346"/>
                  </a:lnTo>
                  <a:cubicBezTo>
                    <a:pt x="16107" y="1346"/>
                    <a:pt x="16023" y="1430"/>
                    <a:pt x="16023" y="1535"/>
                  </a:cubicBezTo>
                  <a:lnTo>
                    <a:pt x="16023" y="2290"/>
                  </a:lnTo>
                  <a:cubicBezTo>
                    <a:pt x="16023" y="2395"/>
                    <a:pt x="16107" y="2479"/>
                    <a:pt x="16212" y="2479"/>
                  </a:cubicBezTo>
                  <a:lnTo>
                    <a:pt x="16212" y="2479"/>
                  </a:lnTo>
                  <a:cubicBezTo>
                    <a:pt x="16316" y="2479"/>
                    <a:pt x="16401" y="2395"/>
                    <a:pt x="16401" y="2290"/>
                  </a:cubicBezTo>
                  <a:lnTo>
                    <a:pt x="16401" y="1535"/>
                  </a:lnTo>
                  <a:close/>
                  <a:moveTo>
                    <a:pt x="16401" y="3044"/>
                  </a:moveTo>
                  <a:lnTo>
                    <a:pt x="16401" y="2917"/>
                  </a:lnTo>
                  <a:cubicBezTo>
                    <a:pt x="16401" y="2812"/>
                    <a:pt x="16316" y="2728"/>
                    <a:pt x="16212" y="2728"/>
                  </a:cubicBezTo>
                  <a:lnTo>
                    <a:pt x="16212" y="2728"/>
                  </a:lnTo>
                  <a:cubicBezTo>
                    <a:pt x="16107" y="2728"/>
                    <a:pt x="16023" y="2812"/>
                    <a:pt x="16023" y="2917"/>
                  </a:cubicBezTo>
                  <a:lnTo>
                    <a:pt x="16023" y="3044"/>
                  </a:lnTo>
                  <a:cubicBezTo>
                    <a:pt x="16023" y="3148"/>
                    <a:pt x="16107" y="3233"/>
                    <a:pt x="16212" y="3233"/>
                  </a:cubicBezTo>
                  <a:lnTo>
                    <a:pt x="16212" y="3233"/>
                  </a:lnTo>
                  <a:cubicBezTo>
                    <a:pt x="16316" y="3236"/>
                    <a:pt x="16401" y="3148"/>
                    <a:pt x="16401" y="3044"/>
                  </a:cubicBezTo>
                  <a:close/>
                  <a:moveTo>
                    <a:pt x="16401" y="1007"/>
                  </a:moveTo>
                  <a:lnTo>
                    <a:pt x="16401" y="880"/>
                  </a:lnTo>
                  <a:cubicBezTo>
                    <a:pt x="16401" y="776"/>
                    <a:pt x="16316" y="691"/>
                    <a:pt x="16212" y="691"/>
                  </a:cubicBezTo>
                  <a:lnTo>
                    <a:pt x="16212" y="691"/>
                  </a:lnTo>
                  <a:cubicBezTo>
                    <a:pt x="16107" y="691"/>
                    <a:pt x="16023" y="776"/>
                    <a:pt x="16023" y="880"/>
                  </a:cubicBezTo>
                  <a:lnTo>
                    <a:pt x="16023" y="1007"/>
                  </a:lnTo>
                  <a:cubicBezTo>
                    <a:pt x="16023" y="1112"/>
                    <a:pt x="16107" y="1196"/>
                    <a:pt x="16212" y="1196"/>
                  </a:cubicBezTo>
                  <a:lnTo>
                    <a:pt x="16212" y="1196"/>
                  </a:lnTo>
                  <a:cubicBezTo>
                    <a:pt x="16316" y="1196"/>
                    <a:pt x="16401" y="1112"/>
                    <a:pt x="16401" y="1007"/>
                  </a:cubicBezTo>
                  <a:close/>
                </a:path>
              </a:pathLst>
            </a:custGeom>
            <a:solidFill>
              <a:schemeClr val="tx2"/>
            </a:solidFill>
            <a:ln w="9525" cap="flat">
              <a:noFill/>
              <a:bevel/>
              <a:headEnd/>
              <a:tailEnd/>
            </a:ln>
            <a:effectLst/>
          </p:spPr>
          <p:txBody>
            <a:bodyPr wrap="none" anchor="ctr"/>
            <a:lstStyle/>
            <a:p>
              <a:endParaRPr lang="en-US"/>
            </a:p>
          </p:txBody>
        </p:sp>
        <p:grpSp>
          <p:nvGrpSpPr>
            <p:cNvPr id="4" name="Group 3">
              <a:extLst>
                <a:ext uri="{FF2B5EF4-FFF2-40B4-BE49-F238E27FC236}">
                  <a16:creationId xmlns:a16="http://schemas.microsoft.com/office/drawing/2014/main" id="{AD78B89F-8420-47C5-925A-7949D8A1240D}"/>
                </a:ext>
              </a:extLst>
            </p:cNvPr>
            <p:cNvGrpSpPr/>
            <p:nvPr/>
          </p:nvGrpSpPr>
          <p:grpSpPr>
            <a:xfrm>
              <a:off x="2514600" y="1630524"/>
              <a:ext cx="4114800" cy="2133528"/>
              <a:chOff x="2514600" y="1630524"/>
              <a:chExt cx="4114800" cy="2133528"/>
            </a:xfrm>
          </p:grpSpPr>
          <p:grpSp>
            <p:nvGrpSpPr>
              <p:cNvPr id="18" name="Group 17">
                <a:extLst>
                  <a:ext uri="{FF2B5EF4-FFF2-40B4-BE49-F238E27FC236}">
                    <a16:creationId xmlns:a16="http://schemas.microsoft.com/office/drawing/2014/main" id="{A4FA01A1-DDA0-4867-861B-E077BF628467}"/>
                  </a:ext>
                </a:extLst>
              </p:cNvPr>
              <p:cNvGrpSpPr>
                <a:grpSpLocks noChangeAspect="1"/>
              </p:cNvGrpSpPr>
              <p:nvPr/>
            </p:nvGrpSpPr>
            <p:grpSpPr>
              <a:xfrm>
                <a:off x="2514600" y="1630524"/>
                <a:ext cx="4114800" cy="1335227"/>
                <a:chOff x="2956719" y="4114800"/>
                <a:chExt cx="3292475" cy="1068387"/>
              </a:xfrm>
            </p:grpSpPr>
            <p:sp>
              <p:nvSpPr>
                <p:cNvPr id="19" name="Freeform 1">
                  <a:extLst>
                    <a:ext uri="{FF2B5EF4-FFF2-40B4-BE49-F238E27FC236}">
                      <a16:creationId xmlns:a16="http://schemas.microsoft.com/office/drawing/2014/main" id="{7080B4CC-A0DB-4C45-A036-BCEA4D47BBE2}"/>
                    </a:ext>
                  </a:extLst>
                </p:cNvPr>
                <p:cNvSpPr>
                  <a:spLocks noChangeAspect="1" noChangeArrowheads="1"/>
                </p:cNvSpPr>
                <p:nvPr/>
              </p:nvSpPr>
              <p:spPr bwMode="auto">
                <a:xfrm>
                  <a:off x="4531519" y="4567237"/>
                  <a:ext cx="144462" cy="479425"/>
                </a:xfrm>
                <a:custGeom>
                  <a:avLst/>
                  <a:gdLst>
                    <a:gd name="T0" fmla="*/ 397 w 401"/>
                    <a:gd name="T1" fmla="*/ 1139 h 1332"/>
                    <a:gd name="T2" fmla="*/ 201 w 401"/>
                    <a:gd name="T3" fmla="*/ 1331 h 1332"/>
                    <a:gd name="T4" fmla="*/ 0 w 401"/>
                    <a:gd name="T5" fmla="*/ 1139 h 1332"/>
                    <a:gd name="T6" fmla="*/ 0 w 401"/>
                    <a:gd name="T7" fmla="*/ 739 h 1332"/>
                    <a:gd name="T8" fmla="*/ 201 w 401"/>
                    <a:gd name="T9" fmla="*/ 547 h 1332"/>
                    <a:gd name="T10" fmla="*/ 397 w 401"/>
                    <a:gd name="T11" fmla="*/ 739 h 1332"/>
                    <a:gd name="T12" fmla="*/ 397 w 401"/>
                    <a:gd name="T13" fmla="*/ 1139 h 1332"/>
                    <a:gd name="T14" fmla="*/ 202 w 401"/>
                    <a:gd name="T15" fmla="*/ 0 h 1332"/>
                    <a:gd name="T16" fmla="*/ 6 w 401"/>
                    <a:gd name="T17" fmla="*/ 189 h 1332"/>
                    <a:gd name="T18" fmla="*/ 202 w 401"/>
                    <a:gd name="T19" fmla="*/ 378 h 1332"/>
                    <a:gd name="T20" fmla="*/ 400 w 401"/>
                    <a:gd name="T21" fmla="*/ 189 h 1332"/>
                    <a:gd name="T22" fmla="*/ 202 w 401"/>
                    <a:gd name="T23"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1332">
                      <a:moveTo>
                        <a:pt x="397" y="1139"/>
                      </a:moveTo>
                      <a:cubicBezTo>
                        <a:pt x="397" y="1246"/>
                        <a:pt x="311" y="1331"/>
                        <a:pt x="201" y="1331"/>
                      </a:cubicBezTo>
                      <a:cubicBezTo>
                        <a:pt x="90" y="1331"/>
                        <a:pt x="0" y="1246"/>
                        <a:pt x="0" y="1139"/>
                      </a:cubicBezTo>
                      <a:lnTo>
                        <a:pt x="0" y="739"/>
                      </a:lnTo>
                      <a:cubicBezTo>
                        <a:pt x="0" y="634"/>
                        <a:pt x="90" y="547"/>
                        <a:pt x="201" y="547"/>
                      </a:cubicBezTo>
                      <a:cubicBezTo>
                        <a:pt x="310" y="547"/>
                        <a:pt x="397" y="632"/>
                        <a:pt x="397" y="739"/>
                      </a:cubicBezTo>
                      <a:lnTo>
                        <a:pt x="397" y="1139"/>
                      </a:lnTo>
                      <a:close/>
                      <a:moveTo>
                        <a:pt x="202" y="0"/>
                      </a:moveTo>
                      <a:cubicBezTo>
                        <a:pt x="93" y="0"/>
                        <a:pt x="6" y="84"/>
                        <a:pt x="6" y="189"/>
                      </a:cubicBezTo>
                      <a:cubicBezTo>
                        <a:pt x="6" y="293"/>
                        <a:pt x="93" y="378"/>
                        <a:pt x="202" y="378"/>
                      </a:cubicBezTo>
                      <a:cubicBezTo>
                        <a:pt x="312" y="378"/>
                        <a:pt x="400" y="293"/>
                        <a:pt x="400" y="189"/>
                      </a:cubicBezTo>
                      <a:cubicBezTo>
                        <a:pt x="400" y="84"/>
                        <a:pt x="312" y="0"/>
                        <a:pt x="202" y="0"/>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 name="Freeform 2">
                  <a:extLst>
                    <a:ext uri="{FF2B5EF4-FFF2-40B4-BE49-F238E27FC236}">
                      <a16:creationId xmlns:a16="http://schemas.microsoft.com/office/drawing/2014/main" id="{B6195467-7729-473C-92EA-B3E97883BAA4}"/>
                    </a:ext>
                  </a:extLst>
                </p:cNvPr>
                <p:cNvSpPr>
                  <a:spLocks noChangeAspect="1" noChangeArrowheads="1"/>
                </p:cNvSpPr>
                <p:nvPr/>
              </p:nvSpPr>
              <p:spPr bwMode="auto">
                <a:xfrm>
                  <a:off x="4137819" y="4371975"/>
                  <a:ext cx="935037" cy="674687"/>
                </a:xfrm>
                <a:custGeom>
                  <a:avLst/>
                  <a:gdLst>
                    <a:gd name="T0" fmla="*/ 401 w 2596"/>
                    <a:gd name="T1" fmla="*/ 1681 h 1874"/>
                    <a:gd name="T2" fmla="*/ 201 w 2596"/>
                    <a:gd name="T3" fmla="*/ 1873 h 1874"/>
                    <a:gd name="T4" fmla="*/ 0 w 2596"/>
                    <a:gd name="T5" fmla="*/ 1681 h 1874"/>
                    <a:gd name="T6" fmla="*/ 0 w 2596"/>
                    <a:gd name="T7" fmla="*/ 756 h 1874"/>
                    <a:gd name="T8" fmla="*/ 201 w 2596"/>
                    <a:gd name="T9" fmla="*/ 564 h 1874"/>
                    <a:gd name="T10" fmla="*/ 401 w 2596"/>
                    <a:gd name="T11" fmla="*/ 756 h 1874"/>
                    <a:gd name="T12" fmla="*/ 401 w 2596"/>
                    <a:gd name="T13" fmla="*/ 1681 h 1874"/>
                    <a:gd name="T14" fmla="*/ 203 w 2596"/>
                    <a:gd name="T15" fmla="*/ 0 h 1874"/>
                    <a:gd name="T16" fmla="*/ 6 w 2596"/>
                    <a:gd name="T17" fmla="*/ 189 h 1874"/>
                    <a:gd name="T18" fmla="*/ 203 w 2596"/>
                    <a:gd name="T19" fmla="*/ 378 h 1874"/>
                    <a:gd name="T20" fmla="*/ 401 w 2596"/>
                    <a:gd name="T21" fmla="*/ 189 h 1874"/>
                    <a:gd name="T22" fmla="*/ 203 w 2596"/>
                    <a:gd name="T23" fmla="*/ 0 h 1874"/>
                    <a:gd name="T24" fmla="*/ 2587 w 2596"/>
                    <a:gd name="T25" fmla="*/ 1681 h 1874"/>
                    <a:gd name="T26" fmla="*/ 2389 w 2596"/>
                    <a:gd name="T27" fmla="*/ 1873 h 1874"/>
                    <a:gd name="T28" fmla="*/ 2192 w 2596"/>
                    <a:gd name="T29" fmla="*/ 1681 h 1874"/>
                    <a:gd name="T30" fmla="*/ 2192 w 2596"/>
                    <a:gd name="T31" fmla="*/ 756 h 1874"/>
                    <a:gd name="T32" fmla="*/ 2389 w 2596"/>
                    <a:gd name="T33" fmla="*/ 564 h 1874"/>
                    <a:gd name="T34" fmla="*/ 2587 w 2596"/>
                    <a:gd name="T35" fmla="*/ 756 h 1874"/>
                    <a:gd name="T36" fmla="*/ 2587 w 2596"/>
                    <a:gd name="T37" fmla="*/ 1681 h 1874"/>
                    <a:gd name="T38" fmla="*/ 2398 w 2596"/>
                    <a:gd name="T39" fmla="*/ 8 h 1874"/>
                    <a:gd name="T40" fmla="*/ 2200 w 2596"/>
                    <a:gd name="T41" fmla="*/ 197 h 1874"/>
                    <a:gd name="T42" fmla="*/ 2398 w 2596"/>
                    <a:gd name="T43" fmla="*/ 386 h 1874"/>
                    <a:gd name="T44" fmla="*/ 2595 w 2596"/>
                    <a:gd name="T45" fmla="*/ 197 h 1874"/>
                    <a:gd name="T46" fmla="*/ 2398 w 2596"/>
                    <a:gd name="T47" fmla="*/ 8 h 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96" h="1874">
                      <a:moveTo>
                        <a:pt x="401" y="1681"/>
                      </a:moveTo>
                      <a:cubicBezTo>
                        <a:pt x="401" y="1788"/>
                        <a:pt x="311" y="1873"/>
                        <a:pt x="201" y="1873"/>
                      </a:cubicBezTo>
                      <a:cubicBezTo>
                        <a:pt x="90" y="1873"/>
                        <a:pt x="0" y="1788"/>
                        <a:pt x="0" y="1681"/>
                      </a:cubicBezTo>
                      <a:lnTo>
                        <a:pt x="0" y="756"/>
                      </a:lnTo>
                      <a:cubicBezTo>
                        <a:pt x="0" y="652"/>
                        <a:pt x="90" y="564"/>
                        <a:pt x="201" y="564"/>
                      </a:cubicBezTo>
                      <a:cubicBezTo>
                        <a:pt x="311" y="564"/>
                        <a:pt x="401" y="649"/>
                        <a:pt x="401" y="756"/>
                      </a:cubicBezTo>
                      <a:lnTo>
                        <a:pt x="401" y="1681"/>
                      </a:lnTo>
                      <a:close/>
                      <a:moveTo>
                        <a:pt x="203" y="0"/>
                      </a:moveTo>
                      <a:cubicBezTo>
                        <a:pt x="93" y="0"/>
                        <a:pt x="6" y="84"/>
                        <a:pt x="6" y="189"/>
                      </a:cubicBezTo>
                      <a:cubicBezTo>
                        <a:pt x="6" y="293"/>
                        <a:pt x="93" y="378"/>
                        <a:pt x="203" y="378"/>
                      </a:cubicBezTo>
                      <a:cubicBezTo>
                        <a:pt x="313" y="378"/>
                        <a:pt x="401" y="293"/>
                        <a:pt x="401" y="189"/>
                      </a:cubicBezTo>
                      <a:cubicBezTo>
                        <a:pt x="401" y="84"/>
                        <a:pt x="313" y="0"/>
                        <a:pt x="203" y="0"/>
                      </a:cubicBezTo>
                      <a:close/>
                      <a:moveTo>
                        <a:pt x="2587" y="1681"/>
                      </a:moveTo>
                      <a:cubicBezTo>
                        <a:pt x="2587" y="1788"/>
                        <a:pt x="2500" y="1873"/>
                        <a:pt x="2389" y="1873"/>
                      </a:cubicBezTo>
                      <a:cubicBezTo>
                        <a:pt x="2279" y="1873"/>
                        <a:pt x="2192" y="1788"/>
                        <a:pt x="2192" y="1681"/>
                      </a:cubicBezTo>
                      <a:lnTo>
                        <a:pt x="2192" y="756"/>
                      </a:lnTo>
                      <a:cubicBezTo>
                        <a:pt x="2192" y="652"/>
                        <a:pt x="2282" y="564"/>
                        <a:pt x="2389" y="564"/>
                      </a:cubicBezTo>
                      <a:cubicBezTo>
                        <a:pt x="2500" y="564"/>
                        <a:pt x="2587" y="649"/>
                        <a:pt x="2587" y="756"/>
                      </a:cubicBezTo>
                      <a:lnTo>
                        <a:pt x="2587" y="1681"/>
                      </a:lnTo>
                      <a:close/>
                      <a:moveTo>
                        <a:pt x="2398" y="8"/>
                      </a:moveTo>
                      <a:cubicBezTo>
                        <a:pt x="2288" y="8"/>
                        <a:pt x="2200" y="92"/>
                        <a:pt x="2200" y="197"/>
                      </a:cubicBezTo>
                      <a:cubicBezTo>
                        <a:pt x="2200" y="301"/>
                        <a:pt x="2288" y="386"/>
                        <a:pt x="2398" y="386"/>
                      </a:cubicBezTo>
                      <a:cubicBezTo>
                        <a:pt x="2505" y="386"/>
                        <a:pt x="2595" y="302"/>
                        <a:pt x="2595" y="197"/>
                      </a:cubicBezTo>
                      <a:cubicBezTo>
                        <a:pt x="2595" y="93"/>
                        <a:pt x="2508" y="8"/>
                        <a:pt x="2398" y="8"/>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1" name="Freeform 3">
                  <a:extLst>
                    <a:ext uri="{FF2B5EF4-FFF2-40B4-BE49-F238E27FC236}">
                      <a16:creationId xmlns:a16="http://schemas.microsoft.com/office/drawing/2014/main" id="{161D53B5-5DAA-4406-9856-6C621C4C47E5}"/>
                    </a:ext>
                  </a:extLst>
                </p:cNvPr>
                <p:cNvSpPr>
                  <a:spLocks noChangeAspect="1" noChangeArrowheads="1"/>
                </p:cNvSpPr>
                <p:nvPr/>
              </p:nvSpPr>
              <p:spPr bwMode="auto">
                <a:xfrm>
                  <a:off x="3350419" y="4371975"/>
                  <a:ext cx="2506662" cy="674687"/>
                </a:xfrm>
                <a:custGeom>
                  <a:avLst/>
                  <a:gdLst>
                    <a:gd name="T0" fmla="*/ 401 w 6962"/>
                    <a:gd name="T1" fmla="*/ 1679 h 1872"/>
                    <a:gd name="T2" fmla="*/ 200 w 6962"/>
                    <a:gd name="T3" fmla="*/ 1871 h 1872"/>
                    <a:gd name="T4" fmla="*/ 0 w 6962"/>
                    <a:gd name="T5" fmla="*/ 1679 h 1872"/>
                    <a:gd name="T6" fmla="*/ 0 w 6962"/>
                    <a:gd name="T7" fmla="*/ 754 h 1872"/>
                    <a:gd name="T8" fmla="*/ 200 w 6962"/>
                    <a:gd name="T9" fmla="*/ 562 h 1872"/>
                    <a:gd name="T10" fmla="*/ 401 w 6962"/>
                    <a:gd name="T11" fmla="*/ 754 h 1872"/>
                    <a:gd name="T12" fmla="*/ 401 w 6962"/>
                    <a:gd name="T13" fmla="*/ 1679 h 1872"/>
                    <a:gd name="T14" fmla="*/ 212 w 6962"/>
                    <a:gd name="T15" fmla="*/ 0 h 1872"/>
                    <a:gd name="T16" fmla="*/ 14 w 6962"/>
                    <a:gd name="T17" fmla="*/ 190 h 1872"/>
                    <a:gd name="T18" fmla="*/ 212 w 6962"/>
                    <a:gd name="T19" fmla="*/ 379 h 1872"/>
                    <a:gd name="T20" fmla="*/ 409 w 6962"/>
                    <a:gd name="T21" fmla="*/ 190 h 1872"/>
                    <a:gd name="T22" fmla="*/ 212 w 6962"/>
                    <a:gd name="T23" fmla="*/ 0 h 1872"/>
                    <a:gd name="T24" fmla="*/ 6961 w 6962"/>
                    <a:gd name="T25" fmla="*/ 1679 h 1872"/>
                    <a:gd name="T26" fmla="*/ 6761 w 6962"/>
                    <a:gd name="T27" fmla="*/ 1871 h 1872"/>
                    <a:gd name="T28" fmla="*/ 6563 w 6962"/>
                    <a:gd name="T29" fmla="*/ 1679 h 1872"/>
                    <a:gd name="T30" fmla="*/ 6563 w 6962"/>
                    <a:gd name="T31" fmla="*/ 754 h 1872"/>
                    <a:gd name="T32" fmla="*/ 6761 w 6962"/>
                    <a:gd name="T33" fmla="*/ 562 h 1872"/>
                    <a:gd name="T34" fmla="*/ 6961 w 6962"/>
                    <a:gd name="T35" fmla="*/ 754 h 1872"/>
                    <a:gd name="T36" fmla="*/ 6961 w 6962"/>
                    <a:gd name="T37" fmla="*/ 1679 h 1872"/>
                    <a:gd name="T38" fmla="*/ 6764 w 6962"/>
                    <a:gd name="T39" fmla="*/ 12 h 1872"/>
                    <a:gd name="T40" fmla="*/ 6566 w 6962"/>
                    <a:gd name="T41" fmla="*/ 201 h 1872"/>
                    <a:gd name="T42" fmla="*/ 6764 w 6962"/>
                    <a:gd name="T43" fmla="*/ 390 h 1872"/>
                    <a:gd name="T44" fmla="*/ 6961 w 6962"/>
                    <a:gd name="T45" fmla="*/ 201 h 1872"/>
                    <a:gd name="T46" fmla="*/ 6764 w 6962"/>
                    <a:gd name="T47" fmla="*/ 12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62" h="1872">
                      <a:moveTo>
                        <a:pt x="401" y="1679"/>
                      </a:moveTo>
                      <a:cubicBezTo>
                        <a:pt x="401" y="1786"/>
                        <a:pt x="310" y="1871"/>
                        <a:pt x="200" y="1871"/>
                      </a:cubicBezTo>
                      <a:cubicBezTo>
                        <a:pt x="89" y="1871"/>
                        <a:pt x="0" y="1786"/>
                        <a:pt x="0" y="1679"/>
                      </a:cubicBezTo>
                      <a:lnTo>
                        <a:pt x="0" y="754"/>
                      </a:lnTo>
                      <a:cubicBezTo>
                        <a:pt x="0" y="650"/>
                        <a:pt x="89" y="562"/>
                        <a:pt x="200" y="562"/>
                      </a:cubicBezTo>
                      <a:cubicBezTo>
                        <a:pt x="310" y="562"/>
                        <a:pt x="401" y="647"/>
                        <a:pt x="401" y="754"/>
                      </a:cubicBezTo>
                      <a:lnTo>
                        <a:pt x="401" y="1679"/>
                      </a:lnTo>
                      <a:close/>
                      <a:moveTo>
                        <a:pt x="212" y="0"/>
                      </a:moveTo>
                      <a:cubicBezTo>
                        <a:pt x="102" y="0"/>
                        <a:pt x="14" y="85"/>
                        <a:pt x="14" y="190"/>
                      </a:cubicBezTo>
                      <a:cubicBezTo>
                        <a:pt x="14" y="294"/>
                        <a:pt x="102" y="379"/>
                        <a:pt x="212" y="379"/>
                      </a:cubicBezTo>
                      <a:cubicBezTo>
                        <a:pt x="319" y="381"/>
                        <a:pt x="409" y="297"/>
                        <a:pt x="409" y="190"/>
                      </a:cubicBezTo>
                      <a:cubicBezTo>
                        <a:pt x="409" y="85"/>
                        <a:pt x="322" y="0"/>
                        <a:pt x="212" y="0"/>
                      </a:cubicBezTo>
                      <a:close/>
                      <a:moveTo>
                        <a:pt x="6961" y="1679"/>
                      </a:moveTo>
                      <a:cubicBezTo>
                        <a:pt x="6961" y="1786"/>
                        <a:pt x="6874" y="1871"/>
                        <a:pt x="6761" y="1871"/>
                      </a:cubicBezTo>
                      <a:cubicBezTo>
                        <a:pt x="6651" y="1871"/>
                        <a:pt x="6563" y="1786"/>
                        <a:pt x="6563" y="1679"/>
                      </a:cubicBezTo>
                      <a:lnTo>
                        <a:pt x="6563" y="754"/>
                      </a:lnTo>
                      <a:cubicBezTo>
                        <a:pt x="6563" y="650"/>
                        <a:pt x="6651" y="562"/>
                        <a:pt x="6761" y="562"/>
                      </a:cubicBezTo>
                      <a:cubicBezTo>
                        <a:pt x="6874" y="562"/>
                        <a:pt x="6961" y="647"/>
                        <a:pt x="6961" y="754"/>
                      </a:cubicBezTo>
                      <a:lnTo>
                        <a:pt x="6961" y="1679"/>
                      </a:lnTo>
                      <a:close/>
                      <a:moveTo>
                        <a:pt x="6764" y="12"/>
                      </a:moveTo>
                      <a:cubicBezTo>
                        <a:pt x="6654" y="12"/>
                        <a:pt x="6566" y="96"/>
                        <a:pt x="6566" y="201"/>
                      </a:cubicBezTo>
                      <a:cubicBezTo>
                        <a:pt x="6566" y="305"/>
                        <a:pt x="6653" y="390"/>
                        <a:pt x="6764" y="390"/>
                      </a:cubicBezTo>
                      <a:cubicBezTo>
                        <a:pt x="6871" y="390"/>
                        <a:pt x="6961" y="305"/>
                        <a:pt x="6961" y="201"/>
                      </a:cubicBezTo>
                      <a:cubicBezTo>
                        <a:pt x="6961" y="96"/>
                        <a:pt x="6875" y="12"/>
                        <a:pt x="6764" y="12"/>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2" name="Freeform 4">
                  <a:extLst>
                    <a:ext uri="{FF2B5EF4-FFF2-40B4-BE49-F238E27FC236}">
                      <a16:creationId xmlns:a16="http://schemas.microsoft.com/office/drawing/2014/main" id="{F0A913FF-11E7-4256-B463-E31E71B290CD}"/>
                    </a:ext>
                  </a:extLst>
                </p:cNvPr>
                <p:cNvSpPr>
                  <a:spLocks noChangeAspect="1" noChangeArrowheads="1"/>
                </p:cNvSpPr>
                <p:nvPr/>
              </p:nvSpPr>
              <p:spPr bwMode="auto">
                <a:xfrm>
                  <a:off x="2956719" y="4114800"/>
                  <a:ext cx="3292475" cy="1068387"/>
                </a:xfrm>
                <a:custGeom>
                  <a:avLst/>
                  <a:gdLst>
                    <a:gd name="T0" fmla="*/ 401 w 9146"/>
                    <a:gd name="T1" fmla="*/ 2395 h 2969"/>
                    <a:gd name="T2" fmla="*/ 200 w 9146"/>
                    <a:gd name="T3" fmla="*/ 2587 h 2969"/>
                    <a:gd name="T4" fmla="*/ 0 w 9146"/>
                    <a:gd name="T5" fmla="*/ 2395 h 2969"/>
                    <a:gd name="T6" fmla="*/ 0 w 9146"/>
                    <a:gd name="T7" fmla="*/ 1995 h 2969"/>
                    <a:gd name="T8" fmla="*/ 200 w 9146"/>
                    <a:gd name="T9" fmla="*/ 1803 h 2969"/>
                    <a:gd name="T10" fmla="*/ 401 w 9146"/>
                    <a:gd name="T11" fmla="*/ 1995 h 2969"/>
                    <a:gd name="T12" fmla="*/ 401 w 9146"/>
                    <a:gd name="T13" fmla="*/ 2395 h 2969"/>
                    <a:gd name="T14" fmla="*/ 200 w 9146"/>
                    <a:gd name="T15" fmla="*/ 1247 h 2969"/>
                    <a:gd name="T16" fmla="*/ 3 w 9146"/>
                    <a:gd name="T17" fmla="*/ 1436 h 2969"/>
                    <a:gd name="T18" fmla="*/ 200 w 9146"/>
                    <a:gd name="T19" fmla="*/ 1625 h 2969"/>
                    <a:gd name="T20" fmla="*/ 398 w 9146"/>
                    <a:gd name="T21" fmla="*/ 1436 h 2969"/>
                    <a:gd name="T22" fmla="*/ 200 w 9146"/>
                    <a:gd name="T23" fmla="*/ 1247 h 2969"/>
                    <a:gd name="T24" fmla="*/ 2588 w 9146"/>
                    <a:gd name="T25" fmla="*/ 2776 h 2969"/>
                    <a:gd name="T26" fmla="*/ 2387 w 9146"/>
                    <a:gd name="T27" fmla="*/ 2968 h 2969"/>
                    <a:gd name="T28" fmla="*/ 2187 w 9146"/>
                    <a:gd name="T29" fmla="*/ 2776 h 2969"/>
                    <a:gd name="T30" fmla="*/ 2187 w 9146"/>
                    <a:gd name="T31" fmla="*/ 750 h 2969"/>
                    <a:gd name="T32" fmla="*/ 2387 w 9146"/>
                    <a:gd name="T33" fmla="*/ 558 h 2969"/>
                    <a:gd name="T34" fmla="*/ 2588 w 9146"/>
                    <a:gd name="T35" fmla="*/ 750 h 2969"/>
                    <a:gd name="T36" fmla="*/ 2588 w 9146"/>
                    <a:gd name="T37" fmla="*/ 2776 h 2969"/>
                    <a:gd name="T38" fmla="*/ 2387 w 9146"/>
                    <a:gd name="T39" fmla="*/ 0 h 2969"/>
                    <a:gd name="T40" fmla="*/ 2190 w 9146"/>
                    <a:gd name="T41" fmla="*/ 189 h 2969"/>
                    <a:gd name="T42" fmla="*/ 2387 w 9146"/>
                    <a:gd name="T43" fmla="*/ 378 h 2969"/>
                    <a:gd name="T44" fmla="*/ 2585 w 9146"/>
                    <a:gd name="T45" fmla="*/ 189 h 2969"/>
                    <a:gd name="T46" fmla="*/ 2387 w 9146"/>
                    <a:gd name="T47" fmla="*/ 0 h 2969"/>
                    <a:gd name="T48" fmla="*/ 6961 w 9146"/>
                    <a:gd name="T49" fmla="*/ 2776 h 2969"/>
                    <a:gd name="T50" fmla="*/ 6763 w 9146"/>
                    <a:gd name="T51" fmla="*/ 2968 h 2969"/>
                    <a:gd name="T52" fmla="*/ 6566 w 9146"/>
                    <a:gd name="T53" fmla="*/ 2776 h 2969"/>
                    <a:gd name="T54" fmla="*/ 6566 w 9146"/>
                    <a:gd name="T55" fmla="*/ 750 h 2969"/>
                    <a:gd name="T56" fmla="*/ 6763 w 9146"/>
                    <a:gd name="T57" fmla="*/ 558 h 2969"/>
                    <a:gd name="T58" fmla="*/ 6961 w 9146"/>
                    <a:gd name="T59" fmla="*/ 750 h 2969"/>
                    <a:gd name="T60" fmla="*/ 6961 w 9146"/>
                    <a:gd name="T61" fmla="*/ 2776 h 2969"/>
                    <a:gd name="T62" fmla="*/ 6766 w 9146"/>
                    <a:gd name="T63" fmla="*/ 8 h 2969"/>
                    <a:gd name="T64" fmla="*/ 6569 w 9146"/>
                    <a:gd name="T65" fmla="*/ 197 h 2969"/>
                    <a:gd name="T66" fmla="*/ 6766 w 9146"/>
                    <a:gd name="T67" fmla="*/ 386 h 2969"/>
                    <a:gd name="T68" fmla="*/ 6964 w 9146"/>
                    <a:gd name="T69" fmla="*/ 197 h 2969"/>
                    <a:gd name="T70" fmla="*/ 6766 w 9146"/>
                    <a:gd name="T71" fmla="*/ 8 h 2969"/>
                    <a:gd name="T72" fmla="*/ 9145 w 9146"/>
                    <a:gd name="T73" fmla="*/ 2395 h 2969"/>
                    <a:gd name="T74" fmla="*/ 8948 w 9146"/>
                    <a:gd name="T75" fmla="*/ 2587 h 2969"/>
                    <a:gd name="T76" fmla="*/ 8750 w 9146"/>
                    <a:gd name="T77" fmla="*/ 2395 h 2969"/>
                    <a:gd name="T78" fmla="*/ 8750 w 9146"/>
                    <a:gd name="T79" fmla="*/ 1995 h 2969"/>
                    <a:gd name="T80" fmla="*/ 8948 w 9146"/>
                    <a:gd name="T81" fmla="*/ 1803 h 2969"/>
                    <a:gd name="T82" fmla="*/ 9145 w 9146"/>
                    <a:gd name="T83" fmla="*/ 1995 h 2969"/>
                    <a:gd name="T84" fmla="*/ 9145 w 9146"/>
                    <a:gd name="T85" fmla="*/ 2395 h 2969"/>
                    <a:gd name="T86" fmla="*/ 8948 w 9146"/>
                    <a:gd name="T87" fmla="*/ 1247 h 2969"/>
                    <a:gd name="T88" fmla="*/ 8750 w 9146"/>
                    <a:gd name="T89" fmla="*/ 1436 h 2969"/>
                    <a:gd name="T90" fmla="*/ 8948 w 9146"/>
                    <a:gd name="T91" fmla="*/ 1625 h 2969"/>
                    <a:gd name="T92" fmla="*/ 9145 w 9146"/>
                    <a:gd name="T93" fmla="*/ 1436 h 2969"/>
                    <a:gd name="T94" fmla="*/ 8948 w 9146"/>
                    <a:gd name="T95" fmla="*/ 1247 h 2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46" h="2969">
                      <a:moveTo>
                        <a:pt x="401" y="2395"/>
                      </a:moveTo>
                      <a:cubicBezTo>
                        <a:pt x="401" y="2502"/>
                        <a:pt x="310" y="2587"/>
                        <a:pt x="200" y="2587"/>
                      </a:cubicBezTo>
                      <a:cubicBezTo>
                        <a:pt x="90" y="2587"/>
                        <a:pt x="0" y="2502"/>
                        <a:pt x="0" y="2395"/>
                      </a:cubicBezTo>
                      <a:lnTo>
                        <a:pt x="0" y="1995"/>
                      </a:lnTo>
                      <a:cubicBezTo>
                        <a:pt x="0" y="1890"/>
                        <a:pt x="90" y="1803"/>
                        <a:pt x="200" y="1803"/>
                      </a:cubicBezTo>
                      <a:cubicBezTo>
                        <a:pt x="310" y="1803"/>
                        <a:pt x="401" y="1888"/>
                        <a:pt x="401" y="1995"/>
                      </a:cubicBezTo>
                      <a:lnTo>
                        <a:pt x="401" y="2395"/>
                      </a:lnTo>
                      <a:close/>
                      <a:moveTo>
                        <a:pt x="200" y="1247"/>
                      </a:moveTo>
                      <a:cubicBezTo>
                        <a:pt x="90" y="1247"/>
                        <a:pt x="3" y="1331"/>
                        <a:pt x="3" y="1436"/>
                      </a:cubicBezTo>
                      <a:cubicBezTo>
                        <a:pt x="3" y="1540"/>
                        <a:pt x="90" y="1625"/>
                        <a:pt x="200" y="1625"/>
                      </a:cubicBezTo>
                      <a:cubicBezTo>
                        <a:pt x="310" y="1625"/>
                        <a:pt x="398" y="1540"/>
                        <a:pt x="398" y="1436"/>
                      </a:cubicBezTo>
                      <a:cubicBezTo>
                        <a:pt x="398" y="1331"/>
                        <a:pt x="310" y="1247"/>
                        <a:pt x="200" y="1247"/>
                      </a:cubicBezTo>
                      <a:close/>
                      <a:moveTo>
                        <a:pt x="2588" y="2776"/>
                      </a:moveTo>
                      <a:cubicBezTo>
                        <a:pt x="2588" y="2883"/>
                        <a:pt x="2497" y="2968"/>
                        <a:pt x="2387" y="2968"/>
                      </a:cubicBezTo>
                      <a:cubicBezTo>
                        <a:pt x="2277" y="2968"/>
                        <a:pt x="2187" y="2883"/>
                        <a:pt x="2187" y="2776"/>
                      </a:cubicBezTo>
                      <a:lnTo>
                        <a:pt x="2187" y="750"/>
                      </a:lnTo>
                      <a:cubicBezTo>
                        <a:pt x="2187" y="646"/>
                        <a:pt x="2277" y="558"/>
                        <a:pt x="2387" y="558"/>
                      </a:cubicBezTo>
                      <a:cubicBezTo>
                        <a:pt x="2497" y="558"/>
                        <a:pt x="2588" y="643"/>
                        <a:pt x="2588" y="750"/>
                      </a:cubicBezTo>
                      <a:lnTo>
                        <a:pt x="2588" y="2776"/>
                      </a:lnTo>
                      <a:close/>
                      <a:moveTo>
                        <a:pt x="2387" y="0"/>
                      </a:moveTo>
                      <a:cubicBezTo>
                        <a:pt x="2277" y="0"/>
                        <a:pt x="2190" y="84"/>
                        <a:pt x="2190" y="189"/>
                      </a:cubicBezTo>
                      <a:cubicBezTo>
                        <a:pt x="2190" y="293"/>
                        <a:pt x="2277" y="378"/>
                        <a:pt x="2387" y="378"/>
                      </a:cubicBezTo>
                      <a:cubicBezTo>
                        <a:pt x="2497" y="378"/>
                        <a:pt x="2585" y="293"/>
                        <a:pt x="2585" y="189"/>
                      </a:cubicBezTo>
                      <a:cubicBezTo>
                        <a:pt x="2585" y="84"/>
                        <a:pt x="2497" y="0"/>
                        <a:pt x="2387" y="0"/>
                      </a:cubicBezTo>
                      <a:close/>
                      <a:moveTo>
                        <a:pt x="6961" y="2776"/>
                      </a:moveTo>
                      <a:cubicBezTo>
                        <a:pt x="6961" y="2883"/>
                        <a:pt x="6873" y="2968"/>
                        <a:pt x="6763" y="2968"/>
                      </a:cubicBezTo>
                      <a:cubicBezTo>
                        <a:pt x="6653" y="2968"/>
                        <a:pt x="6566" y="2883"/>
                        <a:pt x="6566" y="2776"/>
                      </a:cubicBezTo>
                      <a:lnTo>
                        <a:pt x="6566" y="750"/>
                      </a:lnTo>
                      <a:cubicBezTo>
                        <a:pt x="6566" y="646"/>
                        <a:pt x="6653" y="558"/>
                        <a:pt x="6763" y="558"/>
                      </a:cubicBezTo>
                      <a:cubicBezTo>
                        <a:pt x="6873" y="558"/>
                        <a:pt x="6961" y="643"/>
                        <a:pt x="6961" y="750"/>
                      </a:cubicBezTo>
                      <a:lnTo>
                        <a:pt x="6961" y="2776"/>
                      </a:lnTo>
                      <a:close/>
                      <a:moveTo>
                        <a:pt x="6766" y="8"/>
                      </a:moveTo>
                      <a:cubicBezTo>
                        <a:pt x="6656" y="8"/>
                        <a:pt x="6569" y="92"/>
                        <a:pt x="6569" y="197"/>
                      </a:cubicBezTo>
                      <a:cubicBezTo>
                        <a:pt x="6569" y="301"/>
                        <a:pt x="6656" y="386"/>
                        <a:pt x="6766" y="386"/>
                      </a:cubicBezTo>
                      <a:cubicBezTo>
                        <a:pt x="6873" y="386"/>
                        <a:pt x="6964" y="301"/>
                        <a:pt x="6964" y="197"/>
                      </a:cubicBezTo>
                      <a:cubicBezTo>
                        <a:pt x="6964" y="92"/>
                        <a:pt x="6876" y="8"/>
                        <a:pt x="6766" y="8"/>
                      </a:cubicBezTo>
                      <a:close/>
                      <a:moveTo>
                        <a:pt x="9145" y="2395"/>
                      </a:moveTo>
                      <a:cubicBezTo>
                        <a:pt x="9145" y="2502"/>
                        <a:pt x="9055" y="2587"/>
                        <a:pt x="8948" y="2587"/>
                      </a:cubicBezTo>
                      <a:cubicBezTo>
                        <a:pt x="8838" y="2587"/>
                        <a:pt x="8750" y="2502"/>
                        <a:pt x="8750" y="2395"/>
                      </a:cubicBezTo>
                      <a:lnTo>
                        <a:pt x="8750" y="1995"/>
                      </a:lnTo>
                      <a:cubicBezTo>
                        <a:pt x="8750" y="1890"/>
                        <a:pt x="8840" y="1803"/>
                        <a:pt x="8948" y="1803"/>
                      </a:cubicBezTo>
                      <a:cubicBezTo>
                        <a:pt x="9058" y="1803"/>
                        <a:pt x="9145" y="1888"/>
                        <a:pt x="9145" y="1995"/>
                      </a:cubicBezTo>
                      <a:lnTo>
                        <a:pt x="9145" y="2395"/>
                      </a:lnTo>
                      <a:close/>
                      <a:moveTo>
                        <a:pt x="8948" y="1247"/>
                      </a:moveTo>
                      <a:cubicBezTo>
                        <a:pt x="8838" y="1247"/>
                        <a:pt x="8750" y="1331"/>
                        <a:pt x="8750" y="1436"/>
                      </a:cubicBezTo>
                      <a:cubicBezTo>
                        <a:pt x="8750" y="1540"/>
                        <a:pt x="8838" y="1625"/>
                        <a:pt x="8948" y="1625"/>
                      </a:cubicBezTo>
                      <a:cubicBezTo>
                        <a:pt x="9058" y="1625"/>
                        <a:pt x="9145" y="1540"/>
                        <a:pt x="9145" y="1436"/>
                      </a:cubicBezTo>
                      <a:cubicBezTo>
                        <a:pt x="9145" y="1331"/>
                        <a:pt x="9058" y="1247"/>
                        <a:pt x="8948" y="1247"/>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24" name="Group 23">
                <a:extLst>
                  <a:ext uri="{FF2B5EF4-FFF2-40B4-BE49-F238E27FC236}">
                    <a16:creationId xmlns:a16="http://schemas.microsoft.com/office/drawing/2014/main" id="{97AF6537-B427-40CC-8C1A-2BA4D6D43127}"/>
                  </a:ext>
                </a:extLst>
              </p:cNvPr>
              <p:cNvGrpSpPr>
                <a:grpSpLocks noChangeAspect="1"/>
              </p:cNvGrpSpPr>
              <p:nvPr/>
            </p:nvGrpSpPr>
            <p:grpSpPr>
              <a:xfrm>
                <a:off x="2610880" y="3376996"/>
                <a:ext cx="3910270" cy="387056"/>
                <a:chOff x="3503613" y="4343400"/>
                <a:chExt cx="3127379" cy="309563"/>
              </a:xfrm>
            </p:grpSpPr>
            <p:sp>
              <p:nvSpPr>
                <p:cNvPr id="25" name="Freeform 1">
                  <a:extLst>
                    <a:ext uri="{FF2B5EF4-FFF2-40B4-BE49-F238E27FC236}">
                      <a16:creationId xmlns:a16="http://schemas.microsoft.com/office/drawing/2014/main" id="{35D4A089-7B7E-495E-AE7F-FDC40E6EEEC3}"/>
                    </a:ext>
                  </a:extLst>
                </p:cNvPr>
                <p:cNvSpPr>
                  <a:spLocks noChangeArrowheads="1"/>
                </p:cNvSpPr>
                <p:nvPr/>
              </p:nvSpPr>
              <p:spPr bwMode="auto">
                <a:xfrm>
                  <a:off x="3503613" y="4343400"/>
                  <a:ext cx="1538287" cy="254000"/>
                </a:xfrm>
                <a:custGeom>
                  <a:avLst/>
                  <a:gdLst>
                    <a:gd name="T0" fmla="*/ 426 w 4271"/>
                    <a:gd name="T1" fmla="*/ 187 h 704"/>
                    <a:gd name="T2" fmla="*/ 330 w 4271"/>
                    <a:gd name="T3" fmla="*/ 421 h 704"/>
                    <a:gd name="T4" fmla="*/ 274 w 4271"/>
                    <a:gd name="T5" fmla="*/ 418 h 704"/>
                    <a:gd name="T6" fmla="*/ 632 w 4271"/>
                    <a:gd name="T7" fmla="*/ 342 h 704"/>
                    <a:gd name="T8" fmla="*/ 802 w 4271"/>
                    <a:gd name="T9" fmla="*/ 215 h 704"/>
                    <a:gd name="T10" fmla="*/ 968 w 4271"/>
                    <a:gd name="T11" fmla="*/ 339 h 704"/>
                    <a:gd name="T12" fmla="*/ 931 w 4271"/>
                    <a:gd name="T13" fmla="*/ 601 h 704"/>
                    <a:gd name="T14" fmla="*/ 728 w 4271"/>
                    <a:gd name="T15" fmla="*/ 644 h 704"/>
                    <a:gd name="T16" fmla="*/ 618 w 4271"/>
                    <a:gd name="T17" fmla="*/ 438 h 704"/>
                    <a:gd name="T18" fmla="*/ 632 w 4271"/>
                    <a:gd name="T19" fmla="*/ 632 h 704"/>
                    <a:gd name="T20" fmla="*/ 895 w 4271"/>
                    <a:gd name="T21" fmla="*/ 683 h 704"/>
                    <a:gd name="T22" fmla="*/ 1036 w 4271"/>
                    <a:gd name="T23" fmla="*/ 438 h 704"/>
                    <a:gd name="T24" fmla="*/ 892 w 4271"/>
                    <a:gd name="T25" fmla="*/ 192 h 704"/>
                    <a:gd name="T26" fmla="*/ 627 w 4271"/>
                    <a:gd name="T27" fmla="*/ 240 h 704"/>
                    <a:gd name="T28" fmla="*/ 581 w 4271"/>
                    <a:gd name="T29" fmla="*/ 551 h 704"/>
                    <a:gd name="T30" fmla="*/ 1171 w 4271"/>
                    <a:gd name="T31" fmla="*/ 601 h 704"/>
                    <a:gd name="T32" fmla="*/ 1335 w 4271"/>
                    <a:gd name="T33" fmla="*/ 700 h 704"/>
                    <a:gd name="T34" fmla="*/ 1510 w 4271"/>
                    <a:gd name="T35" fmla="*/ 686 h 704"/>
                    <a:gd name="T36" fmla="*/ 1501 w 4271"/>
                    <a:gd name="T37" fmla="*/ 189 h 704"/>
                    <a:gd name="T38" fmla="*/ 1459 w 4271"/>
                    <a:gd name="T39" fmla="*/ 610 h 704"/>
                    <a:gd name="T40" fmla="*/ 1250 w 4271"/>
                    <a:gd name="T41" fmla="*/ 621 h 704"/>
                    <a:gd name="T42" fmla="*/ 1157 w 4271"/>
                    <a:gd name="T43" fmla="*/ 187 h 704"/>
                    <a:gd name="T44" fmla="*/ 2057 w 4271"/>
                    <a:gd name="T45" fmla="*/ 378 h 704"/>
                    <a:gd name="T46" fmla="*/ 2148 w 4271"/>
                    <a:gd name="T47" fmla="*/ 232 h 704"/>
                    <a:gd name="T48" fmla="*/ 2328 w 4271"/>
                    <a:gd name="T49" fmla="*/ 347 h 704"/>
                    <a:gd name="T50" fmla="*/ 2382 w 4271"/>
                    <a:gd name="T51" fmla="*/ 378 h 704"/>
                    <a:gd name="T52" fmla="*/ 2469 w 4271"/>
                    <a:gd name="T53" fmla="*/ 232 h 704"/>
                    <a:gd name="T54" fmla="*/ 2653 w 4271"/>
                    <a:gd name="T55" fmla="*/ 350 h 704"/>
                    <a:gd name="T56" fmla="*/ 2706 w 4271"/>
                    <a:gd name="T57" fmla="*/ 347 h 704"/>
                    <a:gd name="T58" fmla="*/ 2492 w 4271"/>
                    <a:gd name="T59" fmla="*/ 181 h 704"/>
                    <a:gd name="T60" fmla="*/ 2371 w 4271"/>
                    <a:gd name="T61" fmla="*/ 274 h 704"/>
                    <a:gd name="T62" fmla="*/ 2125 w 4271"/>
                    <a:gd name="T63" fmla="*/ 198 h 704"/>
                    <a:gd name="T64" fmla="*/ 2004 w 4271"/>
                    <a:gd name="T65" fmla="*/ 192 h 704"/>
                    <a:gd name="T66" fmla="*/ 2057 w 4271"/>
                    <a:gd name="T67" fmla="*/ 686 h 704"/>
                    <a:gd name="T68" fmla="*/ 2884 w 4271"/>
                    <a:gd name="T69" fmla="*/ 517 h 704"/>
                    <a:gd name="T70" fmla="*/ 3034 w 4271"/>
                    <a:gd name="T71" fmla="*/ 441 h 704"/>
                    <a:gd name="T72" fmla="*/ 3158 w 4271"/>
                    <a:gd name="T73" fmla="*/ 570 h 704"/>
                    <a:gd name="T74" fmla="*/ 3008 w 4271"/>
                    <a:gd name="T75" fmla="*/ 658 h 704"/>
                    <a:gd name="T76" fmla="*/ 2935 w 4271"/>
                    <a:gd name="T77" fmla="*/ 246 h 704"/>
                    <a:gd name="T78" fmla="*/ 3175 w 4271"/>
                    <a:gd name="T79" fmla="*/ 333 h 704"/>
                    <a:gd name="T80" fmla="*/ 2927 w 4271"/>
                    <a:gd name="T81" fmla="*/ 424 h 704"/>
                    <a:gd name="T82" fmla="*/ 2819 w 4271"/>
                    <a:gd name="T83" fmla="*/ 559 h 704"/>
                    <a:gd name="T84" fmla="*/ 2924 w 4271"/>
                    <a:gd name="T85" fmla="*/ 692 h 704"/>
                    <a:gd name="T86" fmla="*/ 3107 w 4271"/>
                    <a:gd name="T87" fmla="*/ 672 h 704"/>
                    <a:gd name="T88" fmla="*/ 3183 w 4271"/>
                    <a:gd name="T89" fmla="*/ 686 h 704"/>
                    <a:gd name="T90" fmla="*/ 3212 w 4271"/>
                    <a:gd name="T91" fmla="*/ 271 h 704"/>
                    <a:gd name="T92" fmla="*/ 3034 w 4271"/>
                    <a:gd name="T93" fmla="*/ 178 h 704"/>
                    <a:gd name="T94" fmla="*/ 2850 w 4271"/>
                    <a:gd name="T95" fmla="*/ 263 h 704"/>
                    <a:gd name="T96" fmla="*/ 2893 w 4271"/>
                    <a:gd name="T97" fmla="*/ 319 h 704"/>
                    <a:gd name="T98" fmla="*/ 3782 w 4271"/>
                    <a:gd name="T99" fmla="*/ 686 h 704"/>
                    <a:gd name="T100" fmla="*/ 3677 w 4271"/>
                    <a:gd name="T101" fmla="*/ 189 h 704"/>
                    <a:gd name="T102" fmla="*/ 3375 w 4271"/>
                    <a:gd name="T103" fmla="*/ 0 h 704"/>
                    <a:gd name="T104" fmla="*/ 3429 w 4271"/>
                    <a:gd name="T105" fmla="*/ 424 h 704"/>
                    <a:gd name="T106" fmla="*/ 4199 w 4271"/>
                    <a:gd name="T107" fmla="*/ 325 h 704"/>
                    <a:gd name="T108" fmla="*/ 3917 w 4271"/>
                    <a:gd name="T109" fmla="*/ 268 h 704"/>
                    <a:gd name="T110" fmla="*/ 4205 w 4271"/>
                    <a:gd name="T111" fmla="*/ 551 h 704"/>
                    <a:gd name="T112" fmla="*/ 3974 w 4271"/>
                    <a:gd name="T113" fmla="*/ 647 h 704"/>
                    <a:gd name="T114" fmla="*/ 3855 w 4271"/>
                    <a:gd name="T115" fmla="*/ 452 h 704"/>
                    <a:gd name="T116" fmla="*/ 4205 w 4271"/>
                    <a:gd name="T117" fmla="*/ 246 h 704"/>
                    <a:gd name="T118" fmla="*/ 3945 w 4271"/>
                    <a:gd name="T119" fmla="*/ 195 h 704"/>
                    <a:gd name="T120" fmla="*/ 3801 w 4271"/>
                    <a:gd name="T121" fmla="*/ 441 h 704"/>
                    <a:gd name="T122" fmla="*/ 3948 w 4271"/>
                    <a:gd name="T123" fmla="*/ 686 h 704"/>
                    <a:gd name="T124" fmla="*/ 4259 w 4271"/>
                    <a:gd name="T125" fmla="*/ 553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1" h="704">
                      <a:moveTo>
                        <a:pt x="62" y="0"/>
                      </a:moveTo>
                      <a:lnTo>
                        <a:pt x="302" y="370"/>
                      </a:lnTo>
                      <a:cubicBezTo>
                        <a:pt x="344" y="308"/>
                        <a:pt x="384" y="246"/>
                        <a:pt x="426" y="187"/>
                      </a:cubicBezTo>
                      <a:cubicBezTo>
                        <a:pt x="466" y="124"/>
                        <a:pt x="508" y="65"/>
                        <a:pt x="548" y="3"/>
                      </a:cubicBezTo>
                      <a:lnTo>
                        <a:pt x="604" y="3"/>
                      </a:lnTo>
                      <a:lnTo>
                        <a:pt x="330" y="421"/>
                      </a:lnTo>
                      <a:lnTo>
                        <a:pt x="330" y="689"/>
                      </a:lnTo>
                      <a:lnTo>
                        <a:pt x="274" y="689"/>
                      </a:lnTo>
                      <a:lnTo>
                        <a:pt x="274" y="418"/>
                      </a:lnTo>
                      <a:lnTo>
                        <a:pt x="0" y="0"/>
                      </a:lnTo>
                      <a:lnTo>
                        <a:pt x="62" y="0"/>
                      </a:lnTo>
                      <a:close/>
                      <a:moveTo>
                        <a:pt x="632" y="342"/>
                      </a:moveTo>
                      <a:cubicBezTo>
                        <a:pt x="640" y="314"/>
                        <a:pt x="655" y="291"/>
                        <a:pt x="672" y="271"/>
                      </a:cubicBezTo>
                      <a:cubicBezTo>
                        <a:pt x="689" y="251"/>
                        <a:pt x="708" y="240"/>
                        <a:pt x="728" y="229"/>
                      </a:cubicBezTo>
                      <a:cubicBezTo>
                        <a:pt x="751" y="220"/>
                        <a:pt x="773" y="215"/>
                        <a:pt x="802" y="215"/>
                      </a:cubicBezTo>
                      <a:cubicBezTo>
                        <a:pt x="827" y="215"/>
                        <a:pt x="852" y="220"/>
                        <a:pt x="875" y="229"/>
                      </a:cubicBezTo>
                      <a:cubicBezTo>
                        <a:pt x="897" y="237"/>
                        <a:pt x="917" y="251"/>
                        <a:pt x="931" y="271"/>
                      </a:cubicBezTo>
                      <a:cubicBezTo>
                        <a:pt x="948" y="291"/>
                        <a:pt x="960" y="314"/>
                        <a:pt x="968" y="339"/>
                      </a:cubicBezTo>
                      <a:cubicBezTo>
                        <a:pt x="977" y="367"/>
                        <a:pt x="982" y="398"/>
                        <a:pt x="982" y="435"/>
                      </a:cubicBezTo>
                      <a:cubicBezTo>
                        <a:pt x="982" y="472"/>
                        <a:pt x="976" y="503"/>
                        <a:pt x="968" y="531"/>
                      </a:cubicBezTo>
                      <a:cubicBezTo>
                        <a:pt x="959" y="559"/>
                        <a:pt x="945" y="582"/>
                        <a:pt x="931" y="601"/>
                      </a:cubicBezTo>
                      <a:cubicBezTo>
                        <a:pt x="914" y="621"/>
                        <a:pt x="895" y="632"/>
                        <a:pt x="875" y="644"/>
                      </a:cubicBezTo>
                      <a:cubicBezTo>
                        <a:pt x="852" y="652"/>
                        <a:pt x="830" y="658"/>
                        <a:pt x="802" y="658"/>
                      </a:cubicBezTo>
                      <a:cubicBezTo>
                        <a:pt x="776" y="658"/>
                        <a:pt x="751" y="652"/>
                        <a:pt x="728" y="644"/>
                      </a:cubicBezTo>
                      <a:cubicBezTo>
                        <a:pt x="706" y="635"/>
                        <a:pt x="686" y="621"/>
                        <a:pt x="669" y="601"/>
                      </a:cubicBezTo>
                      <a:cubicBezTo>
                        <a:pt x="652" y="582"/>
                        <a:pt x="641" y="559"/>
                        <a:pt x="629" y="531"/>
                      </a:cubicBezTo>
                      <a:cubicBezTo>
                        <a:pt x="621" y="508"/>
                        <a:pt x="618" y="475"/>
                        <a:pt x="618" y="438"/>
                      </a:cubicBezTo>
                      <a:cubicBezTo>
                        <a:pt x="618" y="402"/>
                        <a:pt x="623" y="370"/>
                        <a:pt x="632" y="342"/>
                      </a:cubicBezTo>
                      <a:close/>
                      <a:moveTo>
                        <a:pt x="581" y="551"/>
                      </a:moveTo>
                      <a:cubicBezTo>
                        <a:pt x="593" y="584"/>
                        <a:pt x="610" y="610"/>
                        <a:pt x="632" y="632"/>
                      </a:cubicBezTo>
                      <a:cubicBezTo>
                        <a:pt x="655" y="655"/>
                        <a:pt x="680" y="672"/>
                        <a:pt x="708" y="683"/>
                      </a:cubicBezTo>
                      <a:cubicBezTo>
                        <a:pt x="737" y="695"/>
                        <a:pt x="768" y="700"/>
                        <a:pt x="802" y="700"/>
                      </a:cubicBezTo>
                      <a:cubicBezTo>
                        <a:pt x="835" y="700"/>
                        <a:pt x="866" y="695"/>
                        <a:pt x="895" y="683"/>
                      </a:cubicBezTo>
                      <a:cubicBezTo>
                        <a:pt x="923" y="672"/>
                        <a:pt x="948" y="655"/>
                        <a:pt x="971" y="632"/>
                      </a:cubicBezTo>
                      <a:cubicBezTo>
                        <a:pt x="991" y="610"/>
                        <a:pt x="1008" y="584"/>
                        <a:pt x="1019" y="551"/>
                      </a:cubicBezTo>
                      <a:cubicBezTo>
                        <a:pt x="1030" y="517"/>
                        <a:pt x="1036" y="481"/>
                        <a:pt x="1036" y="438"/>
                      </a:cubicBezTo>
                      <a:cubicBezTo>
                        <a:pt x="1036" y="396"/>
                        <a:pt x="1030" y="356"/>
                        <a:pt x="1019" y="325"/>
                      </a:cubicBezTo>
                      <a:cubicBezTo>
                        <a:pt x="1008" y="291"/>
                        <a:pt x="991" y="266"/>
                        <a:pt x="968" y="243"/>
                      </a:cubicBezTo>
                      <a:cubicBezTo>
                        <a:pt x="945" y="220"/>
                        <a:pt x="923" y="204"/>
                        <a:pt x="892" y="192"/>
                      </a:cubicBezTo>
                      <a:cubicBezTo>
                        <a:pt x="864" y="181"/>
                        <a:pt x="833" y="175"/>
                        <a:pt x="796" y="175"/>
                      </a:cubicBezTo>
                      <a:cubicBezTo>
                        <a:pt x="762" y="175"/>
                        <a:pt x="731" y="181"/>
                        <a:pt x="703" y="192"/>
                      </a:cubicBezTo>
                      <a:cubicBezTo>
                        <a:pt x="675" y="204"/>
                        <a:pt x="649" y="220"/>
                        <a:pt x="627" y="240"/>
                      </a:cubicBezTo>
                      <a:cubicBezTo>
                        <a:pt x="604" y="263"/>
                        <a:pt x="587" y="288"/>
                        <a:pt x="576" y="322"/>
                      </a:cubicBezTo>
                      <a:cubicBezTo>
                        <a:pt x="567" y="356"/>
                        <a:pt x="562" y="396"/>
                        <a:pt x="562" y="438"/>
                      </a:cubicBezTo>
                      <a:cubicBezTo>
                        <a:pt x="562" y="481"/>
                        <a:pt x="567" y="517"/>
                        <a:pt x="581" y="551"/>
                      </a:cubicBezTo>
                      <a:close/>
                      <a:moveTo>
                        <a:pt x="1157" y="189"/>
                      </a:moveTo>
                      <a:lnTo>
                        <a:pt x="1157" y="525"/>
                      </a:lnTo>
                      <a:cubicBezTo>
                        <a:pt x="1157" y="553"/>
                        <a:pt x="1162" y="579"/>
                        <a:pt x="1171" y="601"/>
                      </a:cubicBezTo>
                      <a:cubicBezTo>
                        <a:pt x="1179" y="624"/>
                        <a:pt x="1194" y="641"/>
                        <a:pt x="1208" y="655"/>
                      </a:cubicBezTo>
                      <a:cubicBezTo>
                        <a:pt x="1225" y="669"/>
                        <a:pt x="1241" y="681"/>
                        <a:pt x="1264" y="689"/>
                      </a:cubicBezTo>
                      <a:cubicBezTo>
                        <a:pt x="1286" y="698"/>
                        <a:pt x="1310" y="700"/>
                        <a:pt x="1335" y="700"/>
                      </a:cubicBezTo>
                      <a:cubicBezTo>
                        <a:pt x="1366" y="700"/>
                        <a:pt x="1400" y="692"/>
                        <a:pt x="1431" y="678"/>
                      </a:cubicBezTo>
                      <a:cubicBezTo>
                        <a:pt x="1462" y="664"/>
                        <a:pt x="1487" y="638"/>
                        <a:pt x="1504" y="607"/>
                      </a:cubicBezTo>
                      <a:lnTo>
                        <a:pt x="1510" y="686"/>
                      </a:lnTo>
                      <a:lnTo>
                        <a:pt x="1555" y="686"/>
                      </a:lnTo>
                      <a:lnTo>
                        <a:pt x="1555" y="189"/>
                      </a:lnTo>
                      <a:lnTo>
                        <a:pt x="1501" y="189"/>
                      </a:lnTo>
                      <a:lnTo>
                        <a:pt x="1501" y="494"/>
                      </a:lnTo>
                      <a:cubicBezTo>
                        <a:pt x="1501" y="517"/>
                        <a:pt x="1499" y="539"/>
                        <a:pt x="1490" y="559"/>
                      </a:cubicBezTo>
                      <a:cubicBezTo>
                        <a:pt x="1482" y="579"/>
                        <a:pt x="1473" y="596"/>
                        <a:pt x="1459" y="610"/>
                      </a:cubicBezTo>
                      <a:cubicBezTo>
                        <a:pt x="1445" y="624"/>
                        <a:pt x="1428" y="635"/>
                        <a:pt x="1411" y="644"/>
                      </a:cubicBezTo>
                      <a:cubicBezTo>
                        <a:pt x="1391" y="652"/>
                        <a:pt x="1372" y="655"/>
                        <a:pt x="1349" y="655"/>
                      </a:cubicBezTo>
                      <a:cubicBezTo>
                        <a:pt x="1307" y="655"/>
                        <a:pt x="1275" y="644"/>
                        <a:pt x="1250" y="621"/>
                      </a:cubicBezTo>
                      <a:cubicBezTo>
                        <a:pt x="1224" y="599"/>
                        <a:pt x="1214" y="568"/>
                        <a:pt x="1214" y="522"/>
                      </a:cubicBezTo>
                      <a:lnTo>
                        <a:pt x="1214" y="187"/>
                      </a:lnTo>
                      <a:lnTo>
                        <a:pt x="1157" y="187"/>
                      </a:lnTo>
                      <a:lnTo>
                        <a:pt x="1157" y="189"/>
                      </a:lnTo>
                      <a:close/>
                      <a:moveTo>
                        <a:pt x="2057" y="686"/>
                      </a:moveTo>
                      <a:lnTo>
                        <a:pt x="2057" y="378"/>
                      </a:lnTo>
                      <a:cubicBezTo>
                        <a:pt x="2057" y="356"/>
                        <a:pt x="2060" y="336"/>
                        <a:pt x="2069" y="316"/>
                      </a:cubicBezTo>
                      <a:cubicBezTo>
                        <a:pt x="2077" y="297"/>
                        <a:pt x="2086" y="281"/>
                        <a:pt x="2100" y="266"/>
                      </a:cubicBezTo>
                      <a:cubicBezTo>
                        <a:pt x="2114" y="252"/>
                        <a:pt x="2128" y="240"/>
                        <a:pt x="2148" y="232"/>
                      </a:cubicBezTo>
                      <a:cubicBezTo>
                        <a:pt x="2165" y="223"/>
                        <a:pt x="2184" y="220"/>
                        <a:pt x="2207" y="220"/>
                      </a:cubicBezTo>
                      <a:cubicBezTo>
                        <a:pt x="2246" y="220"/>
                        <a:pt x="2277" y="232"/>
                        <a:pt x="2297" y="251"/>
                      </a:cubicBezTo>
                      <a:cubicBezTo>
                        <a:pt x="2317" y="271"/>
                        <a:pt x="2328" y="305"/>
                        <a:pt x="2328" y="347"/>
                      </a:cubicBezTo>
                      <a:lnTo>
                        <a:pt x="2328" y="686"/>
                      </a:lnTo>
                      <a:lnTo>
                        <a:pt x="2382" y="686"/>
                      </a:lnTo>
                      <a:lnTo>
                        <a:pt x="2382" y="378"/>
                      </a:lnTo>
                      <a:cubicBezTo>
                        <a:pt x="2382" y="356"/>
                        <a:pt x="2385" y="336"/>
                        <a:pt x="2393" y="316"/>
                      </a:cubicBezTo>
                      <a:cubicBezTo>
                        <a:pt x="2399" y="297"/>
                        <a:pt x="2410" y="281"/>
                        <a:pt x="2424" y="266"/>
                      </a:cubicBezTo>
                      <a:cubicBezTo>
                        <a:pt x="2438" y="252"/>
                        <a:pt x="2452" y="241"/>
                        <a:pt x="2469" y="232"/>
                      </a:cubicBezTo>
                      <a:cubicBezTo>
                        <a:pt x="2486" y="224"/>
                        <a:pt x="2506" y="220"/>
                        <a:pt x="2529" y="220"/>
                      </a:cubicBezTo>
                      <a:cubicBezTo>
                        <a:pt x="2568" y="220"/>
                        <a:pt x="2599" y="232"/>
                        <a:pt x="2622" y="251"/>
                      </a:cubicBezTo>
                      <a:cubicBezTo>
                        <a:pt x="2644" y="271"/>
                        <a:pt x="2653" y="305"/>
                        <a:pt x="2653" y="350"/>
                      </a:cubicBezTo>
                      <a:lnTo>
                        <a:pt x="2653" y="689"/>
                      </a:lnTo>
                      <a:lnTo>
                        <a:pt x="2706" y="689"/>
                      </a:lnTo>
                      <a:lnTo>
                        <a:pt x="2706" y="347"/>
                      </a:lnTo>
                      <a:cubicBezTo>
                        <a:pt x="2706" y="294"/>
                        <a:pt x="2692" y="251"/>
                        <a:pt x="2661" y="220"/>
                      </a:cubicBezTo>
                      <a:cubicBezTo>
                        <a:pt x="2630" y="192"/>
                        <a:pt x="2591" y="175"/>
                        <a:pt x="2540" y="175"/>
                      </a:cubicBezTo>
                      <a:cubicBezTo>
                        <a:pt x="2523" y="175"/>
                        <a:pt x="2509" y="178"/>
                        <a:pt x="2492" y="181"/>
                      </a:cubicBezTo>
                      <a:cubicBezTo>
                        <a:pt x="2475" y="184"/>
                        <a:pt x="2461" y="189"/>
                        <a:pt x="2444" y="198"/>
                      </a:cubicBezTo>
                      <a:cubicBezTo>
                        <a:pt x="2430" y="206"/>
                        <a:pt x="2416" y="215"/>
                        <a:pt x="2402" y="229"/>
                      </a:cubicBezTo>
                      <a:cubicBezTo>
                        <a:pt x="2388" y="240"/>
                        <a:pt x="2379" y="257"/>
                        <a:pt x="2371" y="274"/>
                      </a:cubicBezTo>
                      <a:cubicBezTo>
                        <a:pt x="2359" y="240"/>
                        <a:pt x="2339" y="218"/>
                        <a:pt x="2314" y="201"/>
                      </a:cubicBezTo>
                      <a:cubicBezTo>
                        <a:pt x="2288" y="184"/>
                        <a:pt x="2255" y="175"/>
                        <a:pt x="2215" y="175"/>
                      </a:cubicBezTo>
                      <a:cubicBezTo>
                        <a:pt x="2184" y="175"/>
                        <a:pt x="2156" y="184"/>
                        <a:pt x="2125" y="198"/>
                      </a:cubicBezTo>
                      <a:cubicBezTo>
                        <a:pt x="2097" y="212"/>
                        <a:pt x="2071" y="235"/>
                        <a:pt x="2055" y="268"/>
                      </a:cubicBezTo>
                      <a:lnTo>
                        <a:pt x="2049" y="192"/>
                      </a:lnTo>
                      <a:lnTo>
                        <a:pt x="2004" y="192"/>
                      </a:lnTo>
                      <a:lnTo>
                        <a:pt x="2004" y="689"/>
                      </a:lnTo>
                      <a:lnTo>
                        <a:pt x="2057" y="689"/>
                      </a:lnTo>
                      <a:lnTo>
                        <a:pt x="2057" y="686"/>
                      </a:lnTo>
                      <a:close/>
                      <a:moveTo>
                        <a:pt x="2912" y="632"/>
                      </a:moveTo>
                      <a:cubicBezTo>
                        <a:pt x="2887" y="616"/>
                        <a:pt x="2876" y="590"/>
                        <a:pt x="2876" y="556"/>
                      </a:cubicBezTo>
                      <a:cubicBezTo>
                        <a:pt x="2876" y="542"/>
                        <a:pt x="2878" y="529"/>
                        <a:pt x="2884" y="517"/>
                      </a:cubicBezTo>
                      <a:cubicBezTo>
                        <a:pt x="2889" y="506"/>
                        <a:pt x="2898" y="495"/>
                        <a:pt x="2910" y="486"/>
                      </a:cubicBezTo>
                      <a:cubicBezTo>
                        <a:pt x="2921" y="478"/>
                        <a:pt x="2938" y="469"/>
                        <a:pt x="2958" y="460"/>
                      </a:cubicBezTo>
                      <a:cubicBezTo>
                        <a:pt x="2977" y="452"/>
                        <a:pt x="3003" y="446"/>
                        <a:pt x="3034" y="441"/>
                      </a:cubicBezTo>
                      <a:lnTo>
                        <a:pt x="3172" y="418"/>
                      </a:lnTo>
                      <a:lnTo>
                        <a:pt x="3172" y="511"/>
                      </a:lnTo>
                      <a:cubicBezTo>
                        <a:pt x="3172" y="534"/>
                        <a:pt x="3166" y="553"/>
                        <a:pt x="3158" y="570"/>
                      </a:cubicBezTo>
                      <a:cubicBezTo>
                        <a:pt x="3149" y="587"/>
                        <a:pt x="3135" y="604"/>
                        <a:pt x="3118" y="616"/>
                      </a:cubicBezTo>
                      <a:cubicBezTo>
                        <a:pt x="3102" y="630"/>
                        <a:pt x="3085" y="638"/>
                        <a:pt x="3065" y="647"/>
                      </a:cubicBezTo>
                      <a:cubicBezTo>
                        <a:pt x="3048" y="655"/>
                        <a:pt x="3028" y="658"/>
                        <a:pt x="3008" y="658"/>
                      </a:cubicBezTo>
                      <a:cubicBezTo>
                        <a:pt x="2969" y="658"/>
                        <a:pt x="2938" y="649"/>
                        <a:pt x="2912" y="632"/>
                      </a:cubicBezTo>
                      <a:close/>
                      <a:moveTo>
                        <a:pt x="2893" y="319"/>
                      </a:moveTo>
                      <a:cubicBezTo>
                        <a:pt x="2895" y="288"/>
                        <a:pt x="2910" y="263"/>
                        <a:pt x="2935" y="246"/>
                      </a:cubicBezTo>
                      <a:cubicBezTo>
                        <a:pt x="2960" y="226"/>
                        <a:pt x="2994" y="218"/>
                        <a:pt x="3034" y="218"/>
                      </a:cubicBezTo>
                      <a:cubicBezTo>
                        <a:pt x="3079" y="218"/>
                        <a:pt x="3113" y="229"/>
                        <a:pt x="3138" y="249"/>
                      </a:cubicBezTo>
                      <a:cubicBezTo>
                        <a:pt x="3164" y="268"/>
                        <a:pt x="3175" y="297"/>
                        <a:pt x="3175" y="333"/>
                      </a:cubicBezTo>
                      <a:lnTo>
                        <a:pt x="3175" y="376"/>
                      </a:lnTo>
                      <a:lnTo>
                        <a:pt x="3020" y="401"/>
                      </a:lnTo>
                      <a:cubicBezTo>
                        <a:pt x="2983" y="407"/>
                        <a:pt x="2952" y="415"/>
                        <a:pt x="2927" y="424"/>
                      </a:cubicBezTo>
                      <a:cubicBezTo>
                        <a:pt x="2901" y="432"/>
                        <a:pt x="2881" y="443"/>
                        <a:pt x="2864" y="458"/>
                      </a:cubicBezTo>
                      <a:cubicBezTo>
                        <a:pt x="2848" y="472"/>
                        <a:pt x="2836" y="486"/>
                        <a:pt x="2831" y="503"/>
                      </a:cubicBezTo>
                      <a:cubicBezTo>
                        <a:pt x="2825" y="520"/>
                        <a:pt x="2819" y="539"/>
                        <a:pt x="2819" y="559"/>
                      </a:cubicBezTo>
                      <a:cubicBezTo>
                        <a:pt x="2819" y="582"/>
                        <a:pt x="2824" y="601"/>
                        <a:pt x="2833" y="618"/>
                      </a:cubicBezTo>
                      <a:cubicBezTo>
                        <a:pt x="2841" y="635"/>
                        <a:pt x="2853" y="649"/>
                        <a:pt x="2870" y="664"/>
                      </a:cubicBezTo>
                      <a:cubicBezTo>
                        <a:pt x="2884" y="675"/>
                        <a:pt x="2904" y="687"/>
                        <a:pt x="2924" y="692"/>
                      </a:cubicBezTo>
                      <a:cubicBezTo>
                        <a:pt x="2943" y="698"/>
                        <a:pt x="2969" y="700"/>
                        <a:pt x="2994" y="700"/>
                      </a:cubicBezTo>
                      <a:cubicBezTo>
                        <a:pt x="3017" y="700"/>
                        <a:pt x="3039" y="697"/>
                        <a:pt x="3056" y="692"/>
                      </a:cubicBezTo>
                      <a:cubicBezTo>
                        <a:pt x="3076" y="686"/>
                        <a:pt x="3093" y="680"/>
                        <a:pt x="3107" y="672"/>
                      </a:cubicBezTo>
                      <a:cubicBezTo>
                        <a:pt x="3121" y="664"/>
                        <a:pt x="3135" y="652"/>
                        <a:pt x="3147" y="641"/>
                      </a:cubicBezTo>
                      <a:cubicBezTo>
                        <a:pt x="3158" y="630"/>
                        <a:pt x="3166" y="618"/>
                        <a:pt x="3175" y="604"/>
                      </a:cubicBezTo>
                      <a:lnTo>
                        <a:pt x="3183" y="686"/>
                      </a:lnTo>
                      <a:lnTo>
                        <a:pt x="3226" y="686"/>
                      </a:lnTo>
                      <a:lnTo>
                        <a:pt x="3226" y="339"/>
                      </a:lnTo>
                      <a:cubicBezTo>
                        <a:pt x="3226" y="314"/>
                        <a:pt x="3220" y="291"/>
                        <a:pt x="3212" y="271"/>
                      </a:cubicBezTo>
                      <a:cubicBezTo>
                        <a:pt x="3203" y="251"/>
                        <a:pt x="3189" y="235"/>
                        <a:pt x="3172" y="220"/>
                      </a:cubicBezTo>
                      <a:cubicBezTo>
                        <a:pt x="3155" y="206"/>
                        <a:pt x="3135" y="195"/>
                        <a:pt x="3113" y="189"/>
                      </a:cubicBezTo>
                      <a:cubicBezTo>
                        <a:pt x="3090" y="181"/>
                        <a:pt x="3062" y="178"/>
                        <a:pt x="3034" y="178"/>
                      </a:cubicBezTo>
                      <a:cubicBezTo>
                        <a:pt x="3006" y="178"/>
                        <a:pt x="2980" y="181"/>
                        <a:pt x="2955" y="189"/>
                      </a:cubicBezTo>
                      <a:cubicBezTo>
                        <a:pt x="2932" y="195"/>
                        <a:pt x="2910" y="206"/>
                        <a:pt x="2893" y="218"/>
                      </a:cubicBezTo>
                      <a:cubicBezTo>
                        <a:pt x="2876" y="229"/>
                        <a:pt x="2861" y="246"/>
                        <a:pt x="2850" y="263"/>
                      </a:cubicBezTo>
                      <a:cubicBezTo>
                        <a:pt x="2838" y="280"/>
                        <a:pt x="2833" y="299"/>
                        <a:pt x="2831" y="322"/>
                      </a:cubicBezTo>
                      <a:lnTo>
                        <a:pt x="2893" y="322"/>
                      </a:lnTo>
                      <a:lnTo>
                        <a:pt x="2893" y="319"/>
                      </a:lnTo>
                      <a:close/>
                      <a:moveTo>
                        <a:pt x="3429" y="424"/>
                      </a:moveTo>
                      <a:lnTo>
                        <a:pt x="3708" y="686"/>
                      </a:lnTo>
                      <a:lnTo>
                        <a:pt x="3782" y="686"/>
                      </a:lnTo>
                      <a:lnTo>
                        <a:pt x="3482" y="407"/>
                      </a:lnTo>
                      <a:lnTo>
                        <a:pt x="3748" y="189"/>
                      </a:lnTo>
                      <a:lnTo>
                        <a:pt x="3677" y="189"/>
                      </a:lnTo>
                      <a:lnTo>
                        <a:pt x="3429" y="393"/>
                      </a:lnTo>
                      <a:lnTo>
                        <a:pt x="3429" y="0"/>
                      </a:lnTo>
                      <a:lnTo>
                        <a:pt x="3375" y="0"/>
                      </a:lnTo>
                      <a:lnTo>
                        <a:pt x="3375" y="686"/>
                      </a:lnTo>
                      <a:lnTo>
                        <a:pt x="3429" y="686"/>
                      </a:lnTo>
                      <a:lnTo>
                        <a:pt x="3429" y="424"/>
                      </a:lnTo>
                      <a:close/>
                      <a:moveTo>
                        <a:pt x="4103" y="229"/>
                      </a:moveTo>
                      <a:cubicBezTo>
                        <a:pt x="4123" y="237"/>
                        <a:pt x="4143" y="249"/>
                        <a:pt x="4160" y="266"/>
                      </a:cubicBezTo>
                      <a:cubicBezTo>
                        <a:pt x="4177" y="283"/>
                        <a:pt x="4188" y="299"/>
                        <a:pt x="4199" y="325"/>
                      </a:cubicBezTo>
                      <a:cubicBezTo>
                        <a:pt x="4208" y="347"/>
                        <a:pt x="4213" y="376"/>
                        <a:pt x="4216" y="410"/>
                      </a:cubicBezTo>
                      <a:lnTo>
                        <a:pt x="3858" y="410"/>
                      </a:lnTo>
                      <a:cubicBezTo>
                        <a:pt x="3863" y="347"/>
                        <a:pt x="3883" y="299"/>
                        <a:pt x="3917" y="268"/>
                      </a:cubicBezTo>
                      <a:cubicBezTo>
                        <a:pt x="3948" y="235"/>
                        <a:pt x="3988" y="218"/>
                        <a:pt x="4036" y="218"/>
                      </a:cubicBezTo>
                      <a:cubicBezTo>
                        <a:pt x="4058" y="218"/>
                        <a:pt x="4081" y="220"/>
                        <a:pt x="4103" y="229"/>
                      </a:cubicBezTo>
                      <a:close/>
                      <a:moveTo>
                        <a:pt x="4205" y="551"/>
                      </a:moveTo>
                      <a:cubicBezTo>
                        <a:pt x="4194" y="584"/>
                        <a:pt x="4176" y="611"/>
                        <a:pt x="4148" y="630"/>
                      </a:cubicBezTo>
                      <a:cubicBezTo>
                        <a:pt x="4119" y="650"/>
                        <a:pt x="4086" y="658"/>
                        <a:pt x="4047" y="658"/>
                      </a:cubicBezTo>
                      <a:cubicBezTo>
                        <a:pt x="4021" y="658"/>
                        <a:pt x="3996" y="655"/>
                        <a:pt x="3974" y="647"/>
                      </a:cubicBezTo>
                      <a:cubicBezTo>
                        <a:pt x="3951" y="638"/>
                        <a:pt x="3931" y="627"/>
                        <a:pt x="3914" y="610"/>
                      </a:cubicBezTo>
                      <a:cubicBezTo>
                        <a:pt x="3897" y="593"/>
                        <a:pt x="3883" y="570"/>
                        <a:pt x="3872" y="545"/>
                      </a:cubicBezTo>
                      <a:cubicBezTo>
                        <a:pt x="3861" y="520"/>
                        <a:pt x="3855" y="489"/>
                        <a:pt x="3855" y="452"/>
                      </a:cubicBezTo>
                      <a:lnTo>
                        <a:pt x="4270" y="452"/>
                      </a:lnTo>
                      <a:cubicBezTo>
                        <a:pt x="4270" y="404"/>
                        <a:pt x="4264" y="364"/>
                        <a:pt x="4253" y="331"/>
                      </a:cubicBezTo>
                      <a:cubicBezTo>
                        <a:pt x="4242" y="297"/>
                        <a:pt x="4225" y="269"/>
                        <a:pt x="4205" y="246"/>
                      </a:cubicBezTo>
                      <a:cubicBezTo>
                        <a:pt x="4185" y="224"/>
                        <a:pt x="4160" y="206"/>
                        <a:pt x="4132" y="195"/>
                      </a:cubicBezTo>
                      <a:cubicBezTo>
                        <a:pt x="4103" y="184"/>
                        <a:pt x="4071" y="178"/>
                        <a:pt x="4038" y="178"/>
                      </a:cubicBezTo>
                      <a:cubicBezTo>
                        <a:pt x="4004" y="178"/>
                        <a:pt x="3974" y="184"/>
                        <a:pt x="3945" y="195"/>
                      </a:cubicBezTo>
                      <a:cubicBezTo>
                        <a:pt x="3917" y="206"/>
                        <a:pt x="3891" y="224"/>
                        <a:pt x="3869" y="246"/>
                      </a:cubicBezTo>
                      <a:cubicBezTo>
                        <a:pt x="3846" y="269"/>
                        <a:pt x="3832" y="297"/>
                        <a:pt x="3818" y="328"/>
                      </a:cubicBezTo>
                      <a:cubicBezTo>
                        <a:pt x="3807" y="359"/>
                        <a:pt x="3801" y="399"/>
                        <a:pt x="3801" y="441"/>
                      </a:cubicBezTo>
                      <a:cubicBezTo>
                        <a:pt x="3801" y="484"/>
                        <a:pt x="3807" y="520"/>
                        <a:pt x="3821" y="553"/>
                      </a:cubicBezTo>
                      <a:cubicBezTo>
                        <a:pt x="3832" y="584"/>
                        <a:pt x="3852" y="613"/>
                        <a:pt x="3872" y="635"/>
                      </a:cubicBezTo>
                      <a:cubicBezTo>
                        <a:pt x="3895" y="658"/>
                        <a:pt x="3920" y="675"/>
                        <a:pt x="3948" y="686"/>
                      </a:cubicBezTo>
                      <a:cubicBezTo>
                        <a:pt x="3979" y="697"/>
                        <a:pt x="4010" y="703"/>
                        <a:pt x="4044" y="703"/>
                      </a:cubicBezTo>
                      <a:cubicBezTo>
                        <a:pt x="4101" y="703"/>
                        <a:pt x="4146" y="689"/>
                        <a:pt x="4182" y="664"/>
                      </a:cubicBezTo>
                      <a:cubicBezTo>
                        <a:pt x="4219" y="635"/>
                        <a:pt x="4244" y="601"/>
                        <a:pt x="4259" y="553"/>
                      </a:cubicBezTo>
                      <a:lnTo>
                        <a:pt x="4205" y="553"/>
                      </a:lnTo>
                      <a:lnTo>
                        <a:pt x="4205" y="551"/>
                      </a:lnTo>
                      <a:close/>
                    </a:path>
                  </a:pathLst>
                </a:custGeom>
                <a:solidFill>
                  <a:schemeClr val="bg2"/>
                </a:solidFill>
                <a:ln w="9525" cap="flat">
                  <a:noFill/>
                  <a:bevel/>
                  <a:headEnd/>
                  <a:tailEnd/>
                </a:ln>
                <a:effectLst/>
              </p:spPr>
              <p:txBody>
                <a:bodyPr wrap="none" anchor="ctr"/>
                <a:lstStyle/>
                <a:p>
                  <a:endParaRPr lang="en-US"/>
                </a:p>
              </p:txBody>
            </p:sp>
            <p:sp>
              <p:nvSpPr>
                <p:cNvPr id="26" name="Freeform 2">
                  <a:extLst>
                    <a:ext uri="{FF2B5EF4-FFF2-40B4-BE49-F238E27FC236}">
                      <a16:creationId xmlns:a16="http://schemas.microsoft.com/office/drawing/2014/main" id="{6651A37C-ACA5-4078-9A0C-915A3555B0E9}"/>
                    </a:ext>
                  </a:extLst>
                </p:cNvPr>
                <p:cNvSpPr>
                  <a:spLocks noChangeArrowheads="1"/>
                </p:cNvSpPr>
                <p:nvPr/>
              </p:nvSpPr>
              <p:spPr bwMode="auto">
                <a:xfrm>
                  <a:off x="5184779" y="4343400"/>
                  <a:ext cx="1446213" cy="309563"/>
                </a:xfrm>
                <a:custGeom>
                  <a:avLst/>
                  <a:gdLst>
                    <a:gd name="T0" fmla="*/ 150 w 4017"/>
                    <a:gd name="T1" fmla="*/ 435 h 859"/>
                    <a:gd name="T2" fmla="*/ 266 w 4017"/>
                    <a:gd name="T3" fmla="*/ 593 h 859"/>
                    <a:gd name="T4" fmla="*/ 218 w 4017"/>
                    <a:gd name="T5" fmla="*/ 686 h 859"/>
                    <a:gd name="T6" fmla="*/ 0 w 4017"/>
                    <a:gd name="T7" fmla="*/ 189 h 859"/>
                    <a:gd name="T8" fmla="*/ 314 w 4017"/>
                    <a:gd name="T9" fmla="*/ 175 h 859"/>
                    <a:gd name="T10" fmla="*/ 545 w 4017"/>
                    <a:gd name="T11" fmla="*/ 429 h 859"/>
                    <a:gd name="T12" fmla="*/ 297 w 4017"/>
                    <a:gd name="T13" fmla="*/ 700 h 859"/>
                    <a:gd name="T14" fmla="*/ 971 w 4017"/>
                    <a:gd name="T15" fmla="*/ 565 h 859"/>
                    <a:gd name="T16" fmla="*/ 932 w 4017"/>
                    <a:gd name="T17" fmla="*/ 288 h 859"/>
                    <a:gd name="T18" fmla="*/ 802 w 4017"/>
                    <a:gd name="T19" fmla="*/ 565 h 859"/>
                    <a:gd name="T20" fmla="*/ 1155 w 4017"/>
                    <a:gd name="T21" fmla="*/ 438 h 859"/>
                    <a:gd name="T22" fmla="*/ 610 w 4017"/>
                    <a:gd name="T23" fmla="*/ 438 h 859"/>
                    <a:gd name="T24" fmla="*/ 1544 w 4017"/>
                    <a:gd name="T25" fmla="*/ 537 h 859"/>
                    <a:gd name="T26" fmla="*/ 1358 w 4017"/>
                    <a:gd name="T27" fmla="*/ 477 h 859"/>
                    <a:gd name="T28" fmla="*/ 1299 w 4017"/>
                    <a:gd name="T29" fmla="*/ 223 h 859"/>
                    <a:gd name="T30" fmla="*/ 1553 w 4017"/>
                    <a:gd name="T31" fmla="*/ 333 h 859"/>
                    <a:gd name="T32" fmla="*/ 1397 w 4017"/>
                    <a:gd name="T33" fmla="*/ 325 h 859"/>
                    <a:gd name="T34" fmla="*/ 1507 w 4017"/>
                    <a:gd name="T35" fmla="*/ 384 h 859"/>
                    <a:gd name="T36" fmla="*/ 1713 w 4017"/>
                    <a:gd name="T37" fmla="*/ 542 h 859"/>
                    <a:gd name="T38" fmla="*/ 1471 w 4017"/>
                    <a:gd name="T39" fmla="*/ 709 h 859"/>
                    <a:gd name="T40" fmla="*/ 1409 w 4017"/>
                    <a:gd name="T41" fmla="*/ 593 h 859"/>
                    <a:gd name="T42" fmla="*/ 2094 w 4017"/>
                    <a:gd name="T43" fmla="*/ 556 h 859"/>
                    <a:gd name="T44" fmla="*/ 1973 w 4017"/>
                    <a:gd name="T45" fmla="*/ 497 h 859"/>
                    <a:gd name="T46" fmla="*/ 1787 w 4017"/>
                    <a:gd name="T47" fmla="*/ 336 h 859"/>
                    <a:gd name="T48" fmla="*/ 2252 w 4017"/>
                    <a:gd name="T49" fmla="*/ 333 h 859"/>
                    <a:gd name="T50" fmla="*/ 1959 w 4017"/>
                    <a:gd name="T51" fmla="*/ 294 h 859"/>
                    <a:gd name="T52" fmla="*/ 1998 w 4017"/>
                    <a:gd name="T53" fmla="*/ 370 h 859"/>
                    <a:gd name="T54" fmla="*/ 2235 w 4017"/>
                    <a:gd name="T55" fmla="*/ 474 h 859"/>
                    <a:gd name="T56" fmla="*/ 2120 w 4017"/>
                    <a:gd name="T57" fmla="*/ 697 h 859"/>
                    <a:gd name="T58" fmla="*/ 1922 w 4017"/>
                    <a:gd name="T59" fmla="*/ 553 h 859"/>
                    <a:gd name="T60" fmla="*/ 2340 w 4017"/>
                    <a:gd name="T61" fmla="*/ 189 h 859"/>
                    <a:gd name="T62" fmla="*/ 2340 w 4017"/>
                    <a:gd name="T63" fmla="*/ 189 h 859"/>
                    <a:gd name="T64" fmla="*/ 2334 w 4017"/>
                    <a:gd name="T65" fmla="*/ 127 h 859"/>
                    <a:gd name="T66" fmla="*/ 2786 w 4017"/>
                    <a:gd name="T67" fmla="*/ 322 h 859"/>
                    <a:gd name="T68" fmla="*/ 2822 w 4017"/>
                    <a:gd name="T69" fmla="*/ 584 h 859"/>
                    <a:gd name="T70" fmla="*/ 2958 w 4017"/>
                    <a:gd name="T71" fmla="*/ 319 h 859"/>
                    <a:gd name="T72" fmla="*/ 2828 w 4017"/>
                    <a:gd name="T73" fmla="*/ 192 h 859"/>
                    <a:gd name="T74" fmla="*/ 3133 w 4017"/>
                    <a:gd name="T75" fmla="*/ 311 h 859"/>
                    <a:gd name="T76" fmla="*/ 3003 w 4017"/>
                    <a:gd name="T77" fmla="*/ 680 h 859"/>
                    <a:gd name="T78" fmla="*/ 2732 w 4017"/>
                    <a:gd name="T79" fmla="*/ 683 h 859"/>
                    <a:gd name="T80" fmla="*/ 3234 w 4017"/>
                    <a:gd name="T81" fmla="*/ 686 h 859"/>
                    <a:gd name="T82" fmla="*/ 3669 w 4017"/>
                    <a:gd name="T83" fmla="*/ 299 h 859"/>
                    <a:gd name="T84" fmla="*/ 3742 w 4017"/>
                    <a:gd name="T85" fmla="*/ 271 h 859"/>
                    <a:gd name="T86" fmla="*/ 4008 w 4017"/>
                    <a:gd name="T87" fmla="*/ 545 h 859"/>
                    <a:gd name="T88" fmla="*/ 3852 w 4017"/>
                    <a:gd name="T89" fmla="*/ 689 h 859"/>
                    <a:gd name="T90" fmla="*/ 3500 w 4017"/>
                    <a:gd name="T91" fmla="*/ 551 h 859"/>
                    <a:gd name="T92" fmla="*/ 3638 w 4017"/>
                    <a:gd name="T93" fmla="*/ 195 h 859"/>
                    <a:gd name="T94" fmla="*/ 3996 w 4017"/>
                    <a:gd name="T95" fmla="*/ 345 h 859"/>
                    <a:gd name="T96" fmla="*/ 3762 w 4017"/>
                    <a:gd name="T97" fmla="*/ 599 h 859"/>
                    <a:gd name="T98" fmla="*/ 3979 w 4017"/>
                    <a:gd name="T99" fmla="*/ 60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17" h="859">
                      <a:moveTo>
                        <a:pt x="356" y="319"/>
                      </a:moveTo>
                      <a:cubicBezTo>
                        <a:pt x="336" y="297"/>
                        <a:pt x="308" y="285"/>
                        <a:pt x="271" y="285"/>
                      </a:cubicBezTo>
                      <a:cubicBezTo>
                        <a:pt x="237" y="285"/>
                        <a:pt x="206" y="297"/>
                        <a:pt x="184" y="322"/>
                      </a:cubicBezTo>
                      <a:cubicBezTo>
                        <a:pt x="161" y="347"/>
                        <a:pt x="150" y="384"/>
                        <a:pt x="150" y="435"/>
                      </a:cubicBezTo>
                      <a:cubicBezTo>
                        <a:pt x="150" y="466"/>
                        <a:pt x="153" y="491"/>
                        <a:pt x="158" y="511"/>
                      </a:cubicBezTo>
                      <a:cubicBezTo>
                        <a:pt x="164" y="531"/>
                        <a:pt x="173" y="548"/>
                        <a:pt x="184" y="559"/>
                      </a:cubicBezTo>
                      <a:cubicBezTo>
                        <a:pt x="195" y="570"/>
                        <a:pt x="206" y="582"/>
                        <a:pt x="221" y="584"/>
                      </a:cubicBezTo>
                      <a:cubicBezTo>
                        <a:pt x="235" y="590"/>
                        <a:pt x="249" y="593"/>
                        <a:pt x="266" y="593"/>
                      </a:cubicBezTo>
                      <a:cubicBezTo>
                        <a:pt x="300" y="593"/>
                        <a:pt x="331" y="579"/>
                        <a:pt x="353" y="553"/>
                      </a:cubicBezTo>
                      <a:cubicBezTo>
                        <a:pt x="376" y="528"/>
                        <a:pt x="387" y="489"/>
                        <a:pt x="387" y="435"/>
                      </a:cubicBezTo>
                      <a:cubicBezTo>
                        <a:pt x="387" y="381"/>
                        <a:pt x="376" y="342"/>
                        <a:pt x="356" y="319"/>
                      </a:cubicBezTo>
                      <a:close/>
                      <a:moveTo>
                        <a:pt x="218" y="686"/>
                      </a:moveTo>
                      <a:cubicBezTo>
                        <a:pt x="192" y="675"/>
                        <a:pt x="173" y="661"/>
                        <a:pt x="156" y="644"/>
                      </a:cubicBezTo>
                      <a:lnTo>
                        <a:pt x="156" y="858"/>
                      </a:lnTo>
                      <a:lnTo>
                        <a:pt x="0" y="858"/>
                      </a:lnTo>
                      <a:lnTo>
                        <a:pt x="0" y="189"/>
                      </a:lnTo>
                      <a:lnTo>
                        <a:pt x="119" y="189"/>
                      </a:lnTo>
                      <a:lnTo>
                        <a:pt x="150" y="246"/>
                      </a:lnTo>
                      <a:cubicBezTo>
                        <a:pt x="170" y="226"/>
                        <a:pt x="192" y="209"/>
                        <a:pt x="218" y="195"/>
                      </a:cubicBezTo>
                      <a:cubicBezTo>
                        <a:pt x="246" y="181"/>
                        <a:pt x="277" y="175"/>
                        <a:pt x="314" y="175"/>
                      </a:cubicBezTo>
                      <a:cubicBezTo>
                        <a:pt x="348" y="175"/>
                        <a:pt x="379" y="181"/>
                        <a:pt x="407" y="192"/>
                      </a:cubicBezTo>
                      <a:cubicBezTo>
                        <a:pt x="435" y="204"/>
                        <a:pt x="460" y="220"/>
                        <a:pt x="480" y="240"/>
                      </a:cubicBezTo>
                      <a:cubicBezTo>
                        <a:pt x="500" y="263"/>
                        <a:pt x="517" y="288"/>
                        <a:pt x="528" y="319"/>
                      </a:cubicBezTo>
                      <a:cubicBezTo>
                        <a:pt x="539" y="350"/>
                        <a:pt x="545" y="387"/>
                        <a:pt x="545" y="429"/>
                      </a:cubicBezTo>
                      <a:cubicBezTo>
                        <a:pt x="545" y="472"/>
                        <a:pt x="539" y="511"/>
                        <a:pt x="525" y="542"/>
                      </a:cubicBezTo>
                      <a:cubicBezTo>
                        <a:pt x="514" y="576"/>
                        <a:pt x="494" y="604"/>
                        <a:pt x="474" y="627"/>
                      </a:cubicBezTo>
                      <a:cubicBezTo>
                        <a:pt x="452" y="649"/>
                        <a:pt x="427" y="666"/>
                        <a:pt x="398" y="680"/>
                      </a:cubicBezTo>
                      <a:cubicBezTo>
                        <a:pt x="370" y="695"/>
                        <a:pt x="331" y="700"/>
                        <a:pt x="297" y="700"/>
                      </a:cubicBezTo>
                      <a:cubicBezTo>
                        <a:pt x="268" y="700"/>
                        <a:pt x="243" y="695"/>
                        <a:pt x="218" y="686"/>
                      </a:cubicBezTo>
                      <a:close/>
                      <a:moveTo>
                        <a:pt x="802" y="565"/>
                      </a:moveTo>
                      <a:cubicBezTo>
                        <a:pt x="822" y="590"/>
                        <a:pt x="851" y="601"/>
                        <a:pt x="887" y="601"/>
                      </a:cubicBezTo>
                      <a:cubicBezTo>
                        <a:pt x="924" y="601"/>
                        <a:pt x="951" y="590"/>
                        <a:pt x="971" y="565"/>
                      </a:cubicBezTo>
                      <a:cubicBezTo>
                        <a:pt x="991" y="539"/>
                        <a:pt x="999" y="497"/>
                        <a:pt x="999" y="438"/>
                      </a:cubicBezTo>
                      <a:cubicBezTo>
                        <a:pt x="999" y="407"/>
                        <a:pt x="997" y="382"/>
                        <a:pt x="991" y="362"/>
                      </a:cubicBezTo>
                      <a:cubicBezTo>
                        <a:pt x="985" y="343"/>
                        <a:pt x="980" y="325"/>
                        <a:pt x="968" y="314"/>
                      </a:cubicBezTo>
                      <a:cubicBezTo>
                        <a:pt x="960" y="302"/>
                        <a:pt x="946" y="291"/>
                        <a:pt x="932" y="288"/>
                      </a:cubicBezTo>
                      <a:cubicBezTo>
                        <a:pt x="918" y="283"/>
                        <a:pt x="901" y="280"/>
                        <a:pt x="884" y="280"/>
                      </a:cubicBezTo>
                      <a:cubicBezTo>
                        <a:pt x="844" y="280"/>
                        <a:pt x="816" y="291"/>
                        <a:pt x="799" y="316"/>
                      </a:cubicBezTo>
                      <a:cubicBezTo>
                        <a:pt x="779" y="336"/>
                        <a:pt x="771" y="378"/>
                        <a:pt x="771" y="438"/>
                      </a:cubicBezTo>
                      <a:cubicBezTo>
                        <a:pt x="771" y="497"/>
                        <a:pt x="782" y="539"/>
                        <a:pt x="802" y="565"/>
                      </a:cubicBezTo>
                      <a:close/>
                      <a:moveTo>
                        <a:pt x="681" y="243"/>
                      </a:moveTo>
                      <a:cubicBezTo>
                        <a:pt x="728" y="198"/>
                        <a:pt x="796" y="178"/>
                        <a:pt x="884" y="178"/>
                      </a:cubicBezTo>
                      <a:cubicBezTo>
                        <a:pt x="971" y="178"/>
                        <a:pt x="1039" y="201"/>
                        <a:pt x="1084" y="243"/>
                      </a:cubicBezTo>
                      <a:cubicBezTo>
                        <a:pt x="1132" y="288"/>
                        <a:pt x="1155" y="353"/>
                        <a:pt x="1155" y="438"/>
                      </a:cubicBezTo>
                      <a:cubicBezTo>
                        <a:pt x="1155" y="525"/>
                        <a:pt x="1132" y="590"/>
                        <a:pt x="1084" y="635"/>
                      </a:cubicBezTo>
                      <a:cubicBezTo>
                        <a:pt x="1036" y="680"/>
                        <a:pt x="968" y="703"/>
                        <a:pt x="881" y="703"/>
                      </a:cubicBezTo>
                      <a:cubicBezTo>
                        <a:pt x="796" y="703"/>
                        <a:pt x="728" y="680"/>
                        <a:pt x="681" y="635"/>
                      </a:cubicBezTo>
                      <a:cubicBezTo>
                        <a:pt x="635" y="590"/>
                        <a:pt x="610" y="523"/>
                        <a:pt x="610" y="438"/>
                      </a:cubicBezTo>
                      <a:cubicBezTo>
                        <a:pt x="610" y="354"/>
                        <a:pt x="633" y="288"/>
                        <a:pt x="681" y="243"/>
                      </a:cubicBezTo>
                      <a:close/>
                      <a:moveTo>
                        <a:pt x="1530" y="590"/>
                      </a:moveTo>
                      <a:cubicBezTo>
                        <a:pt x="1544" y="582"/>
                        <a:pt x="1550" y="570"/>
                        <a:pt x="1550" y="556"/>
                      </a:cubicBezTo>
                      <a:cubicBezTo>
                        <a:pt x="1550" y="548"/>
                        <a:pt x="1547" y="542"/>
                        <a:pt x="1544" y="537"/>
                      </a:cubicBezTo>
                      <a:cubicBezTo>
                        <a:pt x="1541" y="531"/>
                        <a:pt x="1533" y="525"/>
                        <a:pt x="1524" y="522"/>
                      </a:cubicBezTo>
                      <a:cubicBezTo>
                        <a:pt x="1516" y="520"/>
                        <a:pt x="1502" y="514"/>
                        <a:pt x="1488" y="511"/>
                      </a:cubicBezTo>
                      <a:cubicBezTo>
                        <a:pt x="1471" y="508"/>
                        <a:pt x="1454" y="503"/>
                        <a:pt x="1428" y="497"/>
                      </a:cubicBezTo>
                      <a:cubicBezTo>
                        <a:pt x="1403" y="491"/>
                        <a:pt x="1381" y="486"/>
                        <a:pt x="1358" y="477"/>
                      </a:cubicBezTo>
                      <a:cubicBezTo>
                        <a:pt x="1336" y="469"/>
                        <a:pt x="1315" y="460"/>
                        <a:pt x="1299" y="446"/>
                      </a:cubicBezTo>
                      <a:cubicBezTo>
                        <a:pt x="1282" y="435"/>
                        <a:pt x="1267" y="418"/>
                        <a:pt x="1256" y="401"/>
                      </a:cubicBezTo>
                      <a:cubicBezTo>
                        <a:pt x="1245" y="384"/>
                        <a:pt x="1242" y="362"/>
                        <a:pt x="1242" y="336"/>
                      </a:cubicBezTo>
                      <a:cubicBezTo>
                        <a:pt x="1242" y="291"/>
                        <a:pt x="1263" y="251"/>
                        <a:pt x="1299" y="223"/>
                      </a:cubicBezTo>
                      <a:cubicBezTo>
                        <a:pt x="1336" y="195"/>
                        <a:pt x="1394" y="181"/>
                        <a:pt x="1471" y="181"/>
                      </a:cubicBezTo>
                      <a:cubicBezTo>
                        <a:pt x="1538" y="181"/>
                        <a:pt x="1592" y="195"/>
                        <a:pt x="1632" y="220"/>
                      </a:cubicBezTo>
                      <a:cubicBezTo>
                        <a:pt x="1674" y="246"/>
                        <a:pt x="1696" y="285"/>
                        <a:pt x="1708" y="333"/>
                      </a:cubicBezTo>
                      <a:lnTo>
                        <a:pt x="1553" y="333"/>
                      </a:lnTo>
                      <a:cubicBezTo>
                        <a:pt x="1550" y="319"/>
                        <a:pt x="1541" y="306"/>
                        <a:pt x="1527" y="297"/>
                      </a:cubicBezTo>
                      <a:cubicBezTo>
                        <a:pt x="1513" y="289"/>
                        <a:pt x="1493" y="283"/>
                        <a:pt x="1468" y="283"/>
                      </a:cubicBezTo>
                      <a:cubicBezTo>
                        <a:pt x="1442" y="283"/>
                        <a:pt x="1426" y="285"/>
                        <a:pt x="1414" y="294"/>
                      </a:cubicBezTo>
                      <a:cubicBezTo>
                        <a:pt x="1403" y="302"/>
                        <a:pt x="1397" y="311"/>
                        <a:pt x="1397" y="325"/>
                      </a:cubicBezTo>
                      <a:cubicBezTo>
                        <a:pt x="1397" y="331"/>
                        <a:pt x="1400" y="339"/>
                        <a:pt x="1403" y="342"/>
                      </a:cubicBezTo>
                      <a:cubicBezTo>
                        <a:pt x="1406" y="347"/>
                        <a:pt x="1412" y="350"/>
                        <a:pt x="1420" y="356"/>
                      </a:cubicBezTo>
                      <a:cubicBezTo>
                        <a:pt x="1429" y="362"/>
                        <a:pt x="1440" y="364"/>
                        <a:pt x="1454" y="370"/>
                      </a:cubicBezTo>
                      <a:cubicBezTo>
                        <a:pt x="1468" y="373"/>
                        <a:pt x="1485" y="378"/>
                        <a:pt x="1507" y="384"/>
                      </a:cubicBezTo>
                      <a:cubicBezTo>
                        <a:pt x="1530" y="390"/>
                        <a:pt x="1555" y="395"/>
                        <a:pt x="1581" y="404"/>
                      </a:cubicBezTo>
                      <a:cubicBezTo>
                        <a:pt x="1606" y="410"/>
                        <a:pt x="1627" y="421"/>
                        <a:pt x="1646" y="432"/>
                      </a:cubicBezTo>
                      <a:cubicBezTo>
                        <a:pt x="1666" y="443"/>
                        <a:pt x="1683" y="458"/>
                        <a:pt x="1694" y="474"/>
                      </a:cubicBezTo>
                      <a:cubicBezTo>
                        <a:pt x="1706" y="491"/>
                        <a:pt x="1713" y="514"/>
                        <a:pt x="1713" y="542"/>
                      </a:cubicBezTo>
                      <a:cubicBezTo>
                        <a:pt x="1713" y="568"/>
                        <a:pt x="1708" y="590"/>
                        <a:pt x="1699" y="610"/>
                      </a:cubicBezTo>
                      <a:cubicBezTo>
                        <a:pt x="1688" y="630"/>
                        <a:pt x="1674" y="647"/>
                        <a:pt x="1654" y="664"/>
                      </a:cubicBezTo>
                      <a:cubicBezTo>
                        <a:pt x="1634" y="678"/>
                        <a:pt x="1609" y="689"/>
                        <a:pt x="1578" y="697"/>
                      </a:cubicBezTo>
                      <a:cubicBezTo>
                        <a:pt x="1547" y="706"/>
                        <a:pt x="1513" y="709"/>
                        <a:pt x="1471" y="709"/>
                      </a:cubicBezTo>
                      <a:cubicBezTo>
                        <a:pt x="1400" y="709"/>
                        <a:pt x="1344" y="695"/>
                        <a:pt x="1301" y="666"/>
                      </a:cubicBezTo>
                      <a:cubicBezTo>
                        <a:pt x="1259" y="638"/>
                        <a:pt x="1234" y="601"/>
                        <a:pt x="1225" y="553"/>
                      </a:cubicBezTo>
                      <a:lnTo>
                        <a:pt x="1380" y="553"/>
                      </a:lnTo>
                      <a:cubicBezTo>
                        <a:pt x="1383" y="570"/>
                        <a:pt x="1394" y="582"/>
                        <a:pt x="1409" y="593"/>
                      </a:cubicBezTo>
                      <a:cubicBezTo>
                        <a:pt x="1420" y="596"/>
                        <a:pt x="1440" y="601"/>
                        <a:pt x="1462" y="601"/>
                      </a:cubicBezTo>
                      <a:cubicBezTo>
                        <a:pt x="1493" y="601"/>
                        <a:pt x="1516" y="599"/>
                        <a:pt x="1530" y="590"/>
                      </a:cubicBezTo>
                      <a:close/>
                      <a:moveTo>
                        <a:pt x="2075" y="590"/>
                      </a:moveTo>
                      <a:cubicBezTo>
                        <a:pt x="2089" y="582"/>
                        <a:pt x="2094" y="570"/>
                        <a:pt x="2094" y="556"/>
                      </a:cubicBezTo>
                      <a:cubicBezTo>
                        <a:pt x="2094" y="548"/>
                        <a:pt x="2092" y="542"/>
                        <a:pt x="2089" y="537"/>
                      </a:cubicBezTo>
                      <a:cubicBezTo>
                        <a:pt x="2086" y="531"/>
                        <a:pt x="2078" y="525"/>
                        <a:pt x="2069" y="522"/>
                      </a:cubicBezTo>
                      <a:cubicBezTo>
                        <a:pt x="2061" y="520"/>
                        <a:pt x="2046" y="514"/>
                        <a:pt x="2032" y="511"/>
                      </a:cubicBezTo>
                      <a:cubicBezTo>
                        <a:pt x="2015" y="508"/>
                        <a:pt x="1998" y="503"/>
                        <a:pt x="1973" y="497"/>
                      </a:cubicBezTo>
                      <a:cubicBezTo>
                        <a:pt x="1948" y="491"/>
                        <a:pt x="1925" y="486"/>
                        <a:pt x="1902" y="477"/>
                      </a:cubicBezTo>
                      <a:cubicBezTo>
                        <a:pt x="1880" y="469"/>
                        <a:pt x="1860" y="460"/>
                        <a:pt x="1843" y="446"/>
                      </a:cubicBezTo>
                      <a:cubicBezTo>
                        <a:pt x="1826" y="435"/>
                        <a:pt x="1812" y="418"/>
                        <a:pt x="1801" y="401"/>
                      </a:cubicBezTo>
                      <a:cubicBezTo>
                        <a:pt x="1790" y="384"/>
                        <a:pt x="1787" y="362"/>
                        <a:pt x="1787" y="336"/>
                      </a:cubicBezTo>
                      <a:cubicBezTo>
                        <a:pt x="1787" y="291"/>
                        <a:pt x="1807" y="251"/>
                        <a:pt x="1843" y="223"/>
                      </a:cubicBezTo>
                      <a:cubicBezTo>
                        <a:pt x="1880" y="195"/>
                        <a:pt x="1939" y="181"/>
                        <a:pt x="2015" y="181"/>
                      </a:cubicBezTo>
                      <a:cubicBezTo>
                        <a:pt x="2083" y="181"/>
                        <a:pt x="2137" y="195"/>
                        <a:pt x="2176" y="220"/>
                      </a:cubicBezTo>
                      <a:cubicBezTo>
                        <a:pt x="2219" y="246"/>
                        <a:pt x="2241" y="285"/>
                        <a:pt x="2252" y="333"/>
                      </a:cubicBezTo>
                      <a:lnTo>
                        <a:pt x="2097" y="333"/>
                      </a:lnTo>
                      <a:cubicBezTo>
                        <a:pt x="2094" y="319"/>
                        <a:pt x="2086" y="306"/>
                        <a:pt x="2072" y="297"/>
                      </a:cubicBezTo>
                      <a:cubicBezTo>
                        <a:pt x="2058" y="289"/>
                        <a:pt x="2038" y="283"/>
                        <a:pt x="2013" y="283"/>
                      </a:cubicBezTo>
                      <a:cubicBezTo>
                        <a:pt x="1987" y="283"/>
                        <a:pt x="1970" y="285"/>
                        <a:pt x="1959" y="294"/>
                      </a:cubicBezTo>
                      <a:cubicBezTo>
                        <a:pt x="1948" y="302"/>
                        <a:pt x="1942" y="311"/>
                        <a:pt x="1942" y="325"/>
                      </a:cubicBezTo>
                      <a:cubicBezTo>
                        <a:pt x="1942" y="331"/>
                        <a:pt x="1945" y="339"/>
                        <a:pt x="1948" y="342"/>
                      </a:cubicBezTo>
                      <a:cubicBezTo>
                        <a:pt x="1950" y="347"/>
                        <a:pt x="1957" y="350"/>
                        <a:pt x="1965" y="356"/>
                      </a:cubicBezTo>
                      <a:cubicBezTo>
                        <a:pt x="1974" y="362"/>
                        <a:pt x="1984" y="364"/>
                        <a:pt x="1998" y="370"/>
                      </a:cubicBezTo>
                      <a:cubicBezTo>
                        <a:pt x="2013" y="373"/>
                        <a:pt x="2029" y="378"/>
                        <a:pt x="2052" y="384"/>
                      </a:cubicBezTo>
                      <a:cubicBezTo>
                        <a:pt x="2075" y="390"/>
                        <a:pt x="2100" y="395"/>
                        <a:pt x="2123" y="404"/>
                      </a:cubicBezTo>
                      <a:cubicBezTo>
                        <a:pt x="2148" y="410"/>
                        <a:pt x="2168" y="421"/>
                        <a:pt x="2187" y="432"/>
                      </a:cubicBezTo>
                      <a:cubicBezTo>
                        <a:pt x="2207" y="443"/>
                        <a:pt x="2224" y="458"/>
                        <a:pt x="2235" y="474"/>
                      </a:cubicBezTo>
                      <a:cubicBezTo>
                        <a:pt x="2247" y="491"/>
                        <a:pt x="2255" y="514"/>
                        <a:pt x="2255" y="542"/>
                      </a:cubicBezTo>
                      <a:cubicBezTo>
                        <a:pt x="2255" y="568"/>
                        <a:pt x="2250" y="590"/>
                        <a:pt x="2241" y="610"/>
                      </a:cubicBezTo>
                      <a:cubicBezTo>
                        <a:pt x="2230" y="630"/>
                        <a:pt x="2216" y="647"/>
                        <a:pt x="2196" y="664"/>
                      </a:cubicBezTo>
                      <a:cubicBezTo>
                        <a:pt x="2176" y="678"/>
                        <a:pt x="2151" y="689"/>
                        <a:pt x="2120" y="697"/>
                      </a:cubicBezTo>
                      <a:cubicBezTo>
                        <a:pt x="2089" y="706"/>
                        <a:pt x="2055" y="709"/>
                        <a:pt x="2013" y="709"/>
                      </a:cubicBezTo>
                      <a:cubicBezTo>
                        <a:pt x="1942" y="709"/>
                        <a:pt x="1886" y="695"/>
                        <a:pt x="1843" y="666"/>
                      </a:cubicBezTo>
                      <a:cubicBezTo>
                        <a:pt x="1801" y="638"/>
                        <a:pt x="1775" y="601"/>
                        <a:pt x="1767" y="553"/>
                      </a:cubicBezTo>
                      <a:lnTo>
                        <a:pt x="1922" y="553"/>
                      </a:lnTo>
                      <a:cubicBezTo>
                        <a:pt x="1925" y="570"/>
                        <a:pt x="1936" y="582"/>
                        <a:pt x="1950" y="593"/>
                      </a:cubicBezTo>
                      <a:cubicBezTo>
                        <a:pt x="1962" y="596"/>
                        <a:pt x="1981" y="601"/>
                        <a:pt x="2007" y="601"/>
                      </a:cubicBezTo>
                      <a:cubicBezTo>
                        <a:pt x="2038" y="601"/>
                        <a:pt x="2060" y="599"/>
                        <a:pt x="2075" y="590"/>
                      </a:cubicBezTo>
                      <a:close/>
                      <a:moveTo>
                        <a:pt x="2340" y="189"/>
                      </a:moveTo>
                      <a:lnTo>
                        <a:pt x="2495" y="189"/>
                      </a:lnTo>
                      <a:lnTo>
                        <a:pt x="2495" y="686"/>
                      </a:lnTo>
                      <a:lnTo>
                        <a:pt x="2340" y="686"/>
                      </a:lnTo>
                      <a:lnTo>
                        <a:pt x="2340" y="189"/>
                      </a:lnTo>
                      <a:close/>
                      <a:moveTo>
                        <a:pt x="2334" y="0"/>
                      </a:moveTo>
                      <a:lnTo>
                        <a:pt x="2501" y="0"/>
                      </a:lnTo>
                      <a:lnTo>
                        <a:pt x="2501" y="127"/>
                      </a:lnTo>
                      <a:lnTo>
                        <a:pt x="2334" y="127"/>
                      </a:lnTo>
                      <a:lnTo>
                        <a:pt x="2334" y="0"/>
                      </a:lnTo>
                      <a:close/>
                      <a:moveTo>
                        <a:pt x="2958" y="319"/>
                      </a:moveTo>
                      <a:cubicBezTo>
                        <a:pt x="2938" y="297"/>
                        <a:pt x="2910" y="285"/>
                        <a:pt x="2873" y="285"/>
                      </a:cubicBezTo>
                      <a:cubicBezTo>
                        <a:pt x="2839" y="285"/>
                        <a:pt x="2808" y="297"/>
                        <a:pt x="2786" y="322"/>
                      </a:cubicBezTo>
                      <a:cubicBezTo>
                        <a:pt x="2763" y="347"/>
                        <a:pt x="2752" y="384"/>
                        <a:pt x="2752" y="435"/>
                      </a:cubicBezTo>
                      <a:cubicBezTo>
                        <a:pt x="2752" y="466"/>
                        <a:pt x="2755" y="491"/>
                        <a:pt x="2760" y="511"/>
                      </a:cubicBezTo>
                      <a:cubicBezTo>
                        <a:pt x="2766" y="531"/>
                        <a:pt x="2775" y="548"/>
                        <a:pt x="2786" y="559"/>
                      </a:cubicBezTo>
                      <a:cubicBezTo>
                        <a:pt x="2798" y="570"/>
                        <a:pt x="2808" y="582"/>
                        <a:pt x="2822" y="584"/>
                      </a:cubicBezTo>
                      <a:cubicBezTo>
                        <a:pt x="2837" y="590"/>
                        <a:pt x="2851" y="593"/>
                        <a:pt x="2868" y="593"/>
                      </a:cubicBezTo>
                      <a:cubicBezTo>
                        <a:pt x="2901" y="593"/>
                        <a:pt x="2933" y="579"/>
                        <a:pt x="2955" y="553"/>
                      </a:cubicBezTo>
                      <a:cubicBezTo>
                        <a:pt x="2978" y="528"/>
                        <a:pt x="2989" y="489"/>
                        <a:pt x="2989" y="435"/>
                      </a:cubicBezTo>
                      <a:cubicBezTo>
                        <a:pt x="2989" y="381"/>
                        <a:pt x="2978" y="342"/>
                        <a:pt x="2958" y="319"/>
                      </a:cubicBezTo>
                      <a:close/>
                      <a:moveTo>
                        <a:pt x="2605" y="0"/>
                      </a:moveTo>
                      <a:lnTo>
                        <a:pt x="2760" y="0"/>
                      </a:lnTo>
                      <a:lnTo>
                        <a:pt x="2760" y="237"/>
                      </a:lnTo>
                      <a:cubicBezTo>
                        <a:pt x="2780" y="218"/>
                        <a:pt x="2800" y="204"/>
                        <a:pt x="2828" y="192"/>
                      </a:cubicBezTo>
                      <a:cubicBezTo>
                        <a:pt x="2853" y="181"/>
                        <a:pt x="2885" y="175"/>
                        <a:pt x="2918" y="175"/>
                      </a:cubicBezTo>
                      <a:cubicBezTo>
                        <a:pt x="2952" y="175"/>
                        <a:pt x="2983" y="181"/>
                        <a:pt x="3012" y="189"/>
                      </a:cubicBezTo>
                      <a:cubicBezTo>
                        <a:pt x="3040" y="201"/>
                        <a:pt x="3065" y="216"/>
                        <a:pt x="3085" y="235"/>
                      </a:cubicBezTo>
                      <a:cubicBezTo>
                        <a:pt x="3105" y="255"/>
                        <a:pt x="3122" y="280"/>
                        <a:pt x="3133" y="311"/>
                      </a:cubicBezTo>
                      <a:cubicBezTo>
                        <a:pt x="3144" y="342"/>
                        <a:pt x="3150" y="378"/>
                        <a:pt x="3150" y="418"/>
                      </a:cubicBezTo>
                      <a:cubicBezTo>
                        <a:pt x="3150" y="463"/>
                        <a:pt x="3144" y="503"/>
                        <a:pt x="3130" y="539"/>
                      </a:cubicBezTo>
                      <a:cubicBezTo>
                        <a:pt x="3119" y="573"/>
                        <a:pt x="3102" y="605"/>
                        <a:pt x="3079" y="627"/>
                      </a:cubicBezTo>
                      <a:cubicBezTo>
                        <a:pt x="3057" y="650"/>
                        <a:pt x="3031" y="669"/>
                        <a:pt x="3003" y="680"/>
                      </a:cubicBezTo>
                      <a:cubicBezTo>
                        <a:pt x="2972" y="692"/>
                        <a:pt x="2941" y="697"/>
                        <a:pt x="2907" y="697"/>
                      </a:cubicBezTo>
                      <a:cubicBezTo>
                        <a:pt x="2876" y="697"/>
                        <a:pt x="2848" y="692"/>
                        <a:pt x="2822" y="680"/>
                      </a:cubicBezTo>
                      <a:cubicBezTo>
                        <a:pt x="2797" y="669"/>
                        <a:pt x="2774" y="652"/>
                        <a:pt x="2758" y="632"/>
                      </a:cubicBezTo>
                      <a:lnTo>
                        <a:pt x="2732" y="683"/>
                      </a:lnTo>
                      <a:lnTo>
                        <a:pt x="2605" y="683"/>
                      </a:lnTo>
                      <a:lnTo>
                        <a:pt x="2605" y="0"/>
                      </a:lnTo>
                      <a:close/>
                      <a:moveTo>
                        <a:pt x="3390" y="686"/>
                      </a:moveTo>
                      <a:lnTo>
                        <a:pt x="3234" y="686"/>
                      </a:lnTo>
                      <a:lnTo>
                        <a:pt x="3234" y="0"/>
                      </a:lnTo>
                      <a:lnTo>
                        <a:pt x="3390" y="0"/>
                      </a:lnTo>
                      <a:lnTo>
                        <a:pt x="3390" y="686"/>
                      </a:lnTo>
                      <a:close/>
                      <a:moveTo>
                        <a:pt x="3669" y="299"/>
                      </a:moveTo>
                      <a:cubicBezTo>
                        <a:pt x="3649" y="316"/>
                        <a:pt x="3638" y="347"/>
                        <a:pt x="3635" y="390"/>
                      </a:cubicBezTo>
                      <a:lnTo>
                        <a:pt x="3852" y="390"/>
                      </a:lnTo>
                      <a:cubicBezTo>
                        <a:pt x="3850" y="347"/>
                        <a:pt x="3841" y="316"/>
                        <a:pt x="3821" y="299"/>
                      </a:cubicBezTo>
                      <a:cubicBezTo>
                        <a:pt x="3802" y="280"/>
                        <a:pt x="3776" y="271"/>
                        <a:pt x="3742" y="271"/>
                      </a:cubicBezTo>
                      <a:cubicBezTo>
                        <a:pt x="3711" y="271"/>
                        <a:pt x="3689" y="280"/>
                        <a:pt x="3669" y="299"/>
                      </a:cubicBezTo>
                      <a:close/>
                      <a:moveTo>
                        <a:pt x="4008" y="542"/>
                      </a:moveTo>
                      <a:cubicBezTo>
                        <a:pt x="4007" y="543"/>
                        <a:pt x="4007" y="544"/>
                        <a:pt x="4007" y="545"/>
                      </a:cubicBezTo>
                      <a:lnTo>
                        <a:pt x="4008" y="545"/>
                      </a:lnTo>
                      <a:lnTo>
                        <a:pt x="4008" y="542"/>
                      </a:lnTo>
                      <a:close/>
                      <a:moveTo>
                        <a:pt x="3979" y="604"/>
                      </a:moveTo>
                      <a:cubicBezTo>
                        <a:pt x="3968" y="624"/>
                        <a:pt x="3951" y="641"/>
                        <a:pt x="3929" y="655"/>
                      </a:cubicBezTo>
                      <a:cubicBezTo>
                        <a:pt x="3909" y="669"/>
                        <a:pt x="3884" y="680"/>
                        <a:pt x="3852" y="689"/>
                      </a:cubicBezTo>
                      <a:cubicBezTo>
                        <a:pt x="3824" y="697"/>
                        <a:pt x="3790" y="700"/>
                        <a:pt x="3751" y="700"/>
                      </a:cubicBezTo>
                      <a:cubicBezTo>
                        <a:pt x="3711" y="700"/>
                        <a:pt x="3675" y="695"/>
                        <a:pt x="3641" y="683"/>
                      </a:cubicBezTo>
                      <a:cubicBezTo>
                        <a:pt x="3607" y="672"/>
                        <a:pt x="3579" y="655"/>
                        <a:pt x="3556" y="632"/>
                      </a:cubicBezTo>
                      <a:cubicBezTo>
                        <a:pt x="3534" y="610"/>
                        <a:pt x="3514" y="582"/>
                        <a:pt x="3500" y="551"/>
                      </a:cubicBezTo>
                      <a:cubicBezTo>
                        <a:pt x="3486" y="520"/>
                        <a:pt x="3480" y="480"/>
                        <a:pt x="3480" y="441"/>
                      </a:cubicBezTo>
                      <a:cubicBezTo>
                        <a:pt x="3480" y="398"/>
                        <a:pt x="3486" y="362"/>
                        <a:pt x="3500" y="328"/>
                      </a:cubicBezTo>
                      <a:cubicBezTo>
                        <a:pt x="3511" y="294"/>
                        <a:pt x="3531" y="268"/>
                        <a:pt x="3553" y="246"/>
                      </a:cubicBezTo>
                      <a:cubicBezTo>
                        <a:pt x="3576" y="223"/>
                        <a:pt x="3604" y="206"/>
                        <a:pt x="3638" y="195"/>
                      </a:cubicBezTo>
                      <a:cubicBezTo>
                        <a:pt x="3672" y="184"/>
                        <a:pt x="3709" y="178"/>
                        <a:pt x="3748" y="178"/>
                      </a:cubicBezTo>
                      <a:cubicBezTo>
                        <a:pt x="3790" y="178"/>
                        <a:pt x="3827" y="184"/>
                        <a:pt x="3858" y="195"/>
                      </a:cubicBezTo>
                      <a:cubicBezTo>
                        <a:pt x="3892" y="206"/>
                        <a:pt x="3921" y="226"/>
                        <a:pt x="3943" y="251"/>
                      </a:cubicBezTo>
                      <a:cubicBezTo>
                        <a:pt x="3966" y="277"/>
                        <a:pt x="3982" y="308"/>
                        <a:pt x="3996" y="345"/>
                      </a:cubicBezTo>
                      <a:cubicBezTo>
                        <a:pt x="4008" y="381"/>
                        <a:pt x="4016" y="426"/>
                        <a:pt x="4016" y="477"/>
                      </a:cubicBezTo>
                      <a:lnTo>
                        <a:pt x="3641" y="477"/>
                      </a:lnTo>
                      <a:cubicBezTo>
                        <a:pt x="3646" y="522"/>
                        <a:pt x="3661" y="553"/>
                        <a:pt x="3680" y="570"/>
                      </a:cubicBezTo>
                      <a:cubicBezTo>
                        <a:pt x="3703" y="590"/>
                        <a:pt x="3728" y="599"/>
                        <a:pt x="3762" y="599"/>
                      </a:cubicBezTo>
                      <a:cubicBezTo>
                        <a:pt x="3788" y="599"/>
                        <a:pt x="3807" y="593"/>
                        <a:pt x="3821" y="584"/>
                      </a:cubicBezTo>
                      <a:cubicBezTo>
                        <a:pt x="3836" y="576"/>
                        <a:pt x="3847" y="562"/>
                        <a:pt x="3852" y="545"/>
                      </a:cubicBezTo>
                      <a:lnTo>
                        <a:pt x="4007" y="545"/>
                      </a:lnTo>
                      <a:cubicBezTo>
                        <a:pt x="4001" y="567"/>
                        <a:pt x="3993" y="588"/>
                        <a:pt x="3979" y="604"/>
                      </a:cubicBezTo>
                      <a:close/>
                    </a:path>
                  </a:pathLst>
                </a:custGeom>
                <a:solidFill>
                  <a:schemeClr val="accent1"/>
                </a:solidFill>
                <a:ln w="9525" cap="flat">
                  <a:noFill/>
                  <a:bevel/>
                  <a:headEnd/>
                  <a:tailEnd/>
                </a:ln>
                <a:effectLst/>
              </p:spPr>
              <p:txBody>
                <a:bodyPr wrap="none" anchor="ctr"/>
                <a:lstStyle/>
                <a:p>
                  <a:endParaRPr lang="en-US"/>
                </a:p>
              </p:txBody>
            </p:sp>
          </p:grpSp>
        </p:grpSp>
      </p:grpSp>
      <p:grpSp>
        <p:nvGrpSpPr>
          <p:cNvPr id="14" name="Group 13">
            <a:extLst>
              <a:ext uri="{FF2B5EF4-FFF2-40B4-BE49-F238E27FC236}">
                <a16:creationId xmlns:a16="http://schemas.microsoft.com/office/drawing/2014/main" id="{B44DAF25-0B52-C344-9E4D-77713702D2F6}"/>
              </a:ext>
            </a:extLst>
          </p:cNvPr>
          <p:cNvGrpSpPr/>
          <p:nvPr/>
        </p:nvGrpSpPr>
        <p:grpSpPr>
          <a:xfrm>
            <a:off x="59436" y="1564327"/>
            <a:ext cx="9025128" cy="2199725"/>
            <a:chOff x="59436" y="1564327"/>
            <a:chExt cx="9025128" cy="2199725"/>
          </a:xfrm>
        </p:grpSpPr>
        <p:sp>
          <p:nvSpPr>
            <p:cNvPr id="15" name="Freeform 1">
              <a:extLst>
                <a:ext uri="{FF2B5EF4-FFF2-40B4-BE49-F238E27FC236}">
                  <a16:creationId xmlns:a16="http://schemas.microsoft.com/office/drawing/2014/main" id="{42829C6E-7979-CB4D-83C5-D00B56F0667C}"/>
                </a:ext>
              </a:extLst>
            </p:cNvPr>
            <p:cNvSpPr>
              <a:spLocks noChangeAspect="1" noChangeArrowheads="1"/>
            </p:cNvSpPr>
            <p:nvPr/>
          </p:nvSpPr>
          <p:spPr bwMode="auto">
            <a:xfrm>
              <a:off x="59436" y="1564327"/>
              <a:ext cx="9025128" cy="2052603"/>
            </a:xfrm>
            <a:custGeom>
              <a:avLst/>
              <a:gdLst>
                <a:gd name="T0" fmla="*/ 2258 w 20031"/>
                <a:gd name="T1" fmla="*/ 2040 h 4557"/>
                <a:gd name="T2" fmla="*/ 883 w 20031"/>
                <a:gd name="T3" fmla="*/ 3611 h 4557"/>
                <a:gd name="T4" fmla="*/ 694 w 20031"/>
                <a:gd name="T5" fmla="*/ 2479 h 4557"/>
                <a:gd name="T6" fmla="*/ 697 w 20031"/>
                <a:gd name="T7" fmla="*/ 3236 h 4557"/>
                <a:gd name="T8" fmla="*/ 508 w 20031"/>
                <a:gd name="T9" fmla="*/ 3047 h 4557"/>
                <a:gd name="T10" fmla="*/ 697 w 20031"/>
                <a:gd name="T11" fmla="*/ 691 h 4557"/>
                <a:gd name="T12" fmla="*/ 0 w 20031"/>
                <a:gd name="T13" fmla="*/ 189 h 4557"/>
                <a:gd name="T14" fmla="*/ 189 w 20031"/>
                <a:gd name="T15" fmla="*/ 2046 h 4557"/>
                <a:gd name="T16" fmla="*/ 378 w 20031"/>
                <a:gd name="T17" fmla="*/ 2235 h 4557"/>
                <a:gd name="T18" fmla="*/ 1230 w 20031"/>
                <a:gd name="T19" fmla="*/ 0 h 4557"/>
                <a:gd name="T20" fmla="*/ 1420 w 20031"/>
                <a:gd name="T21" fmla="*/ 2235 h 4557"/>
                <a:gd name="T22" fmla="*/ 1422 w 20031"/>
                <a:gd name="T23" fmla="*/ 3738 h 4557"/>
                <a:gd name="T24" fmla="*/ 1233 w 20031"/>
                <a:gd name="T25" fmla="*/ 1851 h 4557"/>
                <a:gd name="T26" fmla="*/ 1044 w 20031"/>
                <a:gd name="T27" fmla="*/ 1662 h 4557"/>
                <a:gd name="T28" fmla="*/ 1738 w 20031"/>
                <a:gd name="T29" fmla="*/ 1346 h 4557"/>
                <a:gd name="T30" fmla="*/ 1927 w 20031"/>
                <a:gd name="T31" fmla="*/ 4367 h 4557"/>
                <a:gd name="T32" fmla="*/ 1741 w 20031"/>
                <a:gd name="T33" fmla="*/ 3236 h 4557"/>
                <a:gd name="T34" fmla="*/ 1741 w 20031"/>
                <a:gd name="T35" fmla="*/ 3236 h 4557"/>
                <a:gd name="T36" fmla="*/ 2768 w 20031"/>
                <a:gd name="T37" fmla="*/ 1346 h 4557"/>
                <a:gd name="T38" fmla="*/ 2771 w 20031"/>
                <a:gd name="T39" fmla="*/ 2730 h 4557"/>
                <a:gd name="T40" fmla="*/ 3291 w 20031"/>
                <a:gd name="T41" fmla="*/ 3179 h 4557"/>
                <a:gd name="T42" fmla="*/ 3291 w 20031"/>
                <a:gd name="T43" fmla="*/ 3927 h 4557"/>
                <a:gd name="T44" fmla="*/ 3101 w 20031"/>
                <a:gd name="T45" fmla="*/ 3738 h 4557"/>
                <a:gd name="T46" fmla="*/ 3291 w 20031"/>
                <a:gd name="T47" fmla="*/ 1346 h 4557"/>
                <a:gd name="T48" fmla="*/ 4007 w 20031"/>
                <a:gd name="T49" fmla="*/ 2290 h 4557"/>
                <a:gd name="T50" fmla="*/ 3818 w 20031"/>
                <a:gd name="T51" fmla="*/ 3236 h 4557"/>
                <a:gd name="T52" fmla="*/ 3818 w 20031"/>
                <a:gd name="T53" fmla="*/ 3236 h 4557"/>
                <a:gd name="T54" fmla="*/ 3629 w 20031"/>
                <a:gd name="T55" fmla="*/ 880 h 4557"/>
                <a:gd name="T56" fmla="*/ 17961 w 20031"/>
                <a:gd name="T57" fmla="*/ 3732 h 4557"/>
                <a:gd name="T58" fmla="*/ 19336 w 20031"/>
                <a:gd name="T59" fmla="*/ 3419 h 4557"/>
                <a:gd name="T60" fmla="*/ 19525 w 20031"/>
                <a:gd name="T61" fmla="*/ 1535 h 4557"/>
                <a:gd name="T62" fmla="*/ 19525 w 20031"/>
                <a:gd name="T63" fmla="*/ 2290 h 4557"/>
                <a:gd name="T64" fmla="*/ 19147 w 20031"/>
                <a:gd name="T65" fmla="*/ 3044 h 4557"/>
                <a:gd name="T66" fmla="*/ 19336 w 20031"/>
                <a:gd name="T67" fmla="*/ 691 h 4557"/>
                <a:gd name="T68" fmla="*/ 19841 w 20031"/>
                <a:gd name="T69" fmla="*/ 1882 h 4557"/>
                <a:gd name="T70" fmla="*/ 19652 w 20031"/>
                <a:gd name="T71" fmla="*/ 1693 h 4557"/>
                <a:gd name="T72" fmla="*/ 19841 w 20031"/>
                <a:gd name="T73" fmla="*/ 2046 h 4557"/>
                <a:gd name="T74" fmla="*/ 18610 w 20031"/>
                <a:gd name="T75" fmla="*/ 945 h 4557"/>
                <a:gd name="T76" fmla="*/ 18800 w 20031"/>
                <a:gd name="T77" fmla="*/ 2046 h 4557"/>
                <a:gd name="T78" fmla="*/ 18989 w 20031"/>
                <a:gd name="T79" fmla="*/ 3735 h 4557"/>
                <a:gd name="T80" fmla="*/ 18800 w 20031"/>
                <a:gd name="T81" fmla="*/ 3924 h 4557"/>
                <a:gd name="T82" fmla="*/ 18610 w 20031"/>
                <a:gd name="T83" fmla="*/ 1662 h 4557"/>
                <a:gd name="T84" fmla="*/ 18103 w 20031"/>
                <a:gd name="T85" fmla="*/ 1535 h 4557"/>
                <a:gd name="T86" fmla="*/ 18292 w 20031"/>
                <a:gd name="T87" fmla="*/ 3419 h 4557"/>
                <a:gd name="T88" fmla="*/ 18481 w 20031"/>
                <a:gd name="T89" fmla="*/ 3608 h 4557"/>
                <a:gd name="T90" fmla="*/ 18292 w 20031"/>
                <a:gd name="T91" fmla="*/ 3233 h 4557"/>
                <a:gd name="T92" fmla="*/ 17072 w 20031"/>
                <a:gd name="T93" fmla="*/ 2290 h 4557"/>
                <a:gd name="T94" fmla="*/ 17262 w 20031"/>
                <a:gd name="T95" fmla="*/ 2728 h 4557"/>
                <a:gd name="T96" fmla="*/ 16929 w 20031"/>
                <a:gd name="T97" fmla="*/ 2235 h 4557"/>
                <a:gd name="T98" fmla="*/ 16929 w 20031"/>
                <a:gd name="T99" fmla="*/ 2990 h 4557"/>
                <a:gd name="T100" fmla="*/ 16550 w 20031"/>
                <a:gd name="T101" fmla="*/ 3735 h 4557"/>
                <a:gd name="T102" fmla="*/ 16739 w 20031"/>
                <a:gd name="T103" fmla="*/ 1346 h 4557"/>
                <a:gd name="T104" fmla="*/ 16212 w 20031"/>
                <a:gd name="T105" fmla="*/ 1346 h 4557"/>
                <a:gd name="T106" fmla="*/ 16401 w 20031"/>
                <a:gd name="T107" fmla="*/ 1535 h 4557"/>
                <a:gd name="T108" fmla="*/ 16212 w 20031"/>
                <a:gd name="T109" fmla="*/ 3233 h 4557"/>
                <a:gd name="T110" fmla="*/ 16023 w 20031"/>
                <a:gd name="T111" fmla="*/ 880 h 4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031" h="4557">
                  <a:moveTo>
                    <a:pt x="2447" y="3732"/>
                  </a:moveTo>
                  <a:cubicBezTo>
                    <a:pt x="2447" y="3837"/>
                    <a:pt x="2362" y="3921"/>
                    <a:pt x="2258" y="3921"/>
                  </a:cubicBezTo>
                  <a:lnTo>
                    <a:pt x="2258" y="3921"/>
                  </a:lnTo>
                  <a:cubicBezTo>
                    <a:pt x="2153" y="3921"/>
                    <a:pt x="2069" y="3837"/>
                    <a:pt x="2069" y="3732"/>
                  </a:cubicBezTo>
                  <a:lnTo>
                    <a:pt x="2069" y="2229"/>
                  </a:lnTo>
                  <a:cubicBezTo>
                    <a:pt x="2069" y="2125"/>
                    <a:pt x="2153" y="2040"/>
                    <a:pt x="2258" y="2040"/>
                  </a:cubicBezTo>
                  <a:lnTo>
                    <a:pt x="2258" y="2040"/>
                  </a:lnTo>
                  <a:cubicBezTo>
                    <a:pt x="2362" y="2040"/>
                    <a:pt x="2447" y="2125"/>
                    <a:pt x="2447" y="2229"/>
                  </a:cubicBezTo>
                  <a:lnTo>
                    <a:pt x="2447" y="3732"/>
                  </a:lnTo>
                  <a:close/>
                  <a:moveTo>
                    <a:pt x="505" y="4367"/>
                  </a:moveTo>
                  <a:cubicBezTo>
                    <a:pt x="505" y="4472"/>
                    <a:pt x="590" y="4556"/>
                    <a:pt x="694" y="4556"/>
                  </a:cubicBezTo>
                  <a:lnTo>
                    <a:pt x="694" y="4556"/>
                  </a:lnTo>
                  <a:cubicBezTo>
                    <a:pt x="799" y="4556"/>
                    <a:pt x="883" y="4472"/>
                    <a:pt x="883" y="4367"/>
                  </a:cubicBezTo>
                  <a:lnTo>
                    <a:pt x="883" y="3611"/>
                  </a:lnTo>
                  <a:cubicBezTo>
                    <a:pt x="883" y="3507"/>
                    <a:pt x="799" y="3422"/>
                    <a:pt x="694" y="3422"/>
                  </a:cubicBezTo>
                  <a:lnTo>
                    <a:pt x="694" y="3422"/>
                  </a:lnTo>
                  <a:cubicBezTo>
                    <a:pt x="590" y="3422"/>
                    <a:pt x="505" y="3507"/>
                    <a:pt x="505" y="3611"/>
                  </a:cubicBezTo>
                  <a:lnTo>
                    <a:pt x="505" y="4367"/>
                  </a:lnTo>
                  <a:close/>
                  <a:moveTo>
                    <a:pt x="505" y="2290"/>
                  </a:moveTo>
                  <a:cubicBezTo>
                    <a:pt x="505" y="2395"/>
                    <a:pt x="590" y="2479"/>
                    <a:pt x="694" y="2479"/>
                  </a:cubicBezTo>
                  <a:lnTo>
                    <a:pt x="694" y="2479"/>
                  </a:lnTo>
                  <a:cubicBezTo>
                    <a:pt x="799" y="2479"/>
                    <a:pt x="883" y="2395"/>
                    <a:pt x="883" y="2290"/>
                  </a:cubicBezTo>
                  <a:lnTo>
                    <a:pt x="883" y="1535"/>
                  </a:lnTo>
                  <a:cubicBezTo>
                    <a:pt x="883" y="1430"/>
                    <a:pt x="799" y="1346"/>
                    <a:pt x="694" y="1346"/>
                  </a:cubicBezTo>
                  <a:lnTo>
                    <a:pt x="694" y="1346"/>
                  </a:lnTo>
                  <a:cubicBezTo>
                    <a:pt x="590" y="1346"/>
                    <a:pt x="505" y="1430"/>
                    <a:pt x="505" y="1535"/>
                  </a:cubicBezTo>
                  <a:lnTo>
                    <a:pt x="505" y="2290"/>
                  </a:lnTo>
                  <a:close/>
                  <a:moveTo>
                    <a:pt x="697" y="3236"/>
                  </a:moveTo>
                  <a:lnTo>
                    <a:pt x="697" y="3236"/>
                  </a:lnTo>
                  <a:cubicBezTo>
                    <a:pt x="801" y="3236"/>
                    <a:pt x="886" y="3151"/>
                    <a:pt x="886" y="3047"/>
                  </a:cubicBezTo>
                  <a:lnTo>
                    <a:pt x="886" y="2920"/>
                  </a:lnTo>
                  <a:cubicBezTo>
                    <a:pt x="886" y="2815"/>
                    <a:pt x="801" y="2730"/>
                    <a:pt x="697" y="2730"/>
                  </a:cubicBezTo>
                  <a:lnTo>
                    <a:pt x="697" y="2730"/>
                  </a:lnTo>
                  <a:cubicBezTo>
                    <a:pt x="593" y="2730"/>
                    <a:pt x="508" y="2815"/>
                    <a:pt x="508" y="2920"/>
                  </a:cubicBezTo>
                  <a:lnTo>
                    <a:pt x="508" y="3047"/>
                  </a:lnTo>
                  <a:cubicBezTo>
                    <a:pt x="505" y="3148"/>
                    <a:pt x="590" y="3236"/>
                    <a:pt x="697" y="3236"/>
                  </a:cubicBezTo>
                  <a:close/>
                  <a:moveTo>
                    <a:pt x="697" y="1196"/>
                  </a:moveTo>
                  <a:lnTo>
                    <a:pt x="697" y="1196"/>
                  </a:lnTo>
                  <a:cubicBezTo>
                    <a:pt x="801" y="1196"/>
                    <a:pt x="886" y="1112"/>
                    <a:pt x="886" y="1007"/>
                  </a:cubicBezTo>
                  <a:lnTo>
                    <a:pt x="886" y="880"/>
                  </a:lnTo>
                  <a:cubicBezTo>
                    <a:pt x="886" y="776"/>
                    <a:pt x="801" y="691"/>
                    <a:pt x="697" y="691"/>
                  </a:cubicBezTo>
                  <a:lnTo>
                    <a:pt x="697" y="691"/>
                  </a:lnTo>
                  <a:cubicBezTo>
                    <a:pt x="593" y="691"/>
                    <a:pt x="508" y="776"/>
                    <a:pt x="508" y="880"/>
                  </a:cubicBezTo>
                  <a:lnTo>
                    <a:pt x="508" y="1007"/>
                  </a:lnTo>
                  <a:cubicBezTo>
                    <a:pt x="505" y="1112"/>
                    <a:pt x="590" y="1196"/>
                    <a:pt x="697" y="1196"/>
                  </a:cubicBezTo>
                  <a:close/>
                  <a:moveTo>
                    <a:pt x="378" y="189"/>
                  </a:moveTo>
                  <a:cubicBezTo>
                    <a:pt x="378" y="84"/>
                    <a:pt x="294" y="0"/>
                    <a:pt x="189" y="0"/>
                  </a:cubicBezTo>
                  <a:lnTo>
                    <a:pt x="189" y="0"/>
                  </a:lnTo>
                  <a:cubicBezTo>
                    <a:pt x="85" y="0"/>
                    <a:pt x="0" y="84"/>
                    <a:pt x="0" y="189"/>
                  </a:cubicBezTo>
                  <a:lnTo>
                    <a:pt x="0" y="1693"/>
                  </a:lnTo>
                  <a:cubicBezTo>
                    <a:pt x="0" y="1797"/>
                    <a:pt x="85" y="1882"/>
                    <a:pt x="189" y="1882"/>
                  </a:cubicBezTo>
                  <a:lnTo>
                    <a:pt x="189" y="1882"/>
                  </a:lnTo>
                  <a:cubicBezTo>
                    <a:pt x="294" y="1882"/>
                    <a:pt x="378" y="1797"/>
                    <a:pt x="378" y="1693"/>
                  </a:cubicBezTo>
                  <a:lnTo>
                    <a:pt x="378" y="189"/>
                  </a:lnTo>
                  <a:close/>
                  <a:moveTo>
                    <a:pt x="378" y="2235"/>
                  </a:moveTo>
                  <a:cubicBezTo>
                    <a:pt x="378" y="2130"/>
                    <a:pt x="294" y="2046"/>
                    <a:pt x="189" y="2046"/>
                  </a:cubicBezTo>
                  <a:lnTo>
                    <a:pt x="189" y="2046"/>
                  </a:lnTo>
                  <a:cubicBezTo>
                    <a:pt x="85" y="2046"/>
                    <a:pt x="0" y="2130"/>
                    <a:pt x="0" y="2235"/>
                  </a:cubicBezTo>
                  <a:lnTo>
                    <a:pt x="0" y="3738"/>
                  </a:lnTo>
                  <a:cubicBezTo>
                    <a:pt x="0" y="3842"/>
                    <a:pt x="85" y="3927"/>
                    <a:pt x="189" y="3927"/>
                  </a:cubicBezTo>
                  <a:lnTo>
                    <a:pt x="189" y="3927"/>
                  </a:lnTo>
                  <a:cubicBezTo>
                    <a:pt x="294" y="3927"/>
                    <a:pt x="378" y="3842"/>
                    <a:pt x="378" y="3738"/>
                  </a:cubicBezTo>
                  <a:lnTo>
                    <a:pt x="378" y="2235"/>
                  </a:lnTo>
                  <a:close/>
                  <a:moveTo>
                    <a:pt x="1041" y="945"/>
                  </a:moveTo>
                  <a:cubicBezTo>
                    <a:pt x="1041" y="1049"/>
                    <a:pt x="1126" y="1134"/>
                    <a:pt x="1230" y="1134"/>
                  </a:cubicBezTo>
                  <a:lnTo>
                    <a:pt x="1230" y="1134"/>
                  </a:lnTo>
                  <a:cubicBezTo>
                    <a:pt x="1335" y="1134"/>
                    <a:pt x="1420" y="1049"/>
                    <a:pt x="1420" y="945"/>
                  </a:cubicBezTo>
                  <a:lnTo>
                    <a:pt x="1420" y="189"/>
                  </a:lnTo>
                  <a:cubicBezTo>
                    <a:pt x="1420" y="84"/>
                    <a:pt x="1335" y="0"/>
                    <a:pt x="1230" y="0"/>
                  </a:cubicBezTo>
                  <a:lnTo>
                    <a:pt x="1230" y="0"/>
                  </a:lnTo>
                  <a:cubicBezTo>
                    <a:pt x="1126" y="0"/>
                    <a:pt x="1041" y="84"/>
                    <a:pt x="1041" y="189"/>
                  </a:cubicBezTo>
                  <a:lnTo>
                    <a:pt x="1041" y="945"/>
                  </a:lnTo>
                  <a:close/>
                  <a:moveTo>
                    <a:pt x="1041" y="2990"/>
                  </a:moveTo>
                  <a:cubicBezTo>
                    <a:pt x="1041" y="3094"/>
                    <a:pt x="1126" y="3179"/>
                    <a:pt x="1230" y="3179"/>
                  </a:cubicBezTo>
                  <a:lnTo>
                    <a:pt x="1230" y="3179"/>
                  </a:lnTo>
                  <a:cubicBezTo>
                    <a:pt x="1335" y="3179"/>
                    <a:pt x="1420" y="3094"/>
                    <a:pt x="1420" y="2990"/>
                  </a:cubicBezTo>
                  <a:lnTo>
                    <a:pt x="1420" y="2235"/>
                  </a:lnTo>
                  <a:cubicBezTo>
                    <a:pt x="1420" y="2130"/>
                    <a:pt x="1335" y="2046"/>
                    <a:pt x="1230" y="2046"/>
                  </a:cubicBezTo>
                  <a:lnTo>
                    <a:pt x="1230" y="2046"/>
                  </a:lnTo>
                  <a:cubicBezTo>
                    <a:pt x="1126" y="2046"/>
                    <a:pt x="1041" y="2130"/>
                    <a:pt x="1041" y="2235"/>
                  </a:cubicBezTo>
                  <a:lnTo>
                    <a:pt x="1041" y="2990"/>
                  </a:lnTo>
                  <a:close/>
                  <a:moveTo>
                    <a:pt x="1233" y="3927"/>
                  </a:moveTo>
                  <a:lnTo>
                    <a:pt x="1233" y="3927"/>
                  </a:lnTo>
                  <a:cubicBezTo>
                    <a:pt x="1338" y="3927"/>
                    <a:pt x="1422" y="3842"/>
                    <a:pt x="1422" y="3738"/>
                  </a:cubicBezTo>
                  <a:lnTo>
                    <a:pt x="1422" y="3611"/>
                  </a:lnTo>
                  <a:cubicBezTo>
                    <a:pt x="1422" y="3507"/>
                    <a:pt x="1338" y="3422"/>
                    <a:pt x="1233" y="3422"/>
                  </a:cubicBezTo>
                  <a:lnTo>
                    <a:pt x="1233" y="3422"/>
                  </a:lnTo>
                  <a:cubicBezTo>
                    <a:pt x="1129" y="3422"/>
                    <a:pt x="1044" y="3507"/>
                    <a:pt x="1044" y="3611"/>
                  </a:cubicBezTo>
                  <a:lnTo>
                    <a:pt x="1044" y="3738"/>
                  </a:lnTo>
                  <a:cubicBezTo>
                    <a:pt x="1041" y="3840"/>
                    <a:pt x="1126" y="3927"/>
                    <a:pt x="1233" y="3927"/>
                  </a:cubicBezTo>
                  <a:close/>
                  <a:moveTo>
                    <a:pt x="1233" y="1851"/>
                  </a:moveTo>
                  <a:lnTo>
                    <a:pt x="1233" y="1851"/>
                  </a:lnTo>
                  <a:cubicBezTo>
                    <a:pt x="1338" y="1851"/>
                    <a:pt x="1422" y="1766"/>
                    <a:pt x="1422" y="1662"/>
                  </a:cubicBezTo>
                  <a:lnTo>
                    <a:pt x="1422" y="1535"/>
                  </a:lnTo>
                  <a:cubicBezTo>
                    <a:pt x="1422" y="1430"/>
                    <a:pt x="1338" y="1346"/>
                    <a:pt x="1233" y="1346"/>
                  </a:cubicBezTo>
                  <a:lnTo>
                    <a:pt x="1233" y="1346"/>
                  </a:lnTo>
                  <a:cubicBezTo>
                    <a:pt x="1129" y="1346"/>
                    <a:pt x="1044" y="1430"/>
                    <a:pt x="1044" y="1535"/>
                  </a:cubicBezTo>
                  <a:lnTo>
                    <a:pt x="1044" y="1662"/>
                  </a:lnTo>
                  <a:cubicBezTo>
                    <a:pt x="1041" y="1766"/>
                    <a:pt x="1126" y="1851"/>
                    <a:pt x="1233" y="1851"/>
                  </a:cubicBezTo>
                  <a:close/>
                  <a:moveTo>
                    <a:pt x="1549" y="2290"/>
                  </a:moveTo>
                  <a:cubicBezTo>
                    <a:pt x="1549" y="2395"/>
                    <a:pt x="1634" y="2479"/>
                    <a:pt x="1738" y="2479"/>
                  </a:cubicBezTo>
                  <a:lnTo>
                    <a:pt x="1738" y="2479"/>
                  </a:lnTo>
                  <a:cubicBezTo>
                    <a:pt x="1843" y="2479"/>
                    <a:pt x="1927" y="2395"/>
                    <a:pt x="1927" y="2290"/>
                  </a:cubicBezTo>
                  <a:lnTo>
                    <a:pt x="1927" y="1535"/>
                  </a:lnTo>
                  <a:cubicBezTo>
                    <a:pt x="1927" y="1430"/>
                    <a:pt x="1843" y="1346"/>
                    <a:pt x="1738" y="1346"/>
                  </a:cubicBezTo>
                  <a:lnTo>
                    <a:pt x="1738" y="1346"/>
                  </a:lnTo>
                  <a:cubicBezTo>
                    <a:pt x="1634" y="1346"/>
                    <a:pt x="1549" y="1430"/>
                    <a:pt x="1549" y="1535"/>
                  </a:cubicBezTo>
                  <a:lnTo>
                    <a:pt x="1549" y="2290"/>
                  </a:lnTo>
                  <a:close/>
                  <a:moveTo>
                    <a:pt x="1549" y="4367"/>
                  </a:moveTo>
                  <a:cubicBezTo>
                    <a:pt x="1549" y="4472"/>
                    <a:pt x="1634" y="4556"/>
                    <a:pt x="1738" y="4556"/>
                  </a:cubicBezTo>
                  <a:lnTo>
                    <a:pt x="1738" y="4556"/>
                  </a:lnTo>
                  <a:cubicBezTo>
                    <a:pt x="1843" y="4556"/>
                    <a:pt x="1927" y="4472"/>
                    <a:pt x="1927" y="4367"/>
                  </a:cubicBezTo>
                  <a:lnTo>
                    <a:pt x="1927" y="3611"/>
                  </a:lnTo>
                  <a:cubicBezTo>
                    <a:pt x="1927" y="3507"/>
                    <a:pt x="1843" y="3422"/>
                    <a:pt x="1738" y="3422"/>
                  </a:cubicBezTo>
                  <a:lnTo>
                    <a:pt x="1738" y="3422"/>
                  </a:lnTo>
                  <a:cubicBezTo>
                    <a:pt x="1634" y="3422"/>
                    <a:pt x="1549" y="3507"/>
                    <a:pt x="1549" y="3611"/>
                  </a:cubicBezTo>
                  <a:lnTo>
                    <a:pt x="1549" y="4367"/>
                  </a:lnTo>
                  <a:close/>
                  <a:moveTo>
                    <a:pt x="1741" y="3236"/>
                  </a:moveTo>
                  <a:lnTo>
                    <a:pt x="1741" y="3236"/>
                  </a:lnTo>
                  <a:cubicBezTo>
                    <a:pt x="1846" y="3236"/>
                    <a:pt x="1930" y="3151"/>
                    <a:pt x="1930" y="3047"/>
                  </a:cubicBezTo>
                  <a:lnTo>
                    <a:pt x="1930" y="2920"/>
                  </a:lnTo>
                  <a:cubicBezTo>
                    <a:pt x="1930" y="2815"/>
                    <a:pt x="1846" y="2730"/>
                    <a:pt x="1741" y="2730"/>
                  </a:cubicBezTo>
                  <a:lnTo>
                    <a:pt x="1741" y="2730"/>
                  </a:lnTo>
                  <a:cubicBezTo>
                    <a:pt x="1637" y="2730"/>
                    <a:pt x="1552" y="2815"/>
                    <a:pt x="1552" y="2920"/>
                  </a:cubicBezTo>
                  <a:lnTo>
                    <a:pt x="1552" y="3047"/>
                  </a:lnTo>
                  <a:cubicBezTo>
                    <a:pt x="1549" y="3148"/>
                    <a:pt x="1634" y="3236"/>
                    <a:pt x="1741" y="3236"/>
                  </a:cubicBezTo>
                  <a:close/>
                  <a:moveTo>
                    <a:pt x="2579" y="2290"/>
                  </a:moveTo>
                  <a:cubicBezTo>
                    <a:pt x="2579" y="2395"/>
                    <a:pt x="2664" y="2479"/>
                    <a:pt x="2768" y="2479"/>
                  </a:cubicBezTo>
                  <a:lnTo>
                    <a:pt x="2768" y="2479"/>
                  </a:lnTo>
                  <a:cubicBezTo>
                    <a:pt x="2873" y="2479"/>
                    <a:pt x="2958" y="2395"/>
                    <a:pt x="2958" y="2290"/>
                  </a:cubicBezTo>
                  <a:lnTo>
                    <a:pt x="2958" y="1535"/>
                  </a:lnTo>
                  <a:cubicBezTo>
                    <a:pt x="2958" y="1430"/>
                    <a:pt x="2873" y="1346"/>
                    <a:pt x="2768" y="1346"/>
                  </a:cubicBezTo>
                  <a:lnTo>
                    <a:pt x="2768" y="1346"/>
                  </a:lnTo>
                  <a:cubicBezTo>
                    <a:pt x="2664" y="1346"/>
                    <a:pt x="2579" y="1430"/>
                    <a:pt x="2579" y="1535"/>
                  </a:cubicBezTo>
                  <a:lnTo>
                    <a:pt x="2579" y="2290"/>
                  </a:lnTo>
                  <a:close/>
                  <a:moveTo>
                    <a:pt x="2771" y="3236"/>
                  </a:moveTo>
                  <a:lnTo>
                    <a:pt x="2771" y="3236"/>
                  </a:lnTo>
                  <a:cubicBezTo>
                    <a:pt x="2876" y="3236"/>
                    <a:pt x="2960" y="3151"/>
                    <a:pt x="2960" y="3047"/>
                  </a:cubicBezTo>
                  <a:lnTo>
                    <a:pt x="2960" y="2920"/>
                  </a:lnTo>
                  <a:cubicBezTo>
                    <a:pt x="2960" y="2815"/>
                    <a:pt x="2876" y="2730"/>
                    <a:pt x="2771" y="2730"/>
                  </a:cubicBezTo>
                  <a:lnTo>
                    <a:pt x="2771" y="2730"/>
                  </a:lnTo>
                  <a:cubicBezTo>
                    <a:pt x="2667" y="2730"/>
                    <a:pt x="2582" y="2815"/>
                    <a:pt x="2582" y="2920"/>
                  </a:cubicBezTo>
                  <a:lnTo>
                    <a:pt x="2582" y="3047"/>
                  </a:lnTo>
                  <a:cubicBezTo>
                    <a:pt x="2579" y="3148"/>
                    <a:pt x="2664" y="3236"/>
                    <a:pt x="2771" y="3236"/>
                  </a:cubicBezTo>
                  <a:close/>
                  <a:moveTo>
                    <a:pt x="3101" y="2990"/>
                  </a:moveTo>
                  <a:cubicBezTo>
                    <a:pt x="3101" y="3094"/>
                    <a:pt x="3186" y="3179"/>
                    <a:pt x="3291" y="3179"/>
                  </a:cubicBezTo>
                  <a:lnTo>
                    <a:pt x="3291" y="3179"/>
                  </a:lnTo>
                  <a:cubicBezTo>
                    <a:pt x="3395" y="3179"/>
                    <a:pt x="3480" y="3094"/>
                    <a:pt x="3480" y="2990"/>
                  </a:cubicBezTo>
                  <a:lnTo>
                    <a:pt x="3480" y="2235"/>
                  </a:lnTo>
                  <a:cubicBezTo>
                    <a:pt x="3480" y="2130"/>
                    <a:pt x="3395" y="2046"/>
                    <a:pt x="3291" y="2046"/>
                  </a:cubicBezTo>
                  <a:lnTo>
                    <a:pt x="3291" y="2046"/>
                  </a:lnTo>
                  <a:cubicBezTo>
                    <a:pt x="3186" y="2046"/>
                    <a:pt x="3101" y="2130"/>
                    <a:pt x="3101" y="2235"/>
                  </a:cubicBezTo>
                  <a:lnTo>
                    <a:pt x="3101" y="2990"/>
                  </a:lnTo>
                  <a:close/>
                  <a:moveTo>
                    <a:pt x="3291" y="3927"/>
                  </a:moveTo>
                  <a:lnTo>
                    <a:pt x="3291" y="3927"/>
                  </a:lnTo>
                  <a:cubicBezTo>
                    <a:pt x="3395" y="3927"/>
                    <a:pt x="3480" y="3842"/>
                    <a:pt x="3480" y="3738"/>
                  </a:cubicBezTo>
                  <a:lnTo>
                    <a:pt x="3480" y="3611"/>
                  </a:lnTo>
                  <a:cubicBezTo>
                    <a:pt x="3480" y="3507"/>
                    <a:pt x="3395" y="3422"/>
                    <a:pt x="3291" y="3422"/>
                  </a:cubicBezTo>
                  <a:lnTo>
                    <a:pt x="3291" y="3422"/>
                  </a:lnTo>
                  <a:cubicBezTo>
                    <a:pt x="3186" y="3422"/>
                    <a:pt x="3101" y="3507"/>
                    <a:pt x="3101" y="3611"/>
                  </a:cubicBezTo>
                  <a:lnTo>
                    <a:pt x="3101" y="3738"/>
                  </a:lnTo>
                  <a:cubicBezTo>
                    <a:pt x="3101" y="3840"/>
                    <a:pt x="3186" y="3927"/>
                    <a:pt x="3291" y="3927"/>
                  </a:cubicBezTo>
                  <a:close/>
                  <a:moveTo>
                    <a:pt x="3291" y="1851"/>
                  </a:moveTo>
                  <a:lnTo>
                    <a:pt x="3291" y="1851"/>
                  </a:lnTo>
                  <a:cubicBezTo>
                    <a:pt x="3395" y="1851"/>
                    <a:pt x="3480" y="1766"/>
                    <a:pt x="3480" y="1662"/>
                  </a:cubicBezTo>
                  <a:lnTo>
                    <a:pt x="3480" y="1535"/>
                  </a:lnTo>
                  <a:cubicBezTo>
                    <a:pt x="3480" y="1430"/>
                    <a:pt x="3395" y="1346"/>
                    <a:pt x="3291" y="1346"/>
                  </a:cubicBezTo>
                  <a:lnTo>
                    <a:pt x="3291" y="1346"/>
                  </a:lnTo>
                  <a:cubicBezTo>
                    <a:pt x="3186" y="1346"/>
                    <a:pt x="3101" y="1430"/>
                    <a:pt x="3101" y="1535"/>
                  </a:cubicBezTo>
                  <a:lnTo>
                    <a:pt x="3101" y="1662"/>
                  </a:lnTo>
                  <a:cubicBezTo>
                    <a:pt x="3101" y="1766"/>
                    <a:pt x="3186" y="1851"/>
                    <a:pt x="3291" y="1851"/>
                  </a:cubicBezTo>
                  <a:close/>
                  <a:moveTo>
                    <a:pt x="3629" y="2290"/>
                  </a:moveTo>
                  <a:cubicBezTo>
                    <a:pt x="3629" y="2395"/>
                    <a:pt x="3714" y="2479"/>
                    <a:pt x="3818" y="2479"/>
                  </a:cubicBezTo>
                  <a:lnTo>
                    <a:pt x="3818" y="2479"/>
                  </a:lnTo>
                  <a:cubicBezTo>
                    <a:pt x="3923" y="2479"/>
                    <a:pt x="4007" y="2395"/>
                    <a:pt x="4007" y="2290"/>
                  </a:cubicBezTo>
                  <a:lnTo>
                    <a:pt x="4007" y="1535"/>
                  </a:lnTo>
                  <a:cubicBezTo>
                    <a:pt x="4007" y="1430"/>
                    <a:pt x="3923" y="1346"/>
                    <a:pt x="3818" y="1346"/>
                  </a:cubicBezTo>
                  <a:lnTo>
                    <a:pt x="3818" y="1346"/>
                  </a:lnTo>
                  <a:cubicBezTo>
                    <a:pt x="3714" y="1346"/>
                    <a:pt x="3629" y="1430"/>
                    <a:pt x="3629" y="1535"/>
                  </a:cubicBezTo>
                  <a:lnTo>
                    <a:pt x="3629" y="2290"/>
                  </a:lnTo>
                  <a:close/>
                  <a:moveTo>
                    <a:pt x="3818" y="3236"/>
                  </a:moveTo>
                  <a:lnTo>
                    <a:pt x="3818" y="3236"/>
                  </a:lnTo>
                  <a:cubicBezTo>
                    <a:pt x="3923" y="3236"/>
                    <a:pt x="4007" y="3151"/>
                    <a:pt x="4007" y="3047"/>
                  </a:cubicBezTo>
                  <a:lnTo>
                    <a:pt x="4007" y="2920"/>
                  </a:lnTo>
                  <a:cubicBezTo>
                    <a:pt x="4007" y="2815"/>
                    <a:pt x="3923" y="2730"/>
                    <a:pt x="3818" y="2730"/>
                  </a:cubicBezTo>
                  <a:lnTo>
                    <a:pt x="3818" y="2730"/>
                  </a:lnTo>
                  <a:cubicBezTo>
                    <a:pt x="3714" y="2730"/>
                    <a:pt x="3629" y="2815"/>
                    <a:pt x="3629" y="2920"/>
                  </a:cubicBezTo>
                  <a:lnTo>
                    <a:pt x="3629" y="3047"/>
                  </a:lnTo>
                  <a:cubicBezTo>
                    <a:pt x="3629" y="3148"/>
                    <a:pt x="3714" y="3236"/>
                    <a:pt x="3818" y="3236"/>
                  </a:cubicBezTo>
                  <a:close/>
                  <a:moveTo>
                    <a:pt x="3818" y="1196"/>
                  </a:moveTo>
                  <a:lnTo>
                    <a:pt x="3818" y="1196"/>
                  </a:lnTo>
                  <a:cubicBezTo>
                    <a:pt x="3923" y="1196"/>
                    <a:pt x="4007" y="1112"/>
                    <a:pt x="4007" y="1007"/>
                  </a:cubicBezTo>
                  <a:lnTo>
                    <a:pt x="4007" y="880"/>
                  </a:lnTo>
                  <a:cubicBezTo>
                    <a:pt x="4007" y="776"/>
                    <a:pt x="3923" y="691"/>
                    <a:pt x="3818" y="691"/>
                  </a:cubicBezTo>
                  <a:lnTo>
                    <a:pt x="3818" y="691"/>
                  </a:lnTo>
                  <a:cubicBezTo>
                    <a:pt x="3714" y="691"/>
                    <a:pt x="3629" y="776"/>
                    <a:pt x="3629" y="880"/>
                  </a:cubicBezTo>
                  <a:lnTo>
                    <a:pt x="3629" y="1007"/>
                  </a:lnTo>
                  <a:cubicBezTo>
                    <a:pt x="3629" y="1112"/>
                    <a:pt x="3714" y="1196"/>
                    <a:pt x="3818" y="1196"/>
                  </a:cubicBezTo>
                  <a:close/>
                  <a:moveTo>
                    <a:pt x="17583" y="2229"/>
                  </a:moveTo>
                  <a:cubicBezTo>
                    <a:pt x="17583" y="2125"/>
                    <a:pt x="17668" y="2040"/>
                    <a:pt x="17772" y="2040"/>
                  </a:cubicBezTo>
                  <a:lnTo>
                    <a:pt x="17772" y="2040"/>
                  </a:lnTo>
                  <a:cubicBezTo>
                    <a:pt x="17877" y="2040"/>
                    <a:pt x="17961" y="2125"/>
                    <a:pt x="17961" y="2229"/>
                  </a:cubicBezTo>
                  <a:lnTo>
                    <a:pt x="17961" y="3732"/>
                  </a:lnTo>
                  <a:cubicBezTo>
                    <a:pt x="17961" y="3837"/>
                    <a:pt x="17877" y="3921"/>
                    <a:pt x="17772" y="3921"/>
                  </a:cubicBezTo>
                  <a:lnTo>
                    <a:pt x="17772" y="3921"/>
                  </a:lnTo>
                  <a:cubicBezTo>
                    <a:pt x="17668" y="3921"/>
                    <a:pt x="17583" y="3837"/>
                    <a:pt x="17583" y="3732"/>
                  </a:cubicBezTo>
                  <a:lnTo>
                    <a:pt x="17583" y="2229"/>
                  </a:lnTo>
                  <a:close/>
                  <a:moveTo>
                    <a:pt x="19525" y="3608"/>
                  </a:moveTo>
                  <a:cubicBezTo>
                    <a:pt x="19525" y="3504"/>
                    <a:pt x="19440" y="3419"/>
                    <a:pt x="19336" y="3419"/>
                  </a:cubicBezTo>
                  <a:lnTo>
                    <a:pt x="19336" y="3419"/>
                  </a:lnTo>
                  <a:cubicBezTo>
                    <a:pt x="19231" y="3419"/>
                    <a:pt x="19147" y="3504"/>
                    <a:pt x="19147" y="3608"/>
                  </a:cubicBezTo>
                  <a:lnTo>
                    <a:pt x="19147" y="4364"/>
                  </a:lnTo>
                  <a:cubicBezTo>
                    <a:pt x="19147" y="4469"/>
                    <a:pt x="19231" y="4554"/>
                    <a:pt x="19336" y="4554"/>
                  </a:cubicBezTo>
                  <a:lnTo>
                    <a:pt x="19336" y="4554"/>
                  </a:lnTo>
                  <a:cubicBezTo>
                    <a:pt x="19440" y="4554"/>
                    <a:pt x="19525" y="4469"/>
                    <a:pt x="19525" y="4364"/>
                  </a:cubicBezTo>
                  <a:lnTo>
                    <a:pt x="19525" y="3608"/>
                  </a:lnTo>
                  <a:close/>
                  <a:moveTo>
                    <a:pt x="19525" y="1535"/>
                  </a:moveTo>
                  <a:cubicBezTo>
                    <a:pt x="19525" y="1430"/>
                    <a:pt x="19440" y="1346"/>
                    <a:pt x="19336" y="1346"/>
                  </a:cubicBezTo>
                  <a:lnTo>
                    <a:pt x="19336" y="1346"/>
                  </a:lnTo>
                  <a:cubicBezTo>
                    <a:pt x="19231" y="1346"/>
                    <a:pt x="19147" y="1430"/>
                    <a:pt x="19147" y="1535"/>
                  </a:cubicBezTo>
                  <a:lnTo>
                    <a:pt x="19147" y="2290"/>
                  </a:lnTo>
                  <a:cubicBezTo>
                    <a:pt x="19147" y="2395"/>
                    <a:pt x="19231" y="2479"/>
                    <a:pt x="19336" y="2479"/>
                  </a:cubicBezTo>
                  <a:lnTo>
                    <a:pt x="19336" y="2479"/>
                  </a:lnTo>
                  <a:cubicBezTo>
                    <a:pt x="19440" y="2479"/>
                    <a:pt x="19525" y="2395"/>
                    <a:pt x="19525" y="2290"/>
                  </a:cubicBezTo>
                  <a:lnTo>
                    <a:pt x="19525" y="1535"/>
                  </a:lnTo>
                  <a:close/>
                  <a:moveTo>
                    <a:pt x="19525" y="3044"/>
                  </a:moveTo>
                  <a:lnTo>
                    <a:pt x="19525" y="2917"/>
                  </a:lnTo>
                  <a:cubicBezTo>
                    <a:pt x="19525" y="2812"/>
                    <a:pt x="19440" y="2728"/>
                    <a:pt x="19336" y="2728"/>
                  </a:cubicBezTo>
                  <a:lnTo>
                    <a:pt x="19336" y="2728"/>
                  </a:lnTo>
                  <a:cubicBezTo>
                    <a:pt x="19231" y="2728"/>
                    <a:pt x="19147" y="2812"/>
                    <a:pt x="19147" y="2917"/>
                  </a:cubicBezTo>
                  <a:lnTo>
                    <a:pt x="19147" y="3044"/>
                  </a:lnTo>
                  <a:cubicBezTo>
                    <a:pt x="19147" y="3148"/>
                    <a:pt x="19231" y="3233"/>
                    <a:pt x="19336" y="3233"/>
                  </a:cubicBezTo>
                  <a:lnTo>
                    <a:pt x="19336" y="3233"/>
                  </a:lnTo>
                  <a:cubicBezTo>
                    <a:pt x="19437" y="3236"/>
                    <a:pt x="19525" y="3148"/>
                    <a:pt x="19525" y="3044"/>
                  </a:cubicBezTo>
                  <a:close/>
                  <a:moveTo>
                    <a:pt x="19525" y="1007"/>
                  </a:moveTo>
                  <a:lnTo>
                    <a:pt x="19525" y="880"/>
                  </a:lnTo>
                  <a:cubicBezTo>
                    <a:pt x="19525" y="776"/>
                    <a:pt x="19440" y="691"/>
                    <a:pt x="19336" y="691"/>
                  </a:cubicBezTo>
                  <a:lnTo>
                    <a:pt x="19336" y="691"/>
                  </a:lnTo>
                  <a:cubicBezTo>
                    <a:pt x="19231" y="691"/>
                    <a:pt x="19147" y="776"/>
                    <a:pt x="19147" y="880"/>
                  </a:cubicBezTo>
                  <a:lnTo>
                    <a:pt x="19147" y="1007"/>
                  </a:lnTo>
                  <a:cubicBezTo>
                    <a:pt x="19147" y="1112"/>
                    <a:pt x="19231" y="1196"/>
                    <a:pt x="19336" y="1196"/>
                  </a:cubicBezTo>
                  <a:lnTo>
                    <a:pt x="19336" y="1196"/>
                  </a:lnTo>
                  <a:cubicBezTo>
                    <a:pt x="19437" y="1196"/>
                    <a:pt x="19525" y="1112"/>
                    <a:pt x="19525" y="1007"/>
                  </a:cubicBezTo>
                  <a:close/>
                  <a:moveTo>
                    <a:pt x="19652" y="1693"/>
                  </a:moveTo>
                  <a:cubicBezTo>
                    <a:pt x="19652" y="1797"/>
                    <a:pt x="19736" y="1882"/>
                    <a:pt x="19841" y="1882"/>
                  </a:cubicBezTo>
                  <a:lnTo>
                    <a:pt x="19841" y="1882"/>
                  </a:lnTo>
                  <a:cubicBezTo>
                    <a:pt x="19945" y="1882"/>
                    <a:pt x="20030" y="1797"/>
                    <a:pt x="20030" y="1693"/>
                  </a:cubicBezTo>
                  <a:lnTo>
                    <a:pt x="20030" y="189"/>
                  </a:lnTo>
                  <a:cubicBezTo>
                    <a:pt x="20030" y="84"/>
                    <a:pt x="19945" y="0"/>
                    <a:pt x="19841" y="0"/>
                  </a:cubicBezTo>
                  <a:lnTo>
                    <a:pt x="19841" y="0"/>
                  </a:lnTo>
                  <a:cubicBezTo>
                    <a:pt x="19736" y="0"/>
                    <a:pt x="19652" y="84"/>
                    <a:pt x="19652" y="189"/>
                  </a:cubicBezTo>
                  <a:lnTo>
                    <a:pt x="19652" y="1693"/>
                  </a:lnTo>
                  <a:close/>
                  <a:moveTo>
                    <a:pt x="19652" y="3738"/>
                  </a:moveTo>
                  <a:cubicBezTo>
                    <a:pt x="19652" y="3842"/>
                    <a:pt x="19736" y="3927"/>
                    <a:pt x="19841" y="3927"/>
                  </a:cubicBezTo>
                  <a:lnTo>
                    <a:pt x="19841" y="3927"/>
                  </a:lnTo>
                  <a:cubicBezTo>
                    <a:pt x="19945" y="3927"/>
                    <a:pt x="20030" y="3842"/>
                    <a:pt x="20030" y="3738"/>
                  </a:cubicBezTo>
                  <a:lnTo>
                    <a:pt x="20030" y="2235"/>
                  </a:lnTo>
                  <a:cubicBezTo>
                    <a:pt x="20030" y="2130"/>
                    <a:pt x="19945" y="2046"/>
                    <a:pt x="19841" y="2046"/>
                  </a:cubicBezTo>
                  <a:lnTo>
                    <a:pt x="19841" y="2046"/>
                  </a:lnTo>
                  <a:cubicBezTo>
                    <a:pt x="19736" y="2046"/>
                    <a:pt x="19652" y="2130"/>
                    <a:pt x="19652" y="2235"/>
                  </a:cubicBezTo>
                  <a:lnTo>
                    <a:pt x="19652" y="3738"/>
                  </a:lnTo>
                  <a:close/>
                  <a:moveTo>
                    <a:pt x="18989" y="189"/>
                  </a:moveTo>
                  <a:cubicBezTo>
                    <a:pt x="18989" y="84"/>
                    <a:pt x="18904" y="0"/>
                    <a:pt x="18800" y="0"/>
                  </a:cubicBezTo>
                  <a:lnTo>
                    <a:pt x="18800" y="0"/>
                  </a:lnTo>
                  <a:cubicBezTo>
                    <a:pt x="18695" y="0"/>
                    <a:pt x="18610" y="84"/>
                    <a:pt x="18610" y="189"/>
                  </a:cubicBezTo>
                  <a:lnTo>
                    <a:pt x="18610" y="945"/>
                  </a:lnTo>
                  <a:cubicBezTo>
                    <a:pt x="18610" y="1049"/>
                    <a:pt x="18695" y="1134"/>
                    <a:pt x="18800" y="1134"/>
                  </a:cubicBezTo>
                  <a:lnTo>
                    <a:pt x="18800" y="1134"/>
                  </a:lnTo>
                  <a:cubicBezTo>
                    <a:pt x="18904" y="1134"/>
                    <a:pt x="18989" y="1049"/>
                    <a:pt x="18989" y="945"/>
                  </a:cubicBezTo>
                  <a:lnTo>
                    <a:pt x="18989" y="189"/>
                  </a:lnTo>
                  <a:close/>
                  <a:moveTo>
                    <a:pt x="18989" y="2235"/>
                  </a:moveTo>
                  <a:cubicBezTo>
                    <a:pt x="18989" y="2130"/>
                    <a:pt x="18904" y="2046"/>
                    <a:pt x="18800" y="2046"/>
                  </a:cubicBezTo>
                  <a:lnTo>
                    <a:pt x="18800" y="2046"/>
                  </a:lnTo>
                  <a:cubicBezTo>
                    <a:pt x="18695" y="2046"/>
                    <a:pt x="18610" y="2130"/>
                    <a:pt x="18610" y="2235"/>
                  </a:cubicBezTo>
                  <a:lnTo>
                    <a:pt x="18610" y="2990"/>
                  </a:lnTo>
                  <a:cubicBezTo>
                    <a:pt x="18610" y="3094"/>
                    <a:pt x="18695" y="3179"/>
                    <a:pt x="18800" y="3179"/>
                  </a:cubicBezTo>
                  <a:lnTo>
                    <a:pt x="18800" y="3179"/>
                  </a:lnTo>
                  <a:cubicBezTo>
                    <a:pt x="18904" y="3179"/>
                    <a:pt x="18989" y="3094"/>
                    <a:pt x="18989" y="2990"/>
                  </a:cubicBezTo>
                  <a:lnTo>
                    <a:pt x="18989" y="2235"/>
                  </a:lnTo>
                  <a:close/>
                  <a:moveTo>
                    <a:pt x="18989" y="3735"/>
                  </a:moveTo>
                  <a:lnTo>
                    <a:pt x="18989" y="3608"/>
                  </a:lnTo>
                  <a:cubicBezTo>
                    <a:pt x="18989" y="3504"/>
                    <a:pt x="18904" y="3419"/>
                    <a:pt x="18800" y="3419"/>
                  </a:cubicBezTo>
                  <a:lnTo>
                    <a:pt x="18800" y="3419"/>
                  </a:lnTo>
                  <a:cubicBezTo>
                    <a:pt x="18695" y="3419"/>
                    <a:pt x="18610" y="3504"/>
                    <a:pt x="18610" y="3608"/>
                  </a:cubicBezTo>
                  <a:lnTo>
                    <a:pt x="18610" y="3735"/>
                  </a:lnTo>
                  <a:cubicBezTo>
                    <a:pt x="18610" y="3840"/>
                    <a:pt x="18695" y="3924"/>
                    <a:pt x="18800" y="3924"/>
                  </a:cubicBezTo>
                  <a:lnTo>
                    <a:pt x="18800" y="3924"/>
                  </a:lnTo>
                  <a:cubicBezTo>
                    <a:pt x="18901" y="3927"/>
                    <a:pt x="18989" y="3840"/>
                    <a:pt x="18989" y="3735"/>
                  </a:cubicBezTo>
                  <a:close/>
                  <a:moveTo>
                    <a:pt x="18989" y="1662"/>
                  </a:moveTo>
                  <a:lnTo>
                    <a:pt x="18989" y="1535"/>
                  </a:lnTo>
                  <a:cubicBezTo>
                    <a:pt x="18989" y="1430"/>
                    <a:pt x="18904" y="1346"/>
                    <a:pt x="18800" y="1346"/>
                  </a:cubicBezTo>
                  <a:lnTo>
                    <a:pt x="18800" y="1346"/>
                  </a:lnTo>
                  <a:cubicBezTo>
                    <a:pt x="18695" y="1346"/>
                    <a:pt x="18610" y="1430"/>
                    <a:pt x="18610" y="1535"/>
                  </a:cubicBezTo>
                  <a:lnTo>
                    <a:pt x="18610" y="1662"/>
                  </a:lnTo>
                  <a:cubicBezTo>
                    <a:pt x="18610" y="1766"/>
                    <a:pt x="18695" y="1851"/>
                    <a:pt x="18800" y="1851"/>
                  </a:cubicBezTo>
                  <a:lnTo>
                    <a:pt x="18800" y="1851"/>
                  </a:lnTo>
                  <a:cubicBezTo>
                    <a:pt x="18901" y="1851"/>
                    <a:pt x="18989" y="1766"/>
                    <a:pt x="18989" y="1662"/>
                  </a:cubicBezTo>
                  <a:close/>
                  <a:moveTo>
                    <a:pt x="18481" y="1535"/>
                  </a:moveTo>
                  <a:cubicBezTo>
                    <a:pt x="18481" y="1430"/>
                    <a:pt x="18396" y="1346"/>
                    <a:pt x="18292" y="1346"/>
                  </a:cubicBezTo>
                  <a:lnTo>
                    <a:pt x="18292" y="1346"/>
                  </a:lnTo>
                  <a:cubicBezTo>
                    <a:pt x="18187" y="1346"/>
                    <a:pt x="18103" y="1430"/>
                    <a:pt x="18103" y="1535"/>
                  </a:cubicBezTo>
                  <a:lnTo>
                    <a:pt x="18103" y="2290"/>
                  </a:lnTo>
                  <a:cubicBezTo>
                    <a:pt x="18103" y="2395"/>
                    <a:pt x="18187" y="2479"/>
                    <a:pt x="18292" y="2479"/>
                  </a:cubicBezTo>
                  <a:lnTo>
                    <a:pt x="18292" y="2479"/>
                  </a:lnTo>
                  <a:cubicBezTo>
                    <a:pt x="18396" y="2479"/>
                    <a:pt x="18481" y="2395"/>
                    <a:pt x="18481" y="2290"/>
                  </a:cubicBezTo>
                  <a:lnTo>
                    <a:pt x="18481" y="1535"/>
                  </a:lnTo>
                  <a:close/>
                  <a:moveTo>
                    <a:pt x="18481" y="3608"/>
                  </a:moveTo>
                  <a:cubicBezTo>
                    <a:pt x="18481" y="3504"/>
                    <a:pt x="18396" y="3419"/>
                    <a:pt x="18292" y="3419"/>
                  </a:cubicBezTo>
                  <a:lnTo>
                    <a:pt x="18292" y="3419"/>
                  </a:lnTo>
                  <a:cubicBezTo>
                    <a:pt x="18187" y="3419"/>
                    <a:pt x="18103" y="3504"/>
                    <a:pt x="18103" y="3608"/>
                  </a:cubicBezTo>
                  <a:lnTo>
                    <a:pt x="18103" y="4364"/>
                  </a:lnTo>
                  <a:cubicBezTo>
                    <a:pt x="18103" y="4469"/>
                    <a:pt x="18187" y="4554"/>
                    <a:pt x="18292" y="4554"/>
                  </a:cubicBezTo>
                  <a:lnTo>
                    <a:pt x="18292" y="4554"/>
                  </a:lnTo>
                  <a:cubicBezTo>
                    <a:pt x="18396" y="4554"/>
                    <a:pt x="18481" y="4469"/>
                    <a:pt x="18481" y="4364"/>
                  </a:cubicBezTo>
                  <a:lnTo>
                    <a:pt x="18481" y="3608"/>
                  </a:lnTo>
                  <a:close/>
                  <a:moveTo>
                    <a:pt x="18481" y="3044"/>
                  </a:moveTo>
                  <a:lnTo>
                    <a:pt x="18481" y="2917"/>
                  </a:lnTo>
                  <a:cubicBezTo>
                    <a:pt x="18481" y="2812"/>
                    <a:pt x="18396" y="2728"/>
                    <a:pt x="18292" y="2728"/>
                  </a:cubicBezTo>
                  <a:lnTo>
                    <a:pt x="18292" y="2728"/>
                  </a:lnTo>
                  <a:cubicBezTo>
                    <a:pt x="18187" y="2728"/>
                    <a:pt x="18103" y="2812"/>
                    <a:pt x="18103" y="2917"/>
                  </a:cubicBezTo>
                  <a:lnTo>
                    <a:pt x="18103" y="3044"/>
                  </a:lnTo>
                  <a:cubicBezTo>
                    <a:pt x="18103" y="3148"/>
                    <a:pt x="18187" y="3233"/>
                    <a:pt x="18292" y="3233"/>
                  </a:cubicBezTo>
                  <a:lnTo>
                    <a:pt x="18292" y="3233"/>
                  </a:lnTo>
                  <a:cubicBezTo>
                    <a:pt x="18393" y="3236"/>
                    <a:pt x="18481" y="3148"/>
                    <a:pt x="18481" y="3044"/>
                  </a:cubicBezTo>
                  <a:close/>
                  <a:moveTo>
                    <a:pt x="17451" y="1535"/>
                  </a:moveTo>
                  <a:cubicBezTo>
                    <a:pt x="17451" y="1430"/>
                    <a:pt x="17366" y="1346"/>
                    <a:pt x="17262" y="1346"/>
                  </a:cubicBezTo>
                  <a:lnTo>
                    <a:pt x="17262" y="1346"/>
                  </a:lnTo>
                  <a:cubicBezTo>
                    <a:pt x="17157" y="1346"/>
                    <a:pt x="17072" y="1430"/>
                    <a:pt x="17072" y="1535"/>
                  </a:cubicBezTo>
                  <a:lnTo>
                    <a:pt x="17072" y="2290"/>
                  </a:lnTo>
                  <a:cubicBezTo>
                    <a:pt x="17072" y="2395"/>
                    <a:pt x="17157" y="2479"/>
                    <a:pt x="17262" y="2479"/>
                  </a:cubicBezTo>
                  <a:lnTo>
                    <a:pt x="17262" y="2479"/>
                  </a:lnTo>
                  <a:cubicBezTo>
                    <a:pt x="17366" y="2479"/>
                    <a:pt x="17451" y="2395"/>
                    <a:pt x="17451" y="2290"/>
                  </a:cubicBezTo>
                  <a:lnTo>
                    <a:pt x="17451" y="1535"/>
                  </a:lnTo>
                  <a:close/>
                  <a:moveTo>
                    <a:pt x="17451" y="3044"/>
                  </a:moveTo>
                  <a:lnTo>
                    <a:pt x="17451" y="2917"/>
                  </a:lnTo>
                  <a:cubicBezTo>
                    <a:pt x="17451" y="2812"/>
                    <a:pt x="17366" y="2728"/>
                    <a:pt x="17262" y="2728"/>
                  </a:cubicBezTo>
                  <a:lnTo>
                    <a:pt x="17262" y="2728"/>
                  </a:lnTo>
                  <a:cubicBezTo>
                    <a:pt x="17157" y="2728"/>
                    <a:pt x="17072" y="2812"/>
                    <a:pt x="17072" y="2917"/>
                  </a:cubicBezTo>
                  <a:lnTo>
                    <a:pt x="17072" y="3044"/>
                  </a:lnTo>
                  <a:cubicBezTo>
                    <a:pt x="17072" y="3148"/>
                    <a:pt x="17157" y="3233"/>
                    <a:pt x="17262" y="3233"/>
                  </a:cubicBezTo>
                  <a:lnTo>
                    <a:pt x="17262" y="3233"/>
                  </a:lnTo>
                  <a:cubicBezTo>
                    <a:pt x="17363" y="3236"/>
                    <a:pt x="17451" y="3148"/>
                    <a:pt x="17451" y="3044"/>
                  </a:cubicBezTo>
                  <a:close/>
                  <a:moveTo>
                    <a:pt x="16929" y="2235"/>
                  </a:moveTo>
                  <a:cubicBezTo>
                    <a:pt x="16929" y="2130"/>
                    <a:pt x="16844" y="2046"/>
                    <a:pt x="16739" y="2046"/>
                  </a:cubicBezTo>
                  <a:lnTo>
                    <a:pt x="16739" y="2046"/>
                  </a:lnTo>
                  <a:cubicBezTo>
                    <a:pt x="16635" y="2046"/>
                    <a:pt x="16550" y="2130"/>
                    <a:pt x="16550" y="2235"/>
                  </a:cubicBezTo>
                  <a:lnTo>
                    <a:pt x="16550" y="2990"/>
                  </a:lnTo>
                  <a:cubicBezTo>
                    <a:pt x="16550" y="3094"/>
                    <a:pt x="16635" y="3179"/>
                    <a:pt x="16739" y="3179"/>
                  </a:cubicBezTo>
                  <a:lnTo>
                    <a:pt x="16739" y="3179"/>
                  </a:lnTo>
                  <a:cubicBezTo>
                    <a:pt x="16844" y="3179"/>
                    <a:pt x="16929" y="3094"/>
                    <a:pt x="16929" y="2990"/>
                  </a:cubicBezTo>
                  <a:lnTo>
                    <a:pt x="16929" y="2235"/>
                  </a:lnTo>
                  <a:close/>
                  <a:moveTo>
                    <a:pt x="16929" y="3735"/>
                  </a:moveTo>
                  <a:lnTo>
                    <a:pt x="16929" y="3608"/>
                  </a:lnTo>
                  <a:cubicBezTo>
                    <a:pt x="16929" y="3504"/>
                    <a:pt x="16844" y="3419"/>
                    <a:pt x="16739" y="3419"/>
                  </a:cubicBezTo>
                  <a:lnTo>
                    <a:pt x="16739" y="3419"/>
                  </a:lnTo>
                  <a:cubicBezTo>
                    <a:pt x="16635" y="3419"/>
                    <a:pt x="16550" y="3504"/>
                    <a:pt x="16550" y="3608"/>
                  </a:cubicBezTo>
                  <a:lnTo>
                    <a:pt x="16550" y="3735"/>
                  </a:lnTo>
                  <a:cubicBezTo>
                    <a:pt x="16550" y="3840"/>
                    <a:pt x="16635" y="3924"/>
                    <a:pt x="16739" y="3924"/>
                  </a:cubicBezTo>
                  <a:lnTo>
                    <a:pt x="16739" y="3924"/>
                  </a:lnTo>
                  <a:cubicBezTo>
                    <a:pt x="16844" y="3927"/>
                    <a:pt x="16929" y="3840"/>
                    <a:pt x="16929" y="3735"/>
                  </a:cubicBezTo>
                  <a:close/>
                  <a:moveTo>
                    <a:pt x="16929" y="1662"/>
                  </a:moveTo>
                  <a:lnTo>
                    <a:pt x="16929" y="1535"/>
                  </a:lnTo>
                  <a:cubicBezTo>
                    <a:pt x="16929" y="1430"/>
                    <a:pt x="16844" y="1346"/>
                    <a:pt x="16739" y="1346"/>
                  </a:cubicBezTo>
                  <a:lnTo>
                    <a:pt x="16739" y="1346"/>
                  </a:lnTo>
                  <a:cubicBezTo>
                    <a:pt x="16635" y="1346"/>
                    <a:pt x="16550" y="1430"/>
                    <a:pt x="16550" y="1535"/>
                  </a:cubicBezTo>
                  <a:lnTo>
                    <a:pt x="16550" y="1662"/>
                  </a:lnTo>
                  <a:cubicBezTo>
                    <a:pt x="16550" y="1766"/>
                    <a:pt x="16635" y="1851"/>
                    <a:pt x="16739" y="1851"/>
                  </a:cubicBezTo>
                  <a:lnTo>
                    <a:pt x="16739" y="1851"/>
                  </a:lnTo>
                  <a:cubicBezTo>
                    <a:pt x="16844" y="1851"/>
                    <a:pt x="16929" y="1766"/>
                    <a:pt x="16929" y="1662"/>
                  </a:cubicBezTo>
                  <a:close/>
                  <a:moveTo>
                    <a:pt x="16401" y="1535"/>
                  </a:moveTo>
                  <a:cubicBezTo>
                    <a:pt x="16401" y="1430"/>
                    <a:pt x="16316" y="1346"/>
                    <a:pt x="16212" y="1346"/>
                  </a:cubicBezTo>
                  <a:lnTo>
                    <a:pt x="16212" y="1346"/>
                  </a:lnTo>
                  <a:cubicBezTo>
                    <a:pt x="16107" y="1346"/>
                    <a:pt x="16023" y="1430"/>
                    <a:pt x="16023" y="1535"/>
                  </a:cubicBezTo>
                  <a:lnTo>
                    <a:pt x="16023" y="2290"/>
                  </a:lnTo>
                  <a:cubicBezTo>
                    <a:pt x="16023" y="2395"/>
                    <a:pt x="16107" y="2479"/>
                    <a:pt x="16212" y="2479"/>
                  </a:cubicBezTo>
                  <a:lnTo>
                    <a:pt x="16212" y="2479"/>
                  </a:lnTo>
                  <a:cubicBezTo>
                    <a:pt x="16316" y="2479"/>
                    <a:pt x="16401" y="2395"/>
                    <a:pt x="16401" y="2290"/>
                  </a:cubicBezTo>
                  <a:lnTo>
                    <a:pt x="16401" y="1535"/>
                  </a:lnTo>
                  <a:close/>
                  <a:moveTo>
                    <a:pt x="16401" y="3044"/>
                  </a:moveTo>
                  <a:lnTo>
                    <a:pt x="16401" y="2917"/>
                  </a:lnTo>
                  <a:cubicBezTo>
                    <a:pt x="16401" y="2812"/>
                    <a:pt x="16316" y="2728"/>
                    <a:pt x="16212" y="2728"/>
                  </a:cubicBezTo>
                  <a:lnTo>
                    <a:pt x="16212" y="2728"/>
                  </a:lnTo>
                  <a:cubicBezTo>
                    <a:pt x="16107" y="2728"/>
                    <a:pt x="16023" y="2812"/>
                    <a:pt x="16023" y="2917"/>
                  </a:cubicBezTo>
                  <a:lnTo>
                    <a:pt x="16023" y="3044"/>
                  </a:lnTo>
                  <a:cubicBezTo>
                    <a:pt x="16023" y="3148"/>
                    <a:pt x="16107" y="3233"/>
                    <a:pt x="16212" y="3233"/>
                  </a:cubicBezTo>
                  <a:lnTo>
                    <a:pt x="16212" y="3233"/>
                  </a:lnTo>
                  <a:cubicBezTo>
                    <a:pt x="16316" y="3236"/>
                    <a:pt x="16401" y="3148"/>
                    <a:pt x="16401" y="3044"/>
                  </a:cubicBezTo>
                  <a:close/>
                  <a:moveTo>
                    <a:pt x="16401" y="1007"/>
                  </a:moveTo>
                  <a:lnTo>
                    <a:pt x="16401" y="880"/>
                  </a:lnTo>
                  <a:cubicBezTo>
                    <a:pt x="16401" y="776"/>
                    <a:pt x="16316" y="691"/>
                    <a:pt x="16212" y="691"/>
                  </a:cubicBezTo>
                  <a:lnTo>
                    <a:pt x="16212" y="691"/>
                  </a:lnTo>
                  <a:cubicBezTo>
                    <a:pt x="16107" y="691"/>
                    <a:pt x="16023" y="776"/>
                    <a:pt x="16023" y="880"/>
                  </a:cubicBezTo>
                  <a:lnTo>
                    <a:pt x="16023" y="1007"/>
                  </a:lnTo>
                  <a:cubicBezTo>
                    <a:pt x="16023" y="1112"/>
                    <a:pt x="16107" y="1196"/>
                    <a:pt x="16212" y="1196"/>
                  </a:cubicBezTo>
                  <a:lnTo>
                    <a:pt x="16212" y="1196"/>
                  </a:lnTo>
                  <a:cubicBezTo>
                    <a:pt x="16316" y="1196"/>
                    <a:pt x="16401" y="1112"/>
                    <a:pt x="16401" y="1007"/>
                  </a:cubicBezTo>
                  <a:close/>
                </a:path>
              </a:pathLst>
            </a:custGeom>
            <a:solidFill>
              <a:schemeClr val="tx2"/>
            </a:solidFill>
            <a:ln w="9525" cap="flat">
              <a:noFill/>
              <a:bevel/>
              <a:headEnd/>
              <a:tailEnd/>
            </a:ln>
            <a:effectLst/>
          </p:spPr>
          <p:txBody>
            <a:bodyPr wrap="none" anchor="ctr"/>
            <a:lstStyle/>
            <a:p>
              <a:endParaRPr lang="en-US"/>
            </a:p>
          </p:txBody>
        </p:sp>
        <p:grpSp>
          <p:nvGrpSpPr>
            <p:cNvPr id="16" name="Group 15">
              <a:extLst>
                <a:ext uri="{FF2B5EF4-FFF2-40B4-BE49-F238E27FC236}">
                  <a16:creationId xmlns:a16="http://schemas.microsoft.com/office/drawing/2014/main" id="{53979FA4-EB82-AF43-9CDA-73EFA98FB42D}"/>
                </a:ext>
              </a:extLst>
            </p:cNvPr>
            <p:cNvGrpSpPr/>
            <p:nvPr/>
          </p:nvGrpSpPr>
          <p:grpSpPr>
            <a:xfrm>
              <a:off x="2514600" y="1630524"/>
              <a:ext cx="4114800" cy="2133528"/>
              <a:chOff x="2514600" y="1630524"/>
              <a:chExt cx="4114800" cy="2133528"/>
            </a:xfrm>
          </p:grpSpPr>
          <p:grpSp>
            <p:nvGrpSpPr>
              <p:cNvPr id="23" name="Group 22">
                <a:extLst>
                  <a:ext uri="{FF2B5EF4-FFF2-40B4-BE49-F238E27FC236}">
                    <a16:creationId xmlns:a16="http://schemas.microsoft.com/office/drawing/2014/main" id="{8A9C965B-D059-2145-A150-F98A548E8226}"/>
                  </a:ext>
                </a:extLst>
              </p:cNvPr>
              <p:cNvGrpSpPr>
                <a:grpSpLocks noChangeAspect="1"/>
              </p:cNvGrpSpPr>
              <p:nvPr/>
            </p:nvGrpSpPr>
            <p:grpSpPr>
              <a:xfrm>
                <a:off x="2514600" y="1630524"/>
                <a:ext cx="4114800" cy="1335227"/>
                <a:chOff x="2956719" y="4114800"/>
                <a:chExt cx="3292475" cy="1068387"/>
              </a:xfrm>
            </p:grpSpPr>
            <p:sp>
              <p:nvSpPr>
                <p:cNvPr id="30" name="Freeform 1">
                  <a:extLst>
                    <a:ext uri="{FF2B5EF4-FFF2-40B4-BE49-F238E27FC236}">
                      <a16:creationId xmlns:a16="http://schemas.microsoft.com/office/drawing/2014/main" id="{27F9B8AD-4DC9-B940-A6E2-F7AA5647B2DE}"/>
                    </a:ext>
                  </a:extLst>
                </p:cNvPr>
                <p:cNvSpPr>
                  <a:spLocks noChangeAspect="1" noChangeArrowheads="1"/>
                </p:cNvSpPr>
                <p:nvPr/>
              </p:nvSpPr>
              <p:spPr bwMode="auto">
                <a:xfrm>
                  <a:off x="4531519" y="4567237"/>
                  <a:ext cx="144462" cy="479425"/>
                </a:xfrm>
                <a:custGeom>
                  <a:avLst/>
                  <a:gdLst>
                    <a:gd name="T0" fmla="*/ 397 w 401"/>
                    <a:gd name="T1" fmla="*/ 1139 h 1332"/>
                    <a:gd name="T2" fmla="*/ 201 w 401"/>
                    <a:gd name="T3" fmla="*/ 1331 h 1332"/>
                    <a:gd name="T4" fmla="*/ 0 w 401"/>
                    <a:gd name="T5" fmla="*/ 1139 h 1332"/>
                    <a:gd name="T6" fmla="*/ 0 w 401"/>
                    <a:gd name="T7" fmla="*/ 739 h 1332"/>
                    <a:gd name="T8" fmla="*/ 201 w 401"/>
                    <a:gd name="T9" fmla="*/ 547 h 1332"/>
                    <a:gd name="T10" fmla="*/ 397 w 401"/>
                    <a:gd name="T11" fmla="*/ 739 h 1332"/>
                    <a:gd name="T12" fmla="*/ 397 w 401"/>
                    <a:gd name="T13" fmla="*/ 1139 h 1332"/>
                    <a:gd name="T14" fmla="*/ 202 w 401"/>
                    <a:gd name="T15" fmla="*/ 0 h 1332"/>
                    <a:gd name="T16" fmla="*/ 6 w 401"/>
                    <a:gd name="T17" fmla="*/ 189 h 1332"/>
                    <a:gd name="T18" fmla="*/ 202 w 401"/>
                    <a:gd name="T19" fmla="*/ 378 h 1332"/>
                    <a:gd name="T20" fmla="*/ 400 w 401"/>
                    <a:gd name="T21" fmla="*/ 189 h 1332"/>
                    <a:gd name="T22" fmla="*/ 202 w 401"/>
                    <a:gd name="T23"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1332">
                      <a:moveTo>
                        <a:pt x="397" y="1139"/>
                      </a:moveTo>
                      <a:cubicBezTo>
                        <a:pt x="397" y="1246"/>
                        <a:pt x="311" y="1331"/>
                        <a:pt x="201" y="1331"/>
                      </a:cubicBezTo>
                      <a:cubicBezTo>
                        <a:pt x="90" y="1331"/>
                        <a:pt x="0" y="1246"/>
                        <a:pt x="0" y="1139"/>
                      </a:cubicBezTo>
                      <a:lnTo>
                        <a:pt x="0" y="739"/>
                      </a:lnTo>
                      <a:cubicBezTo>
                        <a:pt x="0" y="634"/>
                        <a:pt x="90" y="547"/>
                        <a:pt x="201" y="547"/>
                      </a:cubicBezTo>
                      <a:cubicBezTo>
                        <a:pt x="310" y="547"/>
                        <a:pt x="397" y="632"/>
                        <a:pt x="397" y="739"/>
                      </a:cubicBezTo>
                      <a:lnTo>
                        <a:pt x="397" y="1139"/>
                      </a:lnTo>
                      <a:close/>
                      <a:moveTo>
                        <a:pt x="202" y="0"/>
                      </a:moveTo>
                      <a:cubicBezTo>
                        <a:pt x="93" y="0"/>
                        <a:pt x="6" y="84"/>
                        <a:pt x="6" y="189"/>
                      </a:cubicBezTo>
                      <a:cubicBezTo>
                        <a:pt x="6" y="293"/>
                        <a:pt x="93" y="378"/>
                        <a:pt x="202" y="378"/>
                      </a:cubicBezTo>
                      <a:cubicBezTo>
                        <a:pt x="312" y="378"/>
                        <a:pt x="400" y="293"/>
                        <a:pt x="400" y="189"/>
                      </a:cubicBezTo>
                      <a:cubicBezTo>
                        <a:pt x="400" y="84"/>
                        <a:pt x="312" y="0"/>
                        <a:pt x="202" y="0"/>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1" name="Freeform 2">
                  <a:extLst>
                    <a:ext uri="{FF2B5EF4-FFF2-40B4-BE49-F238E27FC236}">
                      <a16:creationId xmlns:a16="http://schemas.microsoft.com/office/drawing/2014/main" id="{F9CA5182-CAC8-A84A-973B-0DC18345F9DC}"/>
                    </a:ext>
                  </a:extLst>
                </p:cNvPr>
                <p:cNvSpPr>
                  <a:spLocks noChangeAspect="1" noChangeArrowheads="1"/>
                </p:cNvSpPr>
                <p:nvPr/>
              </p:nvSpPr>
              <p:spPr bwMode="auto">
                <a:xfrm>
                  <a:off x="4137819" y="4371975"/>
                  <a:ext cx="935037" cy="674687"/>
                </a:xfrm>
                <a:custGeom>
                  <a:avLst/>
                  <a:gdLst>
                    <a:gd name="T0" fmla="*/ 401 w 2596"/>
                    <a:gd name="T1" fmla="*/ 1681 h 1874"/>
                    <a:gd name="T2" fmla="*/ 201 w 2596"/>
                    <a:gd name="T3" fmla="*/ 1873 h 1874"/>
                    <a:gd name="T4" fmla="*/ 0 w 2596"/>
                    <a:gd name="T5" fmla="*/ 1681 h 1874"/>
                    <a:gd name="T6" fmla="*/ 0 w 2596"/>
                    <a:gd name="T7" fmla="*/ 756 h 1874"/>
                    <a:gd name="T8" fmla="*/ 201 w 2596"/>
                    <a:gd name="T9" fmla="*/ 564 h 1874"/>
                    <a:gd name="T10" fmla="*/ 401 w 2596"/>
                    <a:gd name="T11" fmla="*/ 756 h 1874"/>
                    <a:gd name="T12" fmla="*/ 401 w 2596"/>
                    <a:gd name="T13" fmla="*/ 1681 h 1874"/>
                    <a:gd name="T14" fmla="*/ 203 w 2596"/>
                    <a:gd name="T15" fmla="*/ 0 h 1874"/>
                    <a:gd name="T16" fmla="*/ 6 w 2596"/>
                    <a:gd name="T17" fmla="*/ 189 h 1874"/>
                    <a:gd name="T18" fmla="*/ 203 w 2596"/>
                    <a:gd name="T19" fmla="*/ 378 h 1874"/>
                    <a:gd name="T20" fmla="*/ 401 w 2596"/>
                    <a:gd name="T21" fmla="*/ 189 h 1874"/>
                    <a:gd name="T22" fmla="*/ 203 w 2596"/>
                    <a:gd name="T23" fmla="*/ 0 h 1874"/>
                    <a:gd name="T24" fmla="*/ 2587 w 2596"/>
                    <a:gd name="T25" fmla="*/ 1681 h 1874"/>
                    <a:gd name="T26" fmla="*/ 2389 w 2596"/>
                    <a:gd name="T27" fmla="*/ 1873 h 1874"/>
                    <a:gd name="T28" fmla="*/ 2192 w 2596"/>
                    <a:gd name="T29" fmla="*/ 1681 h 1874"/>
                    <a:gd name="T30" fmla="*/ 2192 w 2596"/>
                    <a:gd name="T31" fmla="*/ 756 h 1874"/>
                    <a:gd name="T32" fmla="*/ 2389 w 2596"/>
                    <a:gd name="T33" fmla="*/ 564 h 1874"/>
                    <a:gd name="T34" fmla="*/ 2587 w 2596"/>
                    <a:gd name="T35" fmla="*/ 756 h 1874"/>
                    <a:gd name="T36" fmla="*/ 2587 w 2596"/>
                    <a:gd name="T37" fmla="*/ 1681 h 1874"/>
                    <a:gd name="T38" fmla="*/ 2398 w 2596"/>
                    <a:gd name="T39" fmla="*/ 8 h 1874"/>
                    <a:gd name="T40" fmla="*/ 2200 w 2596"/>
                    <a:gd name="T41" fmla="*/ 197 h 1874"/>
                    <a:gd name="T42" fmla="*/ 2398 w 2596"/>
                    <a:gd name="T43" fmla="*/ 386 h 1874"/>
                    <a:gd name="T44" fmla="*/ 2595 w 2596"/>
                    <a:gd name="T45" fmla="*/ 197 h 1874"/>
                    <a:gd name="T46" fmla="*/ 2398 w 2596"/>
                    <a:gd name="T47" fmla="*/ 8 h 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96" h="1874">
                      <a:moveTo>
                        <a:pt x="401" y="1681"/>
                      </a:moveTo>
                      <a:cubicBezTo>
                        <a:pt x="401" y="1788"/>
                        <a:pt x="311" y="1873"/>
                        <a:pt x="201" y="1873"/>
                      </a:cubicBezTo>
                      <a:cubicBezTo>
                        <a:pt x="90" y="1873"/>
                        <a:pt x="0" y="1788"/>
                        <a:pt x="0" y="1681"/>
                      </a:cubicBezTo>
                      <a:lnTo>
                        <a:pt x="0" y="756"/>
                      </a:lnTo>
                      <a:cubicBezTo>
                        <a:pt x="0" y="652"/>
                        <a:pt x="90" y="564"/>
                        <a:pt x="201" y="564"/>
                      </a:cubicBezTo>
                      <a:cubicBezTo>
                        <a:pt x="311" y="564"/>
                        <a:pt x="401" y="649"/>
                        <a:pt x="401" y="756"/>
                      </a:cubicBezTo>
                      <a:lnTo>
                        <a:pt x="401" y="1681"/>
                      </a:lnTo>
                      <a:close/>
                      <a:moveTo>
                        <a:pt x="203" y="0"/>
                      </a:moveTo>
                      <a:cubicBezTo>
                        <a:pt x="93" y="0"/>
                        <a:pt x="6" y="84"/>
                        <a:pt x="6" y="189"/>
                      </a:cubicBezTo>
                      <a:cubicBezTo>
                        <a:pt x="6" y="293"/>
                        <a:pt x="93" y="378"/>
                        <a:pt x="203" y="378"/>
                      </a:cubicBezTo>
                      <a:cubicBezTo>
                        <a:pt x="313" y="378"/>
                        <a:pt x="401" y="293"/>
                        <a:pt x="401" y="189"/>
                      </a:cubicBezTo>
                      <a:cubicBezTo>
                        <a:pt x="401" y="84"/>
                        <a:pt x="313" y="0"/>
                        <a:pt x="203" y="0"/>
                      </a:cubicBezTo>
                      <a:close/>
                      <a:moveTo>
                        <a:pt x="2587" y="1681"/>
                      </a:moveTo>
                      <a:cubicBezTo>
                        <a:pt x="2587" y="1788"/>
                        <a:pt x="2500" y="1873"/>
                        <a:pt x="2389" y="1873"/>
                      </a:cubicBezTo>
                      <a:cubicBezTo>
                        <a:pt x="2279" y="1873"/>
                        <a:pt x="2192" y="1788"/>
                        <a:pt x="2192" y="1681"/>
                      </a:cubicBezTo>
                      <a:lnTo>
                        <a:pt x="2192" y="756"/>
                      </a:lnTo>
                      <a:cubicBezTo>
                        <a:pt x="2192" y="652"/>
                        <a:pt x="2282" y="564"/>
                        <a:pt x="2389" y="564"/>
                      </a:cubicBezTo>
                      <a:cubicBezTo>
                        <a:pt x="2500" y="564"/>
                        <a:pt x="2587" y="649"/>
                        <a:pt x="2587" y="756"/>
                      </a:cubicBezTo>
                      <a:lnTo>
                        <a:pt x="2587" y="1681"/>
                      </a:lnTo>
                      <a:close/>
                      <a:moveTo>
                        <a:pt x="2398" y="8"/>
                      </a:moveTo>
                      <a:cubicBezTo>
                        <a:pt x="2288" y="8"/>
                        <a:pt x="2200" y="92"/>
                        <a:pt x="2200" y="197"/>
                      </a:cubicBezTo>
                      <a:cubicBezTo>
                        <a:pt x="2200" y="301"/>
                        <a:pt x="2288" y="386"/>
                        <a:pt x="2398" y="386"/>
                      </a:cubicBezTo>
                      <a:cubicBezTo>
                        <a:pt x="2505" y="386"/>
                        <a:pt x="2595" y="302"/>
                        <a:pt x="2595" y="197"/>
                      </a:cubicBezTo>
                      <a:cubicBezTo>
                        <a:pt x="2595" y="93"/>
                        <a:pt x="2508" y="8"/>
                        <a:pt x="2398" y="8"/>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2" name="Freeform 3">
                  <a:extLst>
                    <a:ext uri="{FF2B5EF4-FFF2-40B4-BE49-F238E27FC236}">
                      <a16:creationId xmlns:a16="http://schemas.microsoft.com/office/drawing/2014/main" id="{35E8A869-2AED-DF44-9B97-43B64CB6AEE1}"/>
                    </a:ext>
                  </a:extLst>
                </p:cNvPr>
                <p:cNvSpPr>
                  <a:spLocks noChangeAspect="1" noChangeArrowheads="1"/>
                </p:cNvSpPr>
                <p:nvPr/>
              </p:nvSpPr>
              <p:spPr bwMode="auto">
                <a:xfrm>
                  <a:off x="3350419" y="4371975"/>
                  <a:ext cx="2506662" cy="674687"/>
                </a:xfrm>
                <a:custGeom>
                  <a:avLst/>
                  <a:gdLst>
                    <a:gd name="T0" fmla="*/ 401 w 6962"/>
                    <a:gd name="T1" fmla="*/ 1679 h 1872"/>
                    <a:gd name="T2" fmla="*/ 200 w 6962"/>
                    <a:gd name="T3" fmla="*/ 1871 h 1872"/>
                    <a:gd name="T4" fmla="*/ 0 w 6962"/>
                    <a:gd name="T5" fmla="*/ 1679 h 1872"/>
                    <a:gd name="T6" fmla="*/ 0 w 6962"/>
                    <a:gd name="T7" fmla="*/ 754 h 1872"/>
                    <a:gd name="T8" fmla="*/ 200 w 6962"/>
                    <a:gd name="T9" fmla="*/ 562 h 1872"/>
                    <a:gd name="T10" fmla="*/ 401 w 6962"/>
                    <a:gd name="T11" fmla="*/ 754 h 1872"/>
                    <a:gd name="T12" fmla="*/ 401 w 6962"/>
                    <a:gd name="T13" fmla="*/ 1679 h 1872"/>
                    <a:gd name="T14" fmla="*/ 212 w 6962"/>
                    <a:gd name="T15" fmla="*/ 0 h 1872"/>
                    <a:gd name="T16" fmla="*/ 14 w 6962"/>
                    <a:gd name="T17" fmla="*/ 190 h 1872"/>
                    <a:gd name="T18" fmla="*/ 212 w 6962"/>
                    <a:gd name="T19" fmla="*/ 379 h 1872"/>
                    <a:gd name="T20" fmla="*/ 409 w 6962"/>
                    <a:gd name="T21" fmla="*/ 190 h 1872"/>
                    <a:gd name="T22" fmla="*/ 212 w 6962"/>
                    <a:gd name="T23" fmla="*/ 0 h 1872"/>
                    <a:gd name="T24" fmla="*/ 6961 w 6962"/>
                    <a:gd name="T25" fmla="*/ 1679 h 1872"/>
                    <a:gd name="T26" fmla="*/ 6761 w 6962"/>
                    <a:gd name="T27" fmla="*/ 1871 h 1872"/>
                    <a:gd name="T28" fmla="*/ 6563 w 6962"/>
                    <a:gd name="T29" fmla="*/ 1679 h 1872"/>
                    <a:gd name="T30" fmla="*/ 6563 w 6962"/>
                    <a:gd name="T31" fmla="*/ 754 h 1872"/>
                    <a:gd name="T32" fmla="*/ 6761 w 6962"/>
                    <a:gd name="T33" fmla="*/ 562 h 1872"/>
                    <a:gd name="T34" fmla="*/ 6961 w 6962"/>
                    <a:gd name="T35" fmla="*/ 754 h 1872"/>
                    <a:gd name="T36" fmla="*/ 6961 w 6962"/>
                    <a:gd name="T37" fmla="*/ 1679 h 1872"/>
                    <a:gd name="T38" fmla="*/ 6764 w 6962"/>
                    <a:gd name="T39" fmla="*/ 12 h 1872"/>
                    <a:gd name="T40" fmla="*/ 6566 w 6962"/>
                    <a:gd name="T41" fmla="*/ 201 h 1872"/>
                    <a:gd name="T42" fmla="*/ 6764 w 6962"/>
                    <a:gd name="T43" fmla="*/ 390 h 1872"/>
                    <a:gd name="T44" fmla="*/ 6961 w 6962"/>
                    <a:gd name="T45" fmla="*/ 201 h 1872"/>
                    <a:gd name="T46" fmla="*/ 6764 w 6962"/>
                    <a:gd name="T47" fmla="*/ 12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62" h="1872">
                      <a:moveTo>
                        <a:pt x="401" y="1679"/>
                      </a:moveTo>
                      <a:cubicBezTo>
                        <a:pt x="401" y="1786"/>
                        <a:pt x="310" y="1871"/>
                        <a:pt x="200" y="1871"/>
                      </a:cubicBezTo>
                      <a:cubicBezTo>
                        <a:pt x="89" y="1871"/>
                        <a:pt x="0" y="1786"/>
                        <a:pt x="0" y="1679"/>
                      </a:cubicBezTo>
                      <a:lnTo>
                        <a:pt x="0" y="754"/>
                      </a:lnTo>
                      <a:cubicBezTo>
                        <a:pt x="0" y="650"/>
                        <a:pt x="89" y="562"/>
                        <a:pt x="200" y="562"/>
                      </a:cubicBezTo>
                      <a:cubicBezTo>
                        <a:pt x="310" y="562"/>
                        <a:pt x="401" y="647"/>
                        <a:pt x="401" y="754"/>
                      </a:cubicBezTo>
                      <a:lnTo>
                        <a:pt x="401" y="1679"/>
                      </a:lnTo>
                      <a:close/>
                      <a:moveTo>
                        <a:pt x="212" y="0"/>
                      </a:moveTo>
                      <a:cubicBezTo>
                        <a:pt x="102" y="0"/>
                        <a:pt x="14" y="85"/>
                        <a:pt x="14" y="190"/>
                      </a:cubicBezTo>
                      <a:cubicBezTo>
                        <a:pt x="14" y="294"/>
                        <a:pt x="102" y="379"/>
                        <a:pt x="212" y="379"/>
                      </a:cubicBezTo>
                      <a:cubicBezTo>
                        <a:pt x="319" y="381"/>
                        <a:pt x="409" y="297"/>
                        <a:pt x="409" y="190"/>
                      </a:cubicBezTo>
                      <a:cubicBezTo>
                        <a:pt x="409" y="85"/>
                        <a:pt x="322" y="0"/>
                        <a:pt x="212" y="0"/>
                      </a:cubicBezTo>
                      <a:close/>
                      <a:moveTo>
                        <a:pt x="6961" y="1679"/>
                      </a:moveTo>
                      <a:cubicBezTo>
                        <a:pt x="6961" y="1786"/>
                        <a:pt x="6874" y="1871"/>
                        <a:pt x="6761" y="1871"/>
                      </a:cubicBezTo>
                      <a:cubicBezTo>
                        <a:pt x="6651" y="1871"/>
                        <a:pt x="6563" y="1786"/>
                        <a:pt x="6563" y="1679"/>
                      </a:cubicBezTo>
                      <a:lnTo>
                        <a:pt x="6563" y="754"/>
                      </a:lnTo>
                      <a:cubicBezTo>
                        <a:pt x="6563" y="650"/>
                        <a:pt x="6651" y="562"/>
                        <a:pt x="6761" y="562"/>
                      </a:cubicBezTo>
                      <a:cubicBezTo>
                        <a:pt x="6874" y="562"/>
                        <a:pt x="6961" y="647"/>
                        <a:pt x="6961" y="754"/>
                      </a:cubicBezTo>
                      <a:lnTo>
                        <a:pt x="6961" y="1679"/>
                      </a:lnTo>
                      <a:close/>
                      <a:moveTo>
                        <a:pt x="6764" y="12"/>
                      </a:moveTo>
                      <a:cubicBezTo>
                        <a:pt x="6654" y="12"/>
                        <a:pt x="6566" y="96"/>
                        <a:pt x="6566" y="201"/>
                      </a:cubicBezTo>
                      <a:cubicBezTo>
                        <a:pt x="6566" y="305"/>
                        <a:pt x="6653" y="390"/>
                        <a:pt x="6764" y="390"/>
                      </a:cubicBezTo>
                      <a:cubicBezTo>
                        <a:pt x="6871" y="390"/>
                        <a:pt x="6961" y="305"/>
                        <a:pt x="6961" y="201"/>
                      </a:cubicBezTo>
                      <a:cubicBezTo>
                        <a:pt x="6961" y="96"/>
                        <a:pt x="6875" y="12"/>
                        <a:pt x="6764" y="12"/>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33" name="Freeform 4">
                  <a:extLst>
                    <a:ext uri="{FF2B5EF4-FFF2-40B4-BE49-F238E27FC236}">
                      <a16:creationId xmlns:a16="http://schemas.microsoft.com/office/drawing/2014/main" id="{A5D8AA36-7627-AC45-A60B-0B01E8715F78}"/>
                    </a:ext>
                  </a:extLst>
                </p:cNvPr>
                <p:cNvSpPr>
                  <a:spLocks noChangeAspect="1" noChangeArrowheads="1"/>
                </p:cNvSpPr>
                <p:nvPr/>
              </p:nvSpPr>
              <p:spPr bwMode="auto">
                <a:xfrm>
                  <a:off x="2956719" y="4114800"/>
                  <a:ext cx="3292475" cy="1068387"/>
                </a:xfrm>
                <a:custGeom>
                  <a:avLst/>
                  <a:gdLst>
                    <a:gd name="T0" fmla="*/ 401 w 9146"/>
                    <a:gd name="T1" fmla="*/ 2395 h 2969"/>
                    <a:gd name="T2" fmla="*/ 200 w 9146"/>
                    <a:gd name="T3" fmla="*/ 2587 h 2969"/>
                    <a:gd name="T4" fmla="*/ 0 w 9146"/>
                    <a:gd name="T5" fmla="*/ 2395 h 2969"/>
                    <a:gd name="T6" fmla="*/ 0 w 9146"/>
                    <a:gd name="T7" fmla="*/ 1995 h 2969"/>
                    <a:gd name="T8" fmla="*/ 200 w 9146"/>
                    <a:gd name="T9" fmla="*/ 1803 h 2969"/>
                    <a:gd name="T10" fmla="*/ 401 w 9146"/>
                    <a:gd name="T11" fmla="*/ 1995 h 2969"/>
                    <a:gd name="T12" fmla="*/ 401 w 9146"/>
                    <a:gd name="T13" fmla="*/ 2395 h 2969"/>
                    <a:gd name="T14" fmla="*/ 200 w 9146"/>
                    <a:gd name="T15" fmla="*/ 1247 h 2969"/>
                    <a:gd name="T16" fmla="*/ 3 w 9146"/>
                    <a:gd name="T17" fmla="*/ 1436 h 2969"/>
                    <a:gd name="T18" fmla="*/ 200 w 9146"/>
                    <a:gd name="T19" fmla="*/ 1625 h 2969"/>
                    <a:gd name="T20" fmla="*/ 398 w 9146"/>
                    <a:gd name="T21" fmla="*/ 1436 h 2969"/>
                    <a:gd name="T22" fmla="*/ 200 w 9146"/>
                    <a:gd name="T23" fmla="*/ 1247 h 2969"/>
                    <a:gd name="T24" fmla="*/ 2588 w 9146"/>
                    <a:gd name="T25" fmla="*/ 2776 h 2969"/>
                    <a:gd name="T26" fmla="*/ 2387 w 9146"/>
                    <a:gd name="T27" fmla="*/ 2968 h 2969"/>
                    <a:gd name="T28" fmla="*/ 2187 w 9146"/>
                    <a:gd name="T29" fmla="*/ 2776 h 2969"/>
                    <a:gd name="T30" fmla="*/ 2187 w 9146"/>
                    <a:gd name="T31" fmla="*/ 750 h 2969"/>
                    <a:gd name="T32" fmla="*/ 2387 w 9146"/>
                    <a:gd name="T33" fmla="*/ 558 h 2969"/>
                    <a:gd name="T34" fmla="*/ 2588 w 9146"/>
                    <a:gd name="T35" fmla="*/ 750 h 2969"/>
                    <a:gd name="T36" fmla="*/ 2588 w 9146"/>
                    <a:gd name="T37" fmla="*/ 2776 h 2969"/>
                    <a:gd name="T38" fmla="*/ 2387 w 9146"/>
                    <a:gd name="T39" fmla="*/ 0 h 2969"/>
                    <a:gd name="T40" fmla="*/ 2190 w 9146"/>
                    <a:gd name="T41" fmla="*/ 189 h 2969"/>
                    <a:gd name="T42" fmla="*/ 2387 w 9146"/>
                    <a:gd name="T43" fmla="*/ 378 h 2969"/>
                    <a:gd name="T44" fmla="*/ 2585 w 9146"/>
                    <a:gd name="T45" fmla="*/ 189 h 2969"/>
                    <a:gd name="T46" fmla="*/ 2387 w 9146"/>
                    <a:gd name="T47" fmla="*/ 0 h 2969"/>
                    <a:gd name="T48" fmla="*/ 6961 w 9146"/>
                    <a:gd name="T49" fmla="*/ 2776 h 2969"/>
                    <a:gd name="T50" fmla="*/ 6763 w 9146"/>
                    <a:gd name="T51" fmla="*/ 2968 h 2969"/>
                    <a:gd name="T52" fmla="*/ 6566 w 9146"/>
                    <a:gd name="T53" fmla="*/ 2776 h 2969"/>
                    <a:gd name="T54" fmla="*/ 6566 w 9146"/>
                    <a:gd name="T55" fmla="*/ 750 h 2969"/>
                    <a:gd name="T56" fmla="*/ 6763 w 9146"/>
                    <a:gd name="T57" fmla="*/ 558 h 2969"/>
                    <a:gd name="T58" fmla="*/ 6961 w 9146"/>
                    <a:gd name="T59" fmla="*/ 750 h 2969"/>
                    <a:gd name="T60" fmla="*/ 6961 w 9146"/>
                    <a:gd name="T61" fmla="*/ 2776 h 2969"/>
                    <a:gd name="T62" fmla="*/ 6766 w 9146"/>
                    <a:gd name="T63" fmla="*/ 8 h 2969"/>
                    <a:gd name="T64" fmla="*/ 6569 w 9146"/>
                    <a:gd name="T65" fmla="*/ 197 h 2969"/>
                    <a:gd name="T66" fmla="*/ 6766 w 9146"/>
                    <a:gd name="T67" fmla="*/ 386 h 2969"/>
                    <a:gd name="T68" fmla="*/ 6964 w 9146"/>
                    <a:gd name="T69" fmla="*/ 197 h 2969"/>
                    <a:gd name="T70" fmla="*/ 6766 w 9146"/>
                    <a:gd name="T71" fmla="*/ 8 h 2969"/>
                    <a:gd name="T72" fmla="*/ 9145 w 9146"/>
                    <a:gd name="T73" fmla="*/ 2395 h 2969"/>
                    <a:gd name="T74" fmla="*/ 8948 w 9146"/>
                    <a:gd name="T75" fmla="*/ 2587 h 2969"/>
                    <a:gd name="T76" fmla="*/ 8750 w 9146"/>
                    <a:gd name="T77" fmla="*/ 2395 h 2969"/>
                    <a:gd name="T78" fmla="*/ 8750 w 9146"/>
                    <a:gd name="T79" fmla="*/ 1995 h 2969"/>
                    <a:gd name="T80" fmla="*/ 8948 w 9146"/>
                    <a:gd name="T81" fmla="*/ 1803 h 2969"/>
                    <a:gd name="T82" fmla="*/ 9145 w 9146"/>
                    <a:gd name="T83" fmla="*/ 1995 h 2969"/>
                    <a:gd name="T84" fmla="*/ 9145 w 9146"/>
                    <a:gd name="T85" fmla="*/ 2395 h 2969"/>
                    <a:gd name="T86" fmla="*/ 8948 w 9146"/>
                    <a:gd name="T87" fmla="*/ 1247 h 2969"/>
                    <a:gd name="T88" fmla="*/ 8750 w 9146"/>
                    <a:gd name="T89" fmla="*/ 1436 h 2969"/>
                    <a:gd name="T90" fmla="*/ 8948 w 9146"/>
                    <a:gd name="T91" fmla="*/ 1625 h 2969"/>
                    <a:gd name="T92" fmla="*/ 9145 w 9146"/>
                    <a:gd name="T93" fmla="*/ 1436 h 2969"/>
                    <a:gd name="T94" fmla="*/ 8948 w 9146"/>
                    <a:gd name="T95" fmla="*/ 1247 h 2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46" h="2969">
                      <a:moveTo>
                        <a:pt x="401" y="2395"/>
                      </a:moveTo>
                      <a:cubicBezTo>
                        <a:pt x="401" y="2502"/>
                        <a:pt x="310" y="2587"/>
                        <a:pt x="200" y="2587"/>
                      </a:cubicBezTo>
                      <a:cubicBezTo>
                        <a:pt x="90" y="2587"/>
                        <a:pt x="0" y="2502"/>
                        <a:pt x="0" y="2395"/>
                      </a:cubicBezTo>
                      <a:lnTo>
                        <a:pt x="0" y="1995"/>
                      </a:lnTo>
                      <a:cubicBezTo>
                        <a:pt x="0" y="1890"/>
                        <a:pt x="90" y="1803"/>
                        <a:pt x="200" y="1803"/>
                      </a:cubicBezTo>
                      <a:cubicBezTo>
                        <a:pt x="310" y="1803"/>
                        <a:pt x="401" y="1888"/>
                        <a:pt x="401" y="1995"/>
                      </a:cubicBezTo>
                      <a:lnTo>
                        <a:pt x="401" y="2395"/>
                      </a:lnTo>
                      <a:close/>
                      <a:moveTo>
                        <a:pt x="200" y="1247"/>
                      </a:moveTo>
                      <a:cubicBezTo>
                        <a:pt x="90" y="1247"/>
                        <a:pt x="3" y="1331"/>
                        <a:pt x="3" y="1436"/>
                      </a:cubicBezTo>
                      <a:cubicBezTo>
                        <a:pt x="3" y="1540"/>
                        <a:pt x="90" y="1625"/>
                        <a:pt x="200" y="1625"/>
                      </a:cubicBezTo>
                      <a:cubicBezTo>
                        <a:pt x="310" y="1625"/>
                        <a:pt x="398" y="1540"/>
                        <a:pt x="398" y="1436"/>
                      </a:cubicBezTo>
                      <a:cubicBezTo>
                        <a:pt x="398" y="1331"/>
                        <a:pt x="310" y="1247"/>
                        <a:pt x="200" y="1247"/>
                      </a:cubicBezTo>
                      <a:close/>
                      <a:moveTo>
                        <a:pt x="2588" y="2776"/>
                      </a:moveTo>
                      <a:cubicBezTo>
                        <a:pt x="2588" y="2883"/>
                        <a:pt x="2497" y="2968"/>
                        <a:pt x="2387" y="2968"/>
                      </a:cubicBezTo>
                      <a:cubicBezTo>
                        <a:pt x="2277" y="2968"/>
                        <a:pt x="2187" y="2883"/>
                        <a:pt x="2187" y="2776"/>
                      </a:cubicBezTo>
                      <a:lnTo>
                        <a:pt x="2187" y="750"/>
                      </a:lnTo>
                      <a:cubicBezTo>
                        <a:pt x="2187" y="646"/>
                        <a:pt x="2277" y="558"/>
                        <a:pt x="2387" y="558"/>
                      </a:cubicBezTo>
                      <a:cubicBezTo>
                        <a:pt x="2497" y="558"/>
                        <a:pt x="2588" y="643"/>
                        <a:pt x="2588" y="750"/>
                      </a:cubicBezTo>
                      <a:lnTo>
                        <a:pt x="2588" y="2776"/>
                      </a:lnTo>
                      <a:close/>
                      <a:moveTo>
                        <a:pt x="2387" y="0"/>
                      </a:moveTo>
                      <a:cubicBezTo>
                        <a:pt x="2277" y="0"/>
                        <a:pt x="2190" y="84"/>
                        <a:pt x="2190" y="189"/>
                      </a:cubicBezTo>
                      <a:cubicBezTo>
                        <a:pt x="2190" y="293"/>
                        <a:pt x="2277" y="378"/>
                        <a:pt x="2387" y="378"/>
                      </a:cubicBezTo>
                      <a:cubicBezTo>
                        <a:pt x="2497" y="378"/>
                        <a:pt x="2585" y="293"/>
                        <a:pt x="2585" y="189"/>
                      </a:cubicBezTo>
                      <a:cubicBezTo>
                        <a:pt x="2585" y="84"/>
                        <a:pt x="2497" y="0"/>
                        <a:pt x="2387" y="0"/>
                      </a:cubicBezTo>
                      <a:close/>
                      <a:moveTo>
                        <a:pt x="6961" y="2776"/>
                      </a:moveTo>
                      <a:cubicBezTo>
                        <a:pt x="6961" y="2883"/>
                        <a:pt x="6873" y="2968"/>
                        <a:pt x="6763" y="2968"/>
                      </a:cubicBezTo>
                      <a:cubicBezTo>
                        <a:pt x="6653" y="2968"/>
                        <a:pt x="6566" y="2883"/>
                        <a:pt x="6566" y="2776"/>
                      </a:cubicBezTo>
                      <a:lnTo>
                        <a:pt x="6566" y="750"/>
                      </a:lnTo>
                      <a:cubicBezTo>
                        <a:pt x="6566" y="646"/>
                        <a:pt x="6653" y="558"/>
                        <a:pt x="6763" y="558"/>
                      </a:cubicBezTo>
                      <a:cubicBezTo>
                        <a:pt x="6873" y="558"/>
                        <a:pt x="6961" y="643"/>
                        <a:pt x="6961" y="750"/>
                      </a:cubicBezTo>
                      <a:lnTo>
                        <a:pt x="6961" y="2776"/>
                      </a:lnTo>
                      <a:close/>
                      <a:moveTo>
                        <a:pt x="6766" y="8"/>
                      </a:moveTo>
                      <a:cubicBezTo>
                        <a:pt x="6656" y="8"/>
                        <a:pt x="6569" y="92"/>
                        <a:pt x="6569" y="197"/>
                      </a:cubicBezTo>
                      <a:cubicBezTo>
                        <a:pt x="6569" y="301"/>
                        <a:pt x="6656" y="386"/>
                        <a:pt x="6766" y="386"/>
                      </a:cubicBezTo>
                      <a:cubicBezTo>
                        <a:pt x="6873" y="386"/>
                        <a:pt x="6964" y="301"/>
                        <a:pt x="6964" y="197"/>
                      </a:cubicBezTo>
                      <a:cubicBezTo>
                        <a:pt x="6964" y="92"/>
                        <a:pt x="6876" y="8"/>
                        <a:pt x="6766" y="8"/>
                      </a:cubicBezTo>
                      <a:close/>
                      <a:moveTo>
                        <a:pt x="9145" y="2395"/>
                      </a:moveTo>
                      <a:cubicBezTo>
                        <a:pt x="9145" y="2502"/>
                        <a:pt x="9055" y="2587"/>
                        <a:pt x="8948" y="2587"/>
                      </a:cubicBezTo>
                      <a:cubicBezTo>
                        <a:pt x="8838" y="2587"/>
                        <a:pt x="8750" y="2502"/>
                        <a:pt x="8750" y="2395"/>
                      </a:cubicBezTo>
                      <a:lnTo>
                        <a:pt x="8750" y="1995"/>
                      </a:lnTo>
                      <a:cubicBezTo>
                        <a:pt x="8750" y="1890"/>
                        <a:pt x="8840" y="1803"/>
                        <a:pt x="8948" y="1803"/>
                      </a:cubicBezTo>
                      <a:cubicBezTo>
                        <a:pt x="9058" y="1803"/>
                        <a:pt x="9145" y="1888"/>
                        <a:pt x="9145" y="1995"/>
                      </a:cubicBezTo>
                      <a:lnTo>
                        <a:pt x="9145" y="2395"/>
                      </a:lnTo>
                      <a:close/>
                      <a:moveTo>
                        <a:pt x="8948" y="1247"/>
                      </a:moveTo>
                      <a:cubicBezTo>
                        <a:pt x="8838" y="1247"/>
                        <a:pt x="8750" y="1331"/>
                        <a:pt x="8750" y="1436"/>
                      </a:cubicBezTo>
                      <a:cubicBezTo>
                        <a:pt x="8750" y="1540"/>
                        <a:pt x="8838" y="1625"/>
                        <a:pt x="8948" y="1625"/>
                      </a:cubicBezTo>
                      <a:cubicBezTo>
                        <a:pt x="9058" y="1625"/>
                        <a:pt x="9145" y="1540"/>
                        <a:pt x="9145" y="1436"/>
                      </a:cubicBezTo>
                      <a:cubicBezTo>
                        <a:pt x="9145" y="1331"/>
                        <a:pt x="9058" y="1247"/>
                        <a:pt x="8948" y="1247"/>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27" name="Group 26">
                <a:extLst>
                  <a:ext uri="{FF2B5EF4-FFF2-40B4-BE49-F238E27FC236}">
                    <a16:creationId xmlns:a16="http://schemas.microsoft.com/office/drawing/2014/main" id="{80D71A16-B56A-DF41-B3DF-65FB9DE77D6A}"/>
                  </a:ext>
                </a:extLst>
              </p:cNvPr>
              <p:cNvGrpSpPr>
                <a:grpSpLocks noChangeAspect="1"/>
              </p:cNvGrpSpPr>
              <p:nvPr/>
            </p:nvGrpSpPr>
            <p:grpSpPr>
              <a:xfrm>
                <a:off x="2610880" y="3376996"/>
                <a:ext cx="3910270" cy="387056"/>
                <a:chOff x="3503613" y="4343400"/>
                <a:chExt cx="3127379" cy="309563"/>
              </a:xfrm>
            </p:grpSpPr>
            <p:sp>
              <p:nvSpPr>
                <p:cNvPr id="28" name="Freeform 1">
                  <a:extLst>
                    <a:ext uri="{FF2B5EF4-FFF2-40B4-BE49-F238E27FC236}">
                      <a16:creationId xmlns:a16="http://schemas.microsoft.com/office/drawing/2014/main" id="{7140AB6A-7747-DC41-9559-A95331AC4807}"/>
                    </a:ext>
                  </a:extLst>
                </p:cNvPr>
                <p:cNvSpPr>
                  <a:spLocks noChangeArrowheads="1"/>
                </p:cNvSpPr>
                <p:nvPr/>
              </p:nvSpPr>
              <p:spPr bwMode="auto">
                <a:xfrm>
                  <a:off x="3503613" y="4343400"/>
                  <a:ext cx="1538287" cy="254000"/>
                </a:xfrm>
                <a:custGeom>
                  <a:avLst/>
                  <a:gdLst>
                    <a:gd name="T0" fmla="*/ 426 w 4271"/>
                    <a:gd name="T1" fmla="*/ 187 h 704"/>
                    <a:gd name="T2" fmla="*/ 330 w 4271"/>
                    <a:gd name="T3" fmla="*/ 421 h 704"/>
                    <a:gd name="T4" fmla="*/ 274 w 4271"/>
                    <a:gd name="T5" fmla="*/ 418 h 704"/>
                    <a:gd name="T6" fmla="*/ 632 w 4271"/>
                    <a:gd name="T7" fmla="*/ 342 h 704"/>
                    <a:gd name="T8" fmla="*/ 802 w 4271"/>
                    <a:gd name="T9" fmla="*/ 215 h 704"/>
                    <a:gd name="T10" fmla="*/ 968 w 4271"/>
                    <a:gd name="T11" fmla="*/ 339 h 704"/>
                    <a:gd name="T12" fmla="*/ 931 w 4271"/>
                    <a:gd name="T13" fmla="*/ 601 h 704"/>
                    <a:gd name="T14" fmla="*/ 728 w 4271"/>
                    <a:gd name="T15" fmla="*/ 644 h 704"/>
                    <a:gd name="T16" fmla="*/ 618 w 4271"/>
                    <a:gd name="T17" fmla="*/ 438 h 704"/>
                    <a:gd name="T18" fmla="*/ 632 w 4271"/>
                    <a:gd name="T19" fmla="*/ 632 h 704"/>
                    <a:gd name="T20" fmla="*/ 895 w 4271"/>
                    <a:gd name="T21" fmla="*/ 683 h 704"/>
                    <a:gd name="T22" fmla="*/ 1036 w 4271"/>
                    <a:gd name="T23" fmla="*/ 438 h 704"/>
                    <a:gd name="T24" fmla="*/ 892 w 4271"/>
                    <a:gd name="T25" fmla="*/ 192 h 704"/>
                    <a:gd name="T26" fmla="*/ 627 w 4271"/>
                    <a:gd name="T27" fmla="*/ 240 h 704"/>
                    <a:gd name="T28" fmla="*/ 581 w 4271"/>
                    <a:gd name="T29" fmla="*/ 551 h 704"/>
                    <a:gd name="T30" fmla="*/ 1171 w 4271"/>
                    <a:gd name="T31" fmla="*/ 601 h 704"/>
                    <a:gd name="T32" fmla="*/ 1335 w 4271"/>
                    <a:gd name="T33" fmla="*/ 700 h 704"/>
                    <a:gd name="T34" fmla="*/ 1510 w 4271"/>
                    <a:gd name="T35" fmla="*/ 686 h 704"/>
                    <a:gd name="T36" fmla="*/ 1501 w 4271"/>
                    <a:gd name="T37" fmla="*/ 189 h 704"/>
                    <a:gd name="T38" fmla="*/ 1459 w 4271"/>
                    <a:gd name="T39" fmla="*/ 610 h 704"/>
                    <a:gd name="T40" fmla="*/ 1250 w 4271"/>
                    <a:gd name="T41" fmla="*/ 621 h 704"/>
                    <a:gd name="T42" fmla="*/ 1157 w 4271"/>
                    <a:gd name="T43" fmla="*/ 187 h 704"/>
                    <a:gd name="T44" fmla="*/ 2057 w 4271"/>
                    <a:gd name="T45" fmla="*/ 378 h 704"/>
                    <a:gd name="T46" fmla="*/ 2148 w 4271"/>
                    <a:gd name="T47" fmla="*/ 232 h 704"/>
                    <a:gd name="T48" fmla="*/ 2328 w 4271"/>
                    <a:gd name="T49" fmla="*/ 347 h 704"/>
                    <a:gd name="T50" fmla="*/ 2382 w 4271"/>
                    <a:gd name="T51" fmla="*/ 378 h 704"/>
                    <a:gd name="T52" fmla="*/ 2469 w 4271"/>
                    <a:gd name="T53" fmla="*/ 232 h 704"/>
                    <a:gd name="T54" fmla="*/ 2653 w 4271"/>
                    <a:gd name="T55" fmla="*/ 350 h 704"/>
                    <a:gd name="T56" fmla="*/ 2706 w 4271"/>
                    <a:gd name="T57" fmla="*/ 347 h 704"/>
                    <a:gd name="T58" fmla="*/ 2492 w 4271"/>
                    <a:gd name="T59" fmla="*/ 181 h 704"/>
                    <a:gd name="T60" fmla="*/ 2371 w 4271"/>
                    <a:gd name="T61" fmla="*/ 274 h 704"/>
                    <a:gd name="T62" fmla="*/ 2125 w 4271"/>
                    <a:gd name="T63" fmla="*/ 198 h 704"/>
                    <a:gd name="T64" fmla="*/ 2004 w 4271"/>
                    <a:gd name="T65" fmla="*/ 192 h 704"/>
                    <a:gd name="T66" fmla="*/ 2057 w 4271"/>
                    <a:gd name="T67" fmla="*/ 686 h 704"/>
                    <a:gd name="T68" fmla="*/ 2884 w 4271"/>
                    <a:gd name="T69" fmla="*/ 517 h 704"/>
                    <a:gd name="T70" fmla="*/ 3034 w 4271"/>
                    <a:gd name="T71" fmla="*/ 441 h 704"/>
                    <a:gd name="T72" fmla="*/ 3158 w 4271"/>
                    <a:gd name="T73" fmla="*/ 570 h 704"/>
                    <a:gd name="T74" fmla="*/ 3008 w 4271"/>
                    <a:gd name="T75" fmla="*/ 658 h 704"/>
                    <a:gd name="T76" fmla="*/ 2935 w 4271"/>
                    <a:gd name="T77" fmla="*/ 246 h 704"/>
                    <a:gd name="T78" fmla="*/ 3175 w 4271"/>
                    <a:gd name="T79" fmla="*/ 333 h 704"/>
                    <a:gd name="T80" fmla="*/ 2927 w 4271"/>
                    <a:gd name="T81" fmla="*/ 424 h 704"/>
                    <a:gd name="T82" fmla="*/ 2819 w 4271"/>
                    <a:gd name="T83" fmla="*/ 559 h 704"/>
                    <a:gd name="T84" fmla="*/ 2924 w 4271"/>
                    <a:gd name="T85" fmla="*/ 692 h 704"/>
                    <a:gd name="T86" fmla="*/ 3107 w 4271"/>
                    <a:gd name="T87" fmla="*/ 672 h 704"/>
                    <a:gd name="T88" fmla="*/ 3183 w 4271"/>
                    <a:gd name="T89" fmla="*/ 686 h 704"/>
                    <a:gd name="T90" fmla="*/ 3212 w 4271"/>
                    <a:gd name="T91" fmla="*/ 271 h 704"/>
                    <a:gd name="T92" fmla="*/ 3034 w 4271"/>
                    <a:gd name="T93" fmla="*/ 178 h 704"/>
                    <a:gd name="T94" fmla="*/ 2850 w 4271"/>
                    <a:gd name="T95" fmla="*/ 263 h 704"/>
                    <a:gd name="T96" fmla="*/ 2893 w 4271"/>
                    <a:gd name="T97" fmla="*/ 319 h 704"/>
                    <a:gd name="T98" fmla="*/ 3782 w 4271"/>
                    <a:gd name="T99" fmla="*/ 686 h 704"/>
                    <a:gd name="T100" fmla="*/ 3677 w 4271"/>
                    <a:gd name="T101" fmla="*/ 189 h 704"/>
                    <a:gd name="T102" fmla="*/ 3375 w 4271"/>
                    <a:gd name="T103" fmla="*/ 0 h 704"/>
                    <a:gd name="T104" fmla="*/ 3429 w 4271"/>
                    <a:gd name="T105" fmla="*/ 424 h 704"/>
                    <a:gd name="T106" fmla="*/ 4199 w 4271"/>
                    <a:gd name="T107" fmla="*/ 325 h 704"/>
                    <a:gd name="T108" fmla="*/ 3917 w 4271"/>
                    <a:gd name="T109" fmla="*/ 268 h 704"/>
                    <a:gd name="T110" fmla="*/ 4205 w 4271"/>
                    <a:gd name="T111" fmla="*/ 551 h 704"/>
                    <a:gd name="T112" fmla="*/ 3974 w 4271"/>
                    <a:gd name="T113" fmla="*/ 647 h 704"/>
                    <a:gd name="T114" fmla="*/ 3855 w 4271"/>
                    <a:gd name="T115" fmla="*/ 452 h 704"/>
                    <a:gd name="T116" fmla="*/ 4205 w 4271"/>
                    <a:gd name="T117" fmla="*/ 246 h 704"/>
                    <a:gd name="T118" fmla="*/ 3945 w 4271"/>
                    <a:gd name="T119" fmla="*/ 195 h 704"/>
                    <a:gd name="T120" fmla="*/ 3801 w 4271"/>
                    <a:gd name="T121" fmla="*/ 441 h 704"/>
                    <a:gd name="T122" fmla="*/ 3948 w 4271"/>
                    <a:gd name="T123" fmla="*/ 686 h 704"/>
                    <a:gd name="T124" fmla="*/ 4259 w 4271"/>
                    <a:gd name="T125" fmla="*/ 553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1" h="704">
                      <a:moveTo>
                        <a:pt x="62" y="0"/>
                      </a:moveTo>
                      <a:lnTo>
                        <a:pt x="302" y="370"/>
                      </a:lnTo>
                      <a:cubicBezTo>
                        <a:pt x="344" y="308"/>
                        <a:pt x="384" y="246"/>
                        <a:pt x="426" y="187"/>
                      </a:cubicBezTo>
                      <a:cubicBezTo>
                        <a:pt x="466" y="124"/>
                        <a:pt x="508" y="65"/>
                        <a:pt x="548" y="3"/>
                      </a:cubicBezTo>
                      <a:lnTo>
                        <a:pt x="604" y="3"/>
                      </a:lnTo>
                      <a:lnTo>
                        <a:pt x="330" y="421"/>
                      </a:lnTo>
                      <a:lnTo>
                        <a:pt x="330" y="689"/>
                      </a:lnTo>
                      <a:lnTo>
                        <a:pt x="274" y="689"/>
                      </a:lnTo>
                      <a:lnTo>
                        <a:pt x="274" y="418"/>
                      </a:lnTo>
                      <a:lnTo>
                        <a:pt x="0" y="0"/>
                      </a:lnTo>
                      <a:lnTo>
                        <a:pt x="62" y="0"/>
                      </a:lnTo>
                      <a:close/>
                      <a:moveTo>
                        <a:pt x="632" y="342"/>
                      </a:moveTo>
                      <a:cubicBezTo>
                        <a:pt x="640" y="314"/>
                        <a:pt x="655" y="291"/>
                        <a:pt x="672" y="271"/>
                      </a:cubicBezTo>
                      <a:cubicBezTo>
                        <a:pt x="689" y="251"/>
                        <a:pt x="708" y="240"/>
                        <a:pt x="728" y="229"/>
                      </a:cubicBezTo>
                      <a:cubicBezTo>
                        <a:pt x="751" y="220"/>
                        <a:pt x="773" y="215"/>
                        <a:pt x="802" y="215"/>
                      </a:cubicBezTo>
                      <a:cubicBezTo>
                        <a:pt x="827" y="215"/>
                        <a:pt x="852" y="220"/>
                        <a:pt x="875" y="229"/>
                      </a:cubicBezTo>
                      <a:cubicBezTo>
                        <a:pt x="897" y="237"/>
                        <a:pt x="917" y="251"/>
                        <a:pt x="931" y="271"/>
                      </a:cubicBezTo>
                      <a:cubicBezTo>
                        <a:pt x="948" y="291"/>
                        <a:pt x="960" y="314"/>
                        <a:pt x="968" y="339"/>
                      </a:cubicBezTo>
                      <a:cubicBezTo>
                        <a:pt x="977" y="367"/>
                        <a:pt x="982" y="398"/>
                        <a:pt x="982" y="435"/>
                      </a:cubicBezTo>
                      <a:cubicBezTo>
                        <a:pt x="982" y="472"/>
                        <a:pt x="976" y="503"/>
                        <a:pt x="968" y="531"/>
                      </a:cubicBezTo>
                      <a:cubicBezTo>
                        <a:pt x="959" y="559"/>
                        <a:pt x="945" y="582"/>
                        <a:pt x="931" y="601"/>
                      </a:cubicBezTo>
                      <a:cubicBezTo>
                        <a:pt x="914" y="621"/>
                        <a:pt x="895" y="632"/>
                        <a:pt x="875" y="644"/>
                      </a:cubicBezTo>
                      <a:cubicBezTo>
                        <a:pt x="852" y="652"/>
                        <a:pt x="830" y="658"/>
                        <a:pt x="802" y="658"/>
                      </a:cubicBezTo>
                      <a:cubicBezTo>
                        <a:pt x="776" y="658"/>
                        <a:pt x="751" y="652"/>
                        <a:pt x="728" y="644"/>
                      </a:cubicBezTo>
                      <a:cubicBezTo>
                        <a:pt x="706" y="635"/>
                        <a:pt x="686" y="621"/>
                        <a:pt x="669" y="601"/>
                      </a:cubicBezTo>
                      <a:cubicBezTo>
                        <a:pt x="652" y="582"/>
                        <a:pt x="641" y="559"/>
                        <a:pt x="629" y="531"/>
                      </a:cubicBezTo>
                      <a:cubicBezTo>
                        <a:pt x="621" y="508"/>
                        <a:pt x="618" y="475"/>
                        <a:pt x="618" y="438"/>
                      </a:cubicBezTo>
                      <a:cubicBezTo>
                        <a:pt x="618" y="402"/>
                        <a:pt x="623" y="370"/>
                        <a:pt x="632" y="342"/>
                      </a:cubicBezTo>
                      <a:close/>
                      <a:moveTo>
                        <a:pt x="581" y="551"/>
                      </a:moveTo>
                      <a:cubicBezTo>
                        <a:pt x="593" y="584"/>
                        <a:pt x="610" y="610"/>
                        <a:pt x="632" y="632"/>
                      </a:cubicBezTo>
                      <a:cubicBezTo>
                        <a:pt x="655" y="655"/>
                        <a:pt x="680" y="672"/>
                        <a:pt x="708" y="683"/>
                      </a:cubicBezTo>
                      <a:cubicBezTo>
                        <a:pt x="737" y="695"/>
                        <a:pt x="768" y="700"/>
                        <a:pt x="802" y="700"/>
                      </a:cubicBezTo>
                      <a:cubicBezTo>
                        <a:pt x="835" y="700"/>
                        <a:pt x="866" y="695"/>
                        <a:pt x="895" y="683"/>
                      </a:cubicBezTo>
                      <a:cubicBezTo>
                        <a:pt x="923" y="672"/>
                        <a:pt x="948" y="655"/>
                        <a:pt x="971" y="632"/>
                      </a:cubicBezTo>
                      <a:cubicBezTo>
                        <a:pt x="991" y="610"/>
                        <a:pt x="1008" y="584"/>
                        <a:pt x="1019" y="551"/>
                      </a:cubicBezTo>
                      <a:cubicBezTo>
                        <a:pt x="1030" y="517"/>
                        <a:pt x="1036" y="481"/>
                        <a:pt x="1036" y="438"/>
                      </a:cubicBezTo>
                      <a:cubicBezTo>
                        <a:pt x="1036" y="396"/>
                        <a:pt x="1030" y="356"/>
                        <a:pt x="1019" y="325"/>
                      </a:cubicBezTo>
                      <a:cubicBezTo>
                        <a:pt x="1008" y="291"/>
                        <a:pt x="991" y="266"/>
                        <a:pt x="968" y="243"/>
                      </a:cubicBezTo>
                      <a:cubicBezTo>
                        <a:pt x="945" y="220"/>
                        <a:pt x="923" y="204"/>
                        <a:pt x="892" y="192"/>
                      </a:cubicBezTo>
                      <a:cubicBezTo>
                        <a:pt x="864" y="181"/>
                        <a:pt x="833" y="175"/>
                        <a:pt x="796" y="175"/>
                      </a:cubicBezTo>
                      <a:cubicBezTo>
                        <a:pt x="762" y="175"/>
                        <a:pt x="731" y="181"/>
                        <a:pt x="703" y="192"/>
                      </a:cubicBezTo>
                      <a:cubicBezTo>
                        <a:pt x="675" y="204"/>
                        <a:pt x="649" y="220"/>
                        <a:pt x="627" y="240"/>
                      </a:cubicBezTo>
                      <a:cubicBezTo>
                        <a:pt x="604" y="263"/>
                        <a:pt x="587" y="288"/>
                        <a:pt x="576" y="322"/>
                      </a:cubicBezTo>
                      <a:cubicBezTo>
                        <a:pt x="567" y="356"/>
                        <a:pt x="562" y="396"/>
                        <a:pt x="562" y="438"/>
                      </a:cubicBezTo>
                      <a:cubicBezTo>
                        <a:pt x="562" y="481"/>
                        <a:pt x="567" y="517"/>
                        <a:pt x="581" y="551"/>
                      </a:cubicBezTo>
                      <a:close/>
                      <a:moveTo>
                        <a:pt x="1157" y="189"/>
                      </a:moveTo>
                      <a:lnTo>
                        <a:pt x="1157" y="525"/>
                      </a:lnTo>
                      <a:cubicBezTo>
                        <a:pt x="1157" y="553"/>
                        <a:pt x="1162" y="579"/>
                        <a:pt x="1171" y="601"/>
                      </a:cubicBezTo>
                      <a:cubicBezTo>
                        <a:pt x="1179" y="624"/>
                        <a:pt x="1194" y="641"/>
                        <a:pt x="1208" y="655"/>
                      </a:cubicBezTo>
                      <a:cubicBezTo>
                        <a:pt x="1225" y="669"/>
                        <a:pt x="1241" y="681"/>
                        <a:pt x="1264" y="689"/>
                      </a:cubicBezTo>
                      <a:cubicBezTo>
                        <a:pt x="1286" y="698"/>
                        <a:pt x="1310" y="700"/>
                        <a:pt x="1335" y="700"/>
                      </a:cubicBezTo>
                      <a:cubicBezTo>
                        <a:pt x="1366" y="700"/>
                        <a:pt x="1400" y="692"/>
                        <a:pt x="1431" y="678"/>
                      </a:cubicBezTo>
                      <a:cubicBezTo>
                        <a:pt x="1462" y="664"/>
                        <a:pt x="1487" y="638"/>
                        <a:pt x="1504" y="607"/>
                      </a:cubicBezTo>
                      <a:lnTo>
                        <a:pt x="1510" y="686"/>
                      </a:lnTo>
                      <a:lnTo>
                        <a:pt x="1555" y="686"/>
                      </a:lnTo>
                      <a:lnTo>
                        <a:pt x="1555" y="189"/>
                      </a:lnTo>
                      <a:lnTo>
                        <a:pt x="1501" y="189"/>
                      </a:lnTo>
                      <a:lnTo>
                        <a:pt x="1501" y="494"/>
                      </a:lnTo>
                      <a:cubicBezTo>
                        <a:pt x="1501" y="517"/>
                        <a:pt x="1499" y="539"/>
                        <a:pt x="1490" y="559"/>
                      </a:cubicBezTo>
                      <a:cubicBezTo>
                        <a:pt x="1482" y="579"/>
                        <a:pt x="1473" y="596"/>
                        <a:pt x="1459" y="610"/>
                      </a:cubicBezTo>
                      <a:cubicBezTo>
                        <a:pt x="1445" y="624"/>
                        <a:pt x="1428" y="635"/>
                        <a:pt x="1411" y="644"/>
                      </a:cubicBezTo>
                      <a:cubicBezTo>
                        <a:pt x="1391" y="652"/>
                        <a:pt x="1372" y="655"/>
                        <a:pt x="1349" y="655"/>
                      </a:cubicBezTo>
                      <a:cubicBezTo>
                        <a:pt x="1307" y="655"/>
                        <a:pt x="1275" y="644"/>
                        <a:pt x="1250" y="621"/>
                      </a:cubicBezTo>
                      <a:cubicBezTo>
                        <a:pt x="1224" y="599"/>
                        <a:pt x="1214" y="568"/>
                        <a:pt x="1214" y="522"/>
                      </a:cubicBezTo>
                      <a:lnTo>
                        <a:pt x="1214" y="187"/>
                      </a:lnTo>
                      <a:lnTo>
                        <a:pt x="1157" y="187"/>
                      </a:lnTo>
                      <a:lnTo>
                        <a:pt x="1157" y="189"/>
                      </a:lnTo>
                      <a:close/>
                      <a:moveTo>
                        <a:pt x="2057" y="686"/>
                      </a:moveTo>
                      <a:lnTo>
                        <a:pt x="2057" y="378"/>
                      </a:lnTo>
                      <a:cubicBezTo>
                        <a:pt x="2057" y="356"/>
                        <a:pt x="2060" y="336"/>
                        <a:pt x="2069" y="316"/>
                      </a:cubicBezTo>
                      <a:cubicBezTo>
                        <a:pt x="2077" y="297"/>
                        <a:pt x="2086" y="281"/>
                        <a:pt x="2100" y="266"/>
                      </a:cubicBezTo>
                      <a:cubicBezTo>
                        <a:pt x="2114" y="252"/>
                        <a:pt x="2128" y="240"/>
                        <a:pt x="2148" y="232"/>
                      </a:cubicBezTo>
                      <a:cubicBezTo>
                        <a:pt x="2165" y="223"/>
                        <a:pt x="2184" y="220"/>
                        <a:pt x="2207" y="220"/>
                      </a:cubicBezTo>
                      <a:cubicBezTo>
                        <a:pt x="2246" y="220"/>
                        <a:pt x="2277" y="232"/>
                        <a:pt x="2297" y="251"/>
                      </a:cubicBezTo>
                      <a:cubicBezTo>
                        <a:pt x="2317" y="271"/>
                        <a:pt x="2328" y="305"/>
                        <a:pt x="2328" y="347"/>
                      </a:cubicBezTo>
                      <a:lnTo>
                        <a:pt x="2328" y="686"/>
                      </a:lnTo>
                      <a:lnTo>
                        <a:pt x="2382" y="686"/>
                      </a:lnTo>
                      <a:lnTo>
                        <a:pt x="2382" y="378"/>
                      </a:lnTo>
                      <a:cubicBezTo>
                        <a:pt x="2382" y="356"/>
                        <a:pt x="2385" y="336"/>
                        <a:pt x="2393" y="316"/>
                      </a:cubicBezTo>
                      <a:cubicBezTo>
                        <a:pt x="2399" y="297"/>
                        <a:pt x="2410" y="281"/>
                        <a:pt x="2424" y="266"/>
                      </a:cubicBezTo>
                      <a:cubicBezTo>
                        <a:pt x="2438" y="252"/>
                        <a:pt x="2452" y="241"/>
                        <a:pt x="2469" y="232"/>
                      </a:cubicBezTo>
                      <a:cubicBezTo>
                        <a:pt x="2486" y="224"/>
                        <a:pt x="2506" y="220"/>
                        <a:pt x="2529" y="220"/>
                      </a:cubicBezTo>
                      <a:cubicBezTo>
                        <a:pt x="2568" y="220"/>
                        <a:pt x="2599" y="232"/>
                        <a:pt x="2622" y="251"/>
                      </a:cubicBezTo>
                      <a:cubicBezTo>
                        <a:pt x="2644" y="271"/>
                        <a:pt x="2653" y="305"/>
                        <a:pt x="2653" y="350"/>
                      </a:cubicBezTo>
                      <a:lnTo>
                        <a:pt x="2653" y="689"/>
                      </a:lnTo>
                      <a:lnTo>
                        <a:pt x="2706" y="689"/>
                      </a:lnTo>
                      <a:lnTo>
                        <a:pt x="2706" y="347"/>
                      </a:lnTo>
                      <a:cubicBezTo>
                        <a:pt x="2706" y="294"/>
                        <a:pt x="2692" y="251"/>
                        <a:pt x="2661" y="220"/>
                      </a:cubicBezTo>
                      <a:cubicBezTo>
                        <a:pt x="2630" y="192"/>
                        <a:pt x="2591" y="175"/>
                        <a:pt x="2540" y="175"/>
                      </a:cubicBezTo>
                      <a:cubicBezTo>
                        <a:pt x="2523" y="175"/>
                        <a:pt x="2509" y="178"/>
                        <a:pt x="2492" y="181"/>
                      </a:cubicBezTo>
                      <a:cubicBezTo>
                        <a:pt x="2475" y="184"/>
                        <a:pt x="2461" y="189"/>
                        <a:pt x="2444" y="198"/>
                      </a:cubicBezTo>
                      <a:cubicBezTo>
                        <a:pt x="2430" y="206"/>
                        <a:pt x="2416" y="215"/>
                        <a:pt x="2402" y="229"/>
                      </a:cubicBezTo>
                      <a:cubicBezTo>
                        <a:pt x="2388" y="240"/>
                        <a:pt x="2379" y="257"/>
                        <a:pt x="2371" y="274"/>
                      </a:cubicBezTo>
                      <a:cubicBezTo>
                        <a:pt x="2359" y="240"/>
                        <a:pt x="2339" y="218"/>
                        <a:pt x="2314" y="201"/>
                      </a:cubicBezTo>
                      <a:cubicBezTo>
                        <a:pt x="2288" y="184"/>
                        <a:pt x="2255" y="175"/>
                        <a:pt x="2215" y="175"/>
                      </a:cubicBezTo>
                      <a:cubicBezTo>
                        <a:pt x="2184" y="175"/>
                        <a:pt x="2156" y="184"/>
                        <a:pt x="2125" y="198"/>
                      </a:cubicBezTo>
                      <a:cubicBezTo>
                        <a:pt x="2097" y="212"/>
                        <a:pt x="2071" y="235"/>
                        <a:pt x="2055" y="268"/>
                      </a:cubicBezTo>
                      <a:lnTo>
                        <a:pt x="2049" y="192"/>
                      </a:lnTo>
                      <a:lnTo>
                        <a:pt x="2004" y="192"/>
                      </a:lnTo>
                      <a:lnTo>
                        <a:pt x="2004" y="689"/>
                      </a:lnTo>
                      <a:lnTo>
                        <a:pt x="2057" y="689"/>
                      </a:lnTo>
                      <a:lnTo>
                        <a:pt x="2057" y="686"/>
                      </a:lnTo>
                      <a:close/>
                      <a:moveTo>
                        <a:pt x="2912" y="632"/>
                      </a:moveTo>
                      <a:cubicBezTo>
                        <a:pt x="2887" y="616"/>
                        <a:pt x="2876" y="590"/>
                        <a:pt x="2876" y="556"/>
                      </a:cubicBezTo>
                      <a:cubicBezTo>
                        <a:pt x="2876" y="542"/>
                        <a:pt x="2878" y="529"/>
                        <a:pt x="2884" y="517"/>
                      </a:cubicBezTo>
                      <a:cubicBezTo>
                        <a:pt x="2889" y="506"/>
                        <a:pt x="2898" y="495"/>
                        <a:pt x="2910" y="486"/>
                      </a:cubicBezTo>
                      <a:cubicBezTo>
                        <a:pt x="2921" y="478"/>
                        <a:pt x="2938" y="469"/>
                        <a:pt x="2958" y="460"/>
                      </a:cubicBezTo>
                      <a:cubicBezTo>
                        <a:pt x="2977" y="452"/>
                        <a:pt x="3003" y="446"/>
                        <a:pt x="3034" y="441"/>
                      </a:cubicBezTo>
                      <a:lnTo>
                        <a:pt x="3172" y="418"/>
                      </a:lnTo>
                      <a:lnTo>
                        <a:pt x="3172" y="511"/>
                      </a:lnTo>
                      <a:cubicBezTo>
                        <a:pt x="3172" y="534"/>
                        <a:pt x="3166" y="553"/>
                        <a:pt x="3158" y="570"/>
                      </a:cubicBezTo>
                      <a:cubicBezTo>
                        <a:pt x="3149" y="587"/>
                        <a:pt x="3135" y="604"/>
                        <a:pt x="3118" y="616"/>
                      </a:cubicBezTo>
                      <a:cubicBezTo>
                        <a:pt x="3102" y="630"/>
                        <a:pt x="3085" y="638"/>
                        <a:pt x="3065" y="647"/>
                      </a:cubicBezTo>
                      <a:cubicBezTo>
                        <a:pt x="3048" y="655"/>
                        <a:pt x="3028" y="658"/>
                        <a:pt x="3008" y="658"/>
                      </a:cubicBezTo>
                      <a:cubicBezTo>
                        <a:pt x="2969" y="658"/>
                        <a:pt x="2938" y="649"/>
                        <a:pt x="2912" y="632"/>
                      </a:cubicBezTo>
                      <a:close/>
                      <a:moveTo>
                        <a:pt x="2893" y="319"/>
                      </a:moveTo>
                      <a:cubicBezTo>
                        <a:pt x="2895" y="288"/>
                        <a:pt x="2910" y="263"/>
                        <a:pt x="2935" y="246"/>
                      </a:cubicBezTo>
                      <a:cubicBezTo>
                        <a:pt x="2960" y="226"/>
                        <a:pt x="2994" y="218"/>
                        <a:pt x="3034" y="218"/>
                      </a:cubicBezTo>
                      <a:cubicBezTo>
                        <a:pt x="3079" y="218"/>
                        <a:pt x="3113" y="229"/>
                        <a:pt x="3138" y="249"/>
                      </a:cubicBezTo>
                      <a:cubicBezTo>
                        <a:pt x="3164" y="268"/>
                        <a:pt x="3175" y="297"/>
                        <a:pt x="3175" y="333"/>
                      </a:cubicBezTo>
                      <a:lnTo>
                        <a:pt x="3175" y="376"/>
                      </a:lnTo>
                      <a:lnTo>
                        <a:pt x="3020" y="401"/>
                      </a:lnTo>
                      <a:cubicBezTo>
                        <a:pt x="2983" y="407"/>
                        <a:pt x="2952" y="415"/>
                        <a:pt x="2927" y="424"/>
                      </a:cubicBezTo>
                      <a:cubicBezTo>
                        <a:pt x="2901" y="432"/>
                        <a:pt x="2881" y="443"/>
                        <a:pt x="2864" y="458"/>
                      </a:cubicBezTo>
                      <a:cubicBezTo>
                        <a:pt x="2848" y="472"/>
                        <a:pt x="2836" y="486"/>
                        <a:pt x="2831" y="503"/>
                      </a:cubicBezTo>
                      <a:cubicBezTo>
                        <a:pt x="2825" y="520"/>
                        <a:pt x="2819" y="539"/>
                        <a:pt x="2819" y="559"/>
                      </a:cubicBezTo>
                      <a:cubicBezTo>
                        <a:pt x="2819" y="582"/>
                        <a:pt x="2824" y="601"/>
                        <a:pt x="2833" y="618"/>
                      </a:cubicBezTo>
                      <a:cubicBezTo>
                        <a:pt x="2841" y="635"/>
                        <a:pt x="2853" y="649"/>
                        <a:pt x="2870" y="664"/>
                      </a:cubicBezTo>
                      <a:cubicBezTo>
                        <a:pt x="2884" y="675"/>
                        <a:pt x="2904" y="687"/>
                        <a:pt x="2924" y="692"/>
                      </a:cubicBezTo>
                      <a:cubicBezTo>
                        <a:pt x="2943" y="698"/>
                        <a:pt x="2969" y="700"/>
                        <a:pt x="2994" y="700"/>
                      </a:cubicBezTo>
                      <a:cubicBezTo>
                        <a:pt x="3017" y="700"/>
                        <a:pt x="3039" y="697"/>
                        <a:pt x="3056" y="692"/>
                      </a:cubicBezTo>
                      <a:cubicBezTo>
                        <a:pt x="3076" y="686"/>
                        <a:pt x="3093" y="680"/>
                        <a:pt x="3107" y="672"/>
                      </a:cubicBezTo>
                      <a:cubicBezTo>
                        <a:pt x="3121" y="664"/>
                        <a:pt x="3135" y="652"/>
                        <a:pt x="3147" y="641"/>
                      </a:cubicBezTo>
                      <a:cubicBezTo>
                        <a:pt x="3158" y="630"/>
                        <a:pt x="3166" y="618"/>
                        <a:pt x="3175" y="604"/>
                      </a:cubicBezTo>
                      <a:lnTo>
                        <a:pt x="3183" y="686"/>
                      </a:lnTo>
                      <a:lnTo>
                        <a:pt x="3226" y="686"/>
                      </a:lnTo>
                      <a:lnTo>
                        <a:pt x="3226" y="339"/>
                      </a:lnTo>
                      <a:cubicBezTo>
                        <a:pt x="3226" y="314"/>
                        <a:pt x="3220" y="291"/>
                        <a:pt x="3212" y="271"/>
                      </a:cubicBezTo>
                      <a:cubicBezTo>
                        <a:pt x="3203" y="251"/>
                        <a:pt x="3189" y="235"/>
                        <a:pt x="3172" y="220"/>
                      </a:cubicBezTo>
                      <a:cubicBezTo>
                        <a:pt x="3155" y="206"/>
                        <a:pt x="3135" y="195"/>
                        <a:pt x="3113" y="189"/>
                      </a:cubicBezTo>
                      <a:cubicBezTo>
                        <a:pt x="3090" y="181"/>
                        <a:pt x="3062" y="178"/>
                        <a:pt x="3034" y="178"/>
                      </a:cubicBezTo>
                      <a:cubicBezTo>
                        <a:pt x="3006" y="178"/>
                        <a:pt x="2980" y="181"/>
                        <a:pt x="2955" y="189"/>
                      </a:cubicBezTo>
                      <a:cubicBezTo>
                        <a:pt x="2932" y="195"/>
                        <a:pt x="2910" y="206"/>
                        <a:pt x="2893" y="218"/>
                      </a:cubicBezTo>
                      <a:cubicBezTo>
                        <a:pt x="2876" y="229"/>
                        <a:pt x="2861" y="246"/>
                        <a:pt x="2850" y="263"/>
                      </a:cubicBezTo>
                      <a:cubicBezTo>
                        <a:pt x="2838" y="280"/>
                        <a:pt x="2833" y="299"/>
                        <a:pt x="2831" y="322"/>
                      </a:cubicBezTo>
                      <a:lnTo>
                        <a:pt x="2893" y="322"/>
                      </a:lnTo>
                      <a:lnTo>
                        <a:pt x="2893" y="319"/>
                      </a:lnTo>
                      <a:close/>
                      <a:moveTo>
                        <a:pt x="3429" y="424"/>
                      </a:moveTo>
                      <a:lnTo>
                        <a:pt x="3708" y="686"/>
                      </a:lnTo>
                      <a:lnTo>
                        <a:pt x="3782" y="686"/>
                      </a:lnTo>
                      <a:lnTo>
                        <a:pt x="3482" y="407"/>
                      </a:lnTo>
                      <a:lnTo>
                        <a:pt x="3748" y="189"/>
                      </a:lnTo>
                      <a:lnTo>
                        <a:pt x="3677" y="189"/>
                      </a:lnTo>
                      <a:lnTo>
                        <a:pt x="3429" y="393"/>
                      </a:lnTo>
                      <a:lnTo>
                        <a:pt x="3429" y="0"/>
                      </a:lnTo>
                      <a:lnTo>
                        <a:pt x="3375" y="0"/>
                      </a:lnTo>
                      <a:lnTo>
                        <a:pt x="3375" y="686"/>
                      </a:lnTo>
                      <a:lnTo>
                        <a:pt x="3429" y="686"/>
                      </a:lnTo>
                      <a:lnTo>
                        <a:pt x="3429" y="424"/>
                      </a:lnTo>
                      <a:close/>
                      <a:moveTo>
                        <a:pt x="4103" y="229"/>
                      </a:moveTo>
                      <a:cubicBezTo>
                        <a:pt x="4123" y="237"/>
                        <a:pt x="4143" y="249"/>
                        <a:pt x="4160" y="266"/>
                      </a:cubicBezTo>
                      <a:cubicBezTo>
                        <a:pt x="4177" y="283"/>
                        <a:pt x="4188" y="299"/>
                        <a:pt x="4199" y="325"/>
                      </a:cubicBezTo>
                      <a:cubicBezTo>
                        <a:pt x="4208" y="347"/>
                        <a:pt x="4213" y="376"/>
                        <a:pt x="4216" y="410"/>
                      </a:cubicBezTo>
                      <a:lnTo>
                        <a:pt x="3858" y="410"/>
                      </a:lnTo>
                      <a:cubicBezTo>
                        <a:pt x="3863" y="347"/>
                        <a:pt x="3883" y="299"/>
                        <a:pt x="3917" y="268"/>
                      </a:cubicBezTo>
                      <a:cubicBezTo>
                        <a:pt x="3948" y="235"/>
                        <a:pt x="3988" y="218"/>
                        <a:pt x="4036" y="218"/>
                      </a:cubicBezTo>
                      <a:cubicBezTo>
                        <a:pt x="4058" y="218"/>
                        <a:pt x="4081" y="220"/>
                        <a:pt x="4103" y="229"/>
                      </a:cubicBezTo>
                      <a:close/>
                      <a:moveTo>
                        <a:pt x="4205" y="551"/>
                      </a:moveTo>
                      <a:cubicBezTo>
                        <a:pt x="4194" y="584"/>
                        <a:pt x="4176" y="611"/>
                        <a:pt x="4148" y="630"/>
                      </a:cubicBezTo>
                      <a:cubicBezTo>
                        <a:pt x="4119" y="650"/>
                        <a:pt x="4086" y="658"/>
                        <a:pt x="4047" y="658"/>
                      </a:cubicBezTo>
                      <a:cubicBezTo>
                        <a:pt x="4021" y="658"/>
                        <a:pt x="3996" y="655"/>
                        <a:pt x="3974" y="647"/>
                      </a:cubicBezTo>
                      <a:cubicBezTo>
                        <a:pt x="3951" y="638"/>
                        <a:pt x="3931" y="627"/>
                        <a:pt x="3914" y="610"/>
                      </a:cubicBezTo>
                      <a:cubicBezTo>
                        <a:pt x="3897" y="593"/>
                        <a:pt x="3883" y="570"/>
                        <a:pt x="3872" y="545"/>
                      </a:cubicBezTo>
                      <a:cubicBezTo>
                        <a:pt x="3861" y="520"/>
                        <a:pt x="3855" y="489"/>
                        <a:pt x="3855" y="452"/>
                      </a:cubicBezTo>
                      <a:lnTo>
                        <a:pt x="4270" y="452"/>
                      </a:lnTo>
                      <a:cubicBezTo>
                        <a:pt x="4270" y="404"/>
                        <a:pt x="4264" y="364"/>
                        <a:pt x="4253" y="331"/>
                      </a:cubicBezTo>
                      <a:cubicBezTo>
                        <a:pt x="4242" y="297"/>
                        <a:pt x="4225" y="269"/>
                        <a:pt x="4205" y="246"/>
                      </a:cubicBezTo>
                      <a:cubicBezTo>
                        <a:pt x="4185" y="224"/>
                        <a:pt x="4160" y="206"/>
                        <a:pt x="4132" y="195"/>
                      </a:cubicBezTo>
                      <a:cubicBezTo>
                        <a:pt x="4103" y="184"/>
                        <a:pt x="4071" y="178"/>
                        <a:pt x="4038" y="178"/>
                      </a:cubicBezTo>
                      <a:cubicBezTo>
                        <a:pt x="4004" y="178"/>
                        <a:pt x="3974" y="184"/>
                        <a:pt x="3945" y="195"/>
                      </a:cubicBezTo>
                      <a:cubicBezTo>
                        <a:pt x="3917" y="206"/>
                        <a:pt x="3891" y="224"/>
                        <a:pt x="3869" y="246"/>
                      </a:cubicBezTo>
                      <a:cubicBezTo>
                        <a:pt x="3846" y="269"/>
                        <a:pt x="3832" y="297"/>
                        <a:pt x="3818" y="328"/>
                      </a:cubicBezTo>
                      <a:cubicBezTo>
                        <a:pt x="3807" y="359"/>
                        <a:pt x="3801" y="399"/>
                        <a:pt x="3801" y="441"/>
                      </a:cubicBezTo>
                      <a:cubicBezTo>
                        <a:pt x="3801" y="484"/>
                        <a:pt x="3807" y="520"/>
                        <a:pt x="3821" y="553"/>
                      </a:cubicBezTo>
                      <a:cubicBezTo>
                        <a:pt x="3832" y="584"/>
                        <a:pt x="3852" y="613"/>
                        <a:pt x="3872" y="635"/>
                      </a:cubicBezTo>
                      <a:cubicBezTo>
                        <a:pt x="3895" y="658"/>
                        <a:pt x="3920" y="675"/>
                        <a:pt x="3948" y="686"/>
                      </a:cubicBezTo>
                      <a:cubicBezTo>
                        <a:pt x="3979" y="697"/>
                        <a:pt x="4010" y="703"/>
                        <a:pt x="4044" y="703"/>
                      </a:cubicBezTo>
                      <a:cubicBezTo>
                        <a:pt x="4101" y="703"/>
                        <a:pt x="4146" y="689"/>
                        <a:pt x="4182" y="664"/>
                      </a:cubicBezTo>
                      <a:cubicBezTo>
                        <a:pt x="4219" y="635"/>
                        <a:pt x="4244" y="601"/>
                        <a:pt x="4259" y="553"/>
                      </a:cubicBezTo>
                      <a:lnTo>
                        <a:pt x="4205" y="553"/>
                      </a:lnTo>
                      <a:lnTo>
                        <a:pt x="4205" y="551"/>
                      </a:lnTo>
                      <a:close/>
                    </a:path>
                  </a:pathLst>
                </a:custGeom>
                <a:solidFill>
                  <a:schemeClr val="bg2"/>
                </a:solidFill>
                <a:ln w="9525" cap="flat">
                  <a:noFill/>
                  <a:bevel/>
                  <a:headEnd/>
                  <a:tailEnd/>
                </a:ln>
                <a:effectLst/>
              </p:spPr>
              <p:txBody>
                <a:bodyPr wrap="none" anchor="ctr"/>
                <a:lstStyle/>
                <a:p>
                  <a:endParaRPr lang="en-US"/>
                </a:p>
              </p:txBody>
            </p:sp>
            <p:sp>
              <p:nvSpPr>
                <p:cNvPr id="29" name="Freeform 2">
                  <a:extLst>
                    <a:ext uri="{FF2B5EF4-FFF2-40B4-BE49-F238E27FC236}">
                      <a16:creationId xmlns:a16="http://schemas.microsoft.com/office/drawing/2014/main" id="{EB39C1B6-3727-7047-B0B7-6689154D4987}"/>
                    </a:ext>
                  </a:extLst>
                </p:cNvPr>
                <p:cNvSpPr>
                  <a:spLocks noChangeArrowheads="1"/>
                </p:cNvSpPr>
                <p:nvPr/>
              </p:nvSpPr>
              <p:spPr bwMode="auto">
                <a:xfrm>
                  <a:off x="5184779" y="4343400"/>
                  <a:ext cx="1446213" cy="309563"/>
                </a:xfrm>
                <a:custGeom>
                  <a:avLst/>
                  <a:gdLst>
                    <a:gd name="T0" fmla="*/ 150 w 4017"/>
                    <a:gd name="T1" fmla="*/ 435 h 859"/>
                    <a:gd name="T2" fmla="*/ 266 w 4017"/>
                    <a:gd name="T3" fmla="*/ 593 h 859"/>
                    <a:gd name="T4" fmla="*/ 218 w 4017"/>
                    <a:gd name="T5" fmla="*/ 686 h 859"/>
                    <a:gd name="T6" fmla="*/ 0 w 4017"/>
                    <a:gd name="T7" fmla="*/ 189 h 859"/>
                    <a:gd name="T8" fmla="*/ 314 w 4017"/>
                    <a:gd name="T9" fmla="*/ 175 h 859"/>
                    <a:gd name="T10" fmla="*/ 545 w 4017"/>
                    <a:gd name="T11" fmla="*/ 429 h 859"/>
                    <a:gd name="T12" fmla="*/ 297 w 4017"/>
                    <a:gd name="T13" fmla="*/ 700 h 859"/>
                    <a:gd name="T14" fmla="*/ 971 w 4017"/>
                    <a:gd name="T15" fmla="*/ 565 h 859"/>
                    <a:gd name="T16" fmla="*/ 932 w 4017"/>
                    <a:gd name="T17" fmla="*/ 288 h 859"/>
                    <a:gd name="T18" fmla="*/ 802 w 4017"/>
                    <a:gd name="T19" fmla="*/ 565 h 859"/>
                    <a:gd name="T20" fmla="*/ 1155 w 4017"/>
                    <a:gd name="T21" fmla="*/ 438 h 859"/>
                    <a:gd name="T22" fmla="*/ 610 w 4017"/>
                    <a:gd name="T23" fmla="*/ 438 h 859"/>
                    <a:gd name="T24" fmla="*/ 1544 w 4017"/>
                    <a:gd name="T25" fmla="*/ 537 h 859"/>
                    <a:gd name="T26" fmla="*/ 1358 w 4017"/>
                    <a:gd name="T27" fmla="*/ 477 h 859"/>
                    <a:gd name="T28" fmla="*/ 1299 w 4017"/>
                    <a:gd name="T29" fmla="*/ 223 h 859"/>
                    <a:gd name="T30" fmla="*/ 1553 w 4017"/>
                    <a:gd name="T31" fmla="*/ 333 h 859"/>
                    <a:gd name="T32" fmla="*/ 1397 w 4017"/>
                    <a:gd name="T33" fmla="*/ 325 h 859"/>
                    <a:gd name="T34" fmla="*/ 1507 w 4017"/>
                    <a:gd name="T35" fmla="*/ 384 h 859"/>
                    <a:gd name="T36" fmla="*/ 1713 w 4017"/>
                    <a:gd name="T37" fmla="*/ 542 h 859"/>
                    <a:gd name="T38" fmla="*/ 1471 w 4017"/>
                    <a:gd name="T39" fmla="*/ 709 h 859"/>
                    <a:gd name="T40" fmla="*/ 1409 w 4017"/>
                    <a:gd name="T41" fmla="*/ 593 h 859"/>
                    <a:gd name="T42" fmla="*/ 2094 w 4017"/>
                    <a:gd name="T43" fmla="*/ 556 h 859"/>
                    <a:gd name="T44" fmla="*/ 1973 w 4017"/>
                    <a:gd name="T45" fmla="*/ 497 h 859"/>
                    <a:gd name="T46" fmla="*/ 1787 w 4017"/>
                    <a:gd name="T47" fmla="*/ 336 h 859"/>
                    <a:gd name="T48" fmla="*/ 2252 w 4017"/>
                    <a:gd name="T49" fmla="*/ 333 h 859"/>
                    <a:gd name="T50" fmla="*/ 1959 w 4017"/>
                    <a:gd name="T51" fmla="*/ 294 h 859"/>
                    <a:gd name="T52" fmla="*/ 1998 w 4017"/>
                    <a:gd name="T53" fmla="*/ 370 h 859"/>
                    <a:gd name="T54" fmla="*/ 2235 w 4017"/>
                    <a:gd name="T55" fmla="*/ 474 h 859"/>
                    <a:gd name="T56" fmla="*/ 2120 w 4017"/>
                    <a:gd name="T57" fmla="*/ 697 h 859"/>
                    <a:gd name="T58" fmla="*/ 1922 w 4017"/>
                    <a:gd name="T59" fmla="*/ 553 h 859"/>
                    <a:gd name="T60" fmla="*/ 2340 w 4017"/>
                    <a:gd name="T61" fmla="*/ 189 h 859"/>
                    <a:gd name="T62" fmla="*/ 2340 w 4017"/>
                    <a:gd name="T63" fmla="*/ 189 h 859"/>
                    <a:gd name="T64" fmla="*/ 2334 w 4017"/>
                    <a:gd name="T65" fmla="*/ 127 h 859"/>
                    <a:gd name="T66" fmla="*/ 2786 w 4017"/>
                    <a:gd name="T67" fmla="*/ 322 h 859"/>
                    <a:gd name="T68" fmla="*/ 2822 w 4017"/>
                    <a:gd name="T69" fmla="*/ 584 h 859"/>
                    <a:gd name="T70" fmla="*/ 2958 w 4017"/>
                    <a:gd name="T71" fmla="*/ 319 h 859"/>
                    <a:gd name="T72" fmla="*/ 2828 w 4017"/>
                    <a:gd name="T73" fmla="*/ 192 h 859"/>
                    <a:gd name="T74" fmla="*/ 3133 w 4017"/>
                    <a:gd name="T75" fmla="*/ 311 h 859"/>
                    <a:gd name="T76" fmla="*/ 3003 w 4017"/>
                    <a:gd name="T77" fmla="*/ 680 h 859"/>
                    <a:gd name="T78" fmla="*/ 2732 w 4017"/>
                    <a:gd name="T79" fmla="*/ 683 h 859"/>
                    <a:gd name="T80" fmla="*/ 3234 w 4017"/>
                    <a:gd name="T81" fmla="*/ 686 h 859"/>
                    <a:gd name="T82" fmla="*/ 3669 w 4017"/>
                    <a:gd name="T83" fmla="*/ 299 h 859"/>
                    <a:gd name="T84" fmla="*/ 3742 w 4017"/>
                    <a:gd name="T85" fmla="*/ 271 h 859"/>
                    <a:gd name="T86" fmla="*/ 4008 w 4017"/>
                    <a:gd name="T87" fmla="*/ 545 h 859"/>
                    <a:gd name="T88" fmla="*/ 3852 w 4017"/>
                    <a:gd name="T89" fmla="*/ 689 h 859"/>
                    <a:gd name="T90" fmla="*/ 3500 w 4017"/>
                    <a:gd name="T91" fmla="*/ 551 h 859"/>
                    <a:gd name="T92" fmla="*/ 3638 w 4017"/>
                    <a:gd name="T93" fmla="*/ 195 h 859"/>
                    <a:gd name="T94" fmla="*/ 3996 w 4017"/>
                    <a:gd name="T95" fmla="*/ 345 h 859"/>
                    <a:gd name="T96" fmla="*/ 3762 w 4017"/>
                    <a:gd name="T97" fmla="*/ 599 h 859"/>
                    <a:gd name="T98" fmla="*/ 3979 w 4017"/>
                    <a:gd name="T99" fmla="*/ 60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17" h="859">
                      <a:moveTo>
                        <a:pt x="356" y="319"/>
                      </a:moveTo>
                      <a:cubicBezTo>
                        <a:pt x="336" y="297"/>
                        <a:pt x="308" y="285"/>
                        <a:pt x="271" y="285"/>
                      </a:cubicBezTo>
                      <a:cubicBezTo>
                        <a:pt x="237" y="285"/>
                        <a:pt x="206" y="297"/>
                        <a:pt x="184" y="322"/>
                      </a:cubicBezTo>
                      <a:cubicBezTo>
                        <a:pt x="161" y="347"/>
                        <a:pt x="150" y="384"/>
                        <a:pt x="150" y="435"/>
                      </a:cubicBezTo>
                      <a:cubicBezTo>
                        <a:pt x="150" y="466"/>
                        <a:pt x="153" y="491"/>
                        <a:pt x="158" y="511"/>
                      </a:cubicBezTo>
                      <a:cubicBezTo>
                        <a:pt x="164" y="531"/>
                        <a:pt x="173" y="548"/>
                        <a:pt x="184" y="559"/>
                      </a:cubicBezTo>
                      <a:cubicBezTo>
                        <a:pt x="195" y="570"/>
                        <a:pt x="206" y="582"/>
                        <a:pt x="221" y="584"/>
                      </a:cubicBezTo>
                      <a:cubicBezTo>
                        <a:pt x="235" y="590"/>
                        <a:pt x="249" y="593"/>
                        <a:pt x="266" y="593"/>
                      </a:cubicBezTo>
                      <a:cubicBezTo>
                        <a:pt x="300" y="593"/>
                        <a:pt x="331" y="579"/>
                        <a:pt x="353" y="553"/>
                      </a:cubicBezTo>
                      <a:cubicBezTo>
                        <a:pt x="376" y="528"/>
                        <a:pt x="387" y="489"/>
                        <a:pt x="387" y="435"/>
                      </a:cubicBezTo>
                      <a:cubicBezTo>
                        <a:pt x="387" y="381"/>
                        <a:pt x="376" y="342"/>
                        <a:pt x="356" y="319"/>
                      </a:cubicBezTo>
                      <a:close/>
                      <a:moveTo>
                        <a:pt x="218" y="686"/>
                      </a:moveTo>
                      <a:cubicBezTo>
                        <a:pt x="192" y="675"/>
                        <a:pt x="173" y="661"/>
                        <a:pt x="156" y="644"/>
                      </a:cubicBezTo>
                      <a:lnTo>
                        <a:pt x="156" y="858"/>
                      </a:lnTo>
                      <a:lnTo>
                        <a:pt x="0" y="858"/>
                      </a:lnTo>
                      <a:lnTo>
                        <a:pt x="0" y="189"/>
                      </a:lnTo>
                      <a:lnTo>
                        <a:pt x="119" y="189"/>
                      </a:lnTo>
                      <a:lnTo>
                        <a:pt x="150" y="246"/>
                      </a:lnTo>
                      <a:cubicBezTo>
                        <a:pt x="170" y="226"/>
                        <a:pt x="192" y="209"/>
                        <a:pt x="218" y="195"/>
                      </a:cubicBezTo>
                      <a:cubicBezTo>
                        <a:pt x="246" y="181"/>
                        <a:pt x="277" y="175"/>
                        <a:pt x="314" y="175"/>
                      </a:cubicBezTo>
                      <a:cubicBezTo>
                        <a:pt x="348" y="175"/>
                        <a:pt x="379" y="181"/>
                        <a:pt x="407" y="192"/>
                      </a:cubicBezTo>
                      <a:cubicBezTo>
                        <a:pt x="435" y="204"/>
                        <a:pt x="460" y="220"/>
                        <a:pt x="480" y="240"/>
                      </a:cubicBezTo>
                      <a:cubicBezTo>
                        <a:pt x="500" y="263"/>
                        <a:pt x="517" y="288"/>
                        <a:pt x="528" y="319"/>
                      </a:cubicBezTo>
                      <a:cubicBezTo>
                        <a:pt x="539" y="350"/>
                        <a:pt x="545" y="387"/>
                        <a:pt x="545" y="429"/>
                      </a:cubicBezTo>
                      <a:cubicBezTo>
                        <a:pt x="545" y="472"/>
                        <a:pt x="539" y="511"/>
                        <a:pt x="525" y="542"/>
                      </a:cubicBezTo>
                      <a:cubicBezTo>
                        <a:pt x="514" y="576"/>
                        <a:pt x="494" y="604"/>
                        <a:pt x="474" y="627"/>
                      </a:cubicBezTo>
                      <a:cubicBezTo>
                        <a:pt x="452" y="649"/>
                        <a:pt x="427" y="666"/>
                        <a:pt x="398" y="680"/>
                      </a:cubicBezTo>
                      <a:cubicBezTo>
                        <a:pt x="370" y="695"/>
                        <a:pt x="331" y="700"/>
                        <a:pt x="297" y="700"/>
                      </a:cubicBezTo>
                      <a:cubicBezTo>
                        <a:pt x="268" y="700"/>
                        <a:pt x="243" y="695"/>
                        <a:pt x="218" y="686"/>
                      </a:cubicBezTo>
                      <a:close/>
                      <a:moveTo>
                        <a:pt x="802" y="565"/>
                      </a:moveTo>
                      <a:cubicBezTo>
                        <a:pt x="822" y="590"/>
                        <a:pt x="851" y="601"/>
                        <a:pt x="887" y="601"/>
                      </a:cubicBezTo>
                      <a:cubicBezTo>
                        <a:pt x="924" y="601"/>
                        <a:pt x="951" y="590"/>
                        <a:pt x="971" y="565"/>
                      </a:cubicBezTo>
                      <a:cubicBezTo>
                        <a:pt x="991" y="539"/>
                        <a:pt x="999" y="497"/>
                        <a:pt x="999" y="438"/>
                      </a:cubicBezTo>
                      <a:cubicBezTo>
                        <a:pt x="999" y="407"/>
                        <a:pt x="997" y="382"/>
                        <a:pt x="991" y="362"/>
                      </a:cubicBezTo>
                      <a:cubicBezTo>
                        <a:pt x="985" y="343"/>
                        <a:pt x="980" y="325"/>
                        <a:pt x="968" y="314"/>
                      </a:cubicBezTo>
                      <a:cubicBezTo>
                        <a:pt x="960" y="302"/>
                        <a:pt x="946" y="291"/>
                        <a:pt x="932" y="288"/>
                      </a:cubicBezTo>
                      <a:cubicBezTo>
                        <a:pt x="918" y="283"/>
                        <a:pt x="901" y="280"/>
                        <a:pt x="884" y="280"/>
                      </a:cubicBezTo>
                      <a:cubicBezTo>
                        <a:pt x="844" y="280"/>
                        <a:pt x="816" y="291"/>
                        <a:pt x="799" y="316"/>
                      </a:cubicBezTo>
                      <a:cubicBezTo>
                        <a:pt x="779" y="336"/>
                        <a:pt x="771" y="378"/>
                        <a:pt x="771" y="438"/>
                      </a:cubicBezTo>
                      <a:cubicBezTo>
                        <a:pt x="771" y="497"/>
                        <a:pt x="782" y="539"/>
                        <a:pt x="802" y="565"/>
                      </a:cubicBezTo>
                      <a:close/>
                      <a:moveTo>
                        <a:pt x="681" y="243"/>
                      </a:moveTo>
                      <a:cubicBezTo>
                        <a:pt x="728" y="198"/>
                        <a:pt x="796" y="178"/>
                        <a:pt x="884" y="178"/>
                      </a:cubicBezTo>
                      <a:cubicBezTo>
                        <a:pt x="971" y="178"/>
                        <a:pt x="1039" y="201"/>
                        <a:pt x="1084" y="243"/>
                      </a:cubicBezTo>
                      <a:cubicBezTo>
                        <a:pt x="1132" y="288"/>
                        <a:pt x="1155" y="353"/>
                        <a:pt x="1155" y="438"/>
                      </a:cubicBezTo>
                      <a:cubicBezTo>
                        <a:pt x="1155" y="525"/>
                        <a:pt x="1132" y="590"/>
                        <a:pt x="1084" y="635"/>
                      </a:cubicBezTo>
                      <a:cubicBezTo>
                        <a:pt x="1036" y="680"/>
                        <a:pt x="968" y="703"/>
                        <a:pt x="881" y="703"/>
                      </a:cubicBezTo>
                      <a:cubicBezTo>
                        <a:pt x="796" y="703"/>
                        <a:pt x="728" y="680"/>
                        <a:pt x="681" y="635"/>
                      </a:cubicBezTo>
                      <a:cubicBezTo>
                        <a:pt x="635" y="590"/>
                        <a:pt x="610" y="523"/>
                        <a:pt x="610" y="438"/>
                      </a:cubicBezTo>
                      <a:cubicBezTo>
                        <a:pt x="610" y="354"/>
                        <a:pt x="633" y="288"/>
                        <a:pt x="681" y="243"/>
                      </a:cubicBezTo>
                      <a:close/>
                      <a:moveTo>
                        <a:pt x="1530" y="590"/>
                      </a:moveTo>
                      <a:cubicBezTo>
                        <a:pt x="1544" y="582"/>
                        <a:pt x="1550" y="570"/>
                        <a:pt x="1550" y="556"/>
                      </a:cubicBezTo>
                      <a:cubicBezTo>
                        <a:pt x="1550" y="548"/>
                        <a:pt x="1547" y="542"/>
                        <a:pt x="1544" y="537"/>
                      </a:cubicBezTo>
                      <a:cubicBezTo>
                        <a:pt x="1541" y="531"/>
                        <a:pt x="1533" y="525"/>
                        <a:pt x="1524" y="522"/>
                      </a:cubicBezTo>
                      <a:cubicBezTo>
                        <a:pt x="1516" y="520"/>
                        <a:pt x="1502" y="514"/>
                        <a:pt x="1488" y="511"/>
                      </a:cubicBezTo>
                      <a:cubicBezTo>
                        <a:pt x="1471" y="508"/>
                        <a:pt x="1454" y="503"/>
                        <a:pt x="1428" y="497"/>
                      </a:cubicBezTo>
                      <a:cubicBezTo>
                        <a:pt x="1403" y="491"/>
                        <a:pt x="1381" y="486"/>
                        <a:pt x="1358" y="477"/>
                      </a:cubicBezTo>
                      <a:cubicBezTo>
                        <a:pt x="1336" y="469"/>
                        <a:pt x="1315" y="460"/>
                        <a:pt x="1299" y="446"/>
                      </a:cubicBezTo>
                      <a:cubicBezTo>
                        <a:pt x="1282" y="435"/>
                        <a:pt x="1267" y="418"/>
                        <a:pt x="1256" y="401"/>
                      </a:cubicBezTo>
                      <a:cubicBezTo>
                        <a:pt x="1245" y="384"/>
                        <a:pt x="1242" y="362"/>
                        <a:pt x="1242" y="336"/>
                      </a:cubicBezTo>
                      <a:cubicBezTo>
                        <a:pt x="1242" y="291"/>
                        <a:pt x="1263" y="251"/>
                        <a:pt x="1299" y="223"/>
                      </a:cubicBezTo>
                      <a:cubicBezTo>
                        <a:pt x="1336" y="195"/>
                        <a:pt x="1394" y="181"/>
                        <a:pt x="1471" y="181"/>
                      </a:cubicBezTo>
                      <a:cubicBezTo>
                        <a:pt x="1538" y="181"/>
                        <a:pt x="1592" y="195"/>
                        <a:pt x="1632" y="220"/>
                      </a:cubicBezTo>
                      <a:cubicBezTo>
                        <a:pt x="1674" y="246"/>
                        <a:pt x="1696" y="285"/>
                        <a:pt x="1708" y="333"/>
                      </a:cubicBezTo>
                      <a:lnTo>
                        <a:pt x="1553" y="333"/>
                      </a:lnTo>
                      <a:cubicBezTo>
                        <a:pt x="1550" y="319"/>
                        <a:pt x="1541" y="306"/>
                        <a:pt x="1527" y="297"/>
                      </a:cubicBezTo>
                      <a:cubicBezTo>
                        <a:pt x="1513" y="289"/>
                        <a:pt x="1493" y="283"/>
                        <a:pt x="1468" y="283"/>
                      </a:cubicBezTo>
                      <a:cubicBezTo>
                        <a:pt x="1442" y="283"/>
                        <a:pt x="1426" y="285"/>
                        <a:pt x="1414" y="294"/>
                      </a:cubicBezTo>
                      <a:cubicBezTo>
                        <a:pt x="1403" y="302"/>
                        <a:pt x="1397" y="311"/>
                        <a:pt x="1397" y="325"/>
                      </a:cubicBezTo>
                      <a:cubicBezTo>
                        <a:pt x="1397" y="331"/>
                        <a:pt x="1400" y="339"/>
                        <a:pt x="1403" y="342"/>
                      </a:cubicBezTo>
                      <a:cubicBezTo>
                        <a:pt x="1406" y="347"/>
                        <a:pt x="1412" y="350"/>
                        <a:pt x="1420" y="356"/>
                      </a:cubicBezTo>
                      <a:cubicBezTo>
                        <a:pt x="1429" y="362"/>
                        <a:pt x="1440" y="364"/>
                        <a:pt x="1454" y="370"/>
                      </a:cubicBezTo>
                      <a:cubicBezTo>
                        <a:pt x="1468" y="373"/>
                        <a:pt x="1485" y="378"/>
                        <a:pt x="1507" y="384"/>
                      </a:cubicBezTo>
                      <a:cubicBezTo>
                        <a:pt x="1530" y="390"/>
                        <a:pt x="1555" y="395"/>
                        <a:pt x="1581" y="404"/>
                      </a:cubicBezTo>
                      <a:cubicBezTo>
                        <a:pt x="1606" y="410"/>
                        <a:pt x="1627" y="421"/>
                        <a:pt x="1646" y="432"/>
                      </a:cubicBezTo>
                      <a:cubicBezTo>
                        <a:pt x="1666" y="443"/>
                        <a:pt x="1683" y="458"/>
                        <a:pt x="1694" y="474"/>
                      </a:cubicBezTo>
                      <a:cubicBezTo>
                        <a:pt x="1706" y="491"/>
                        <a:pt x="1713" y="514"/>
                        <a:pt x="1713" y="542"/>
                      </a:cubicBezTo>
                      <a:cubicBezTo>
                        <a:pt x="1713" y="568"/>
                        <a:pt x="1708" y="590"/>
                        <a:pt x="1699" y="610"/>
                      </a:cubicBezTo>
                      <a:cubicBezTo>
                        <a:pt x="1688" y="630"/>
                        <a:pt x="1674" y="647"/>
                        <a:pt x="1654" y="664"/>
                      </a:cubicBezTo>
                      <a:cubicBezTo>
                        <a:pt x="1634" y="678"/>
                        <a:pt x="1609" y="689"/>
                        <a:pt x="1578" y="697"/>
                      </a:cubicBezTo>
                      <a:cubicBezTo>
                        <a:pt x="1547" y="706"/>
                        <a:pt x="1513" y="709"/>
                        <a:pt x="1471" y="709"/>
                      </a:cubicBezTo>
                      <a:cubicBezTo>
                        <a:pt x="1400" y="709"/>
                        <a:pt x="1344" y="695"/>
                        <a:pt x="1301" y="666"/>
                      </a:cubicBezTo>
                      <a:cubicBezTo>
                        <a:pt x="1259" y="638"/>
                        <a:pt x="1234" y="601"/>
                        <a:pt x="1225" y="553"/>
                      </a:cubicBezTo>
                      <a:lnTo>
                        <a:pt x="1380" y="553"/>
                      </a:lnTo>
                      <a:cubicBezTo>
                        <a:pt x="1383" y="570"/>
                        <a:pt x="1394" y="582"/>
                        <a:pt x="1409" y="593"/>
                      </a:cubicBezTo>
                      <a:cubicBezTo>
                        <a:pt x="1420" y="596"/>
                        <a:pt x="1440" y="601"/>
                        <a:pt x="1462" y="601"/>
                      </a:cubicBezTo>
                      <a:cubicBezTo>
                        <a:pt x="1493" y="601"/>
                        <a:pt x="1516" y="599"/>
                        <a:pt x="1530" y="590"/>
                      </a:cubicBezTo>
                      <a:close/>
                      <a:moveTo>
                        <a:pt x="2075" y="590"/>
                      </a:moveTo>
                      <a:cubicBezTo>
                        <a:pt x="2089" y="582"/>
                        <a:pt x="2094" y="570"/>
                        <a:pt x="2094" y="556"/>
                      </a:cubicBezTo>
                      <a:cubicBezTo>
                        <a:pt x="2094" y="548"/>
                        <a:pt x="2092" y="542"/>
                        <a:pt x="2089" y="537"/>
                      </a:cubicBezTo>
                      <a:cubicBezTo>
                        <a:pt x="2086" y="531"/>
                        <a:pt x="2078" y="525"/>
                        <a:pt x="2069" y="522"/>
                      </a:cubicBezTo>
                      <a:cubicBezTo>
                        <a:pt x="2061" y="520"/>
                        <a:pt x="2046" y="514"/>
                        <a:pt x="2032" y="511"/>
                      </a:cubicBezTo>
                      <a:cubicBezTo>
                        <a:pt x="2015" y="508"/>
                        <a:pt x="1998" y="503"/>
                        <a:pt x="1973" y="497"/>
                      </a:cubicBezTo>
                      <a:cubicBezTo>
                        <a:pt x="1948" y="491"/>
                        <a:pt x="1925" y="486"/>
                        <a:pt x="1902" y="477"/>
                      </a:cubicBezTo>
                      <a:cubicBezTo>
                        <a:pt x="1880" y="469"/>
                        <a:pt x="1860" y="460"/>
                        <a:pt x="1843" y="446"/>
                      </a:cubicBezTo>
                      <a:cubicBezTo>
                        <a:pt x="1826" y="435"/>
                        <a:pt x="1812" y="418"/>
                        <a:pt x="1801" y="401"/>
                      </a:cubicBezTo>
                      <a:cubicBezTo>
                        <a:pt x="1790" y="384"/>
                        <a:pt x="1787" y="362"/>
                        <a:pt x="1787" y="336"/>
                      </a:cubicBezTo>
                      <a:cubicBezTo>
                        <a:pt x="1787" y="291"/>
                        <a:pt x="1807" y="251"/>
                        <a:pt x="1843" y="223"/>
                      </a:cubicBezTo>
                      <a:cubicBezTo>
                        <a:pt x="1880" y="195"/>
                        <a:pt x="1939" y="181"/>
                        <a:pt x="2015" y="181"/>
                      </a:cubicBezTo>
                      <a:cubicBezTo>
                        <a:pt x="2083" y="181"/>
                        <a:pt x="2137" y="195"/>
                        <a:pt x="2176" y="220"/>
                      </a:cubicBezTo>
                      <a:cubicBezTo>
                        <a:pt x="2219" y="246"/>
                        <a:pt x="2241" y="285"/>
                        <a:pt x="2252" y="333"/>
                      </a:cubicBezTo>
                      <a:lnTo>
                        <a:pt x="2097" y="333"/>
                      </a:lnTo>
                      <a:cubicBezTo>
                        <a:pt x="2094" y="319"/>
                        <a:pt x="2086" y="306"/>
                        <a:pt x="2072" y="297"/>
                      </a:cubicBezTo>
                      <a:cubicBezTo>
                        <a:pt x="2058" y="289"/>
                        <a:pt x="2038" y="283"/>
                        <a:pt x="2013" y="283"/>
                      </a:cubicBezTo>
                      <a:cubicBezTo>
                        <a:pt x="1987" y="283"/>
                        <a:pt x="1970" y="285"/>
                        <a:pt x="1959" y="294"/>
                      </a:cubicBezTo>
                      <a:cubicBezTo>
                        <a:pt x="1948" y="302"/>
                        <a:pt x="1942" y="311"/>
                        <a:pt x="1942" y="325"/>
                      </a:cubicBezTo>
                      <a:cubicBezTo>
                        <a:pt x="1942" y="331"/>
                        <a:pt x="1945" y="339"/>
                        <a:pt x="1948" y="342"/>
                      </a:cubicBezTo>
                      <a:cubicBezTo>
                        <a:pt x="1950" y="347"/>
                        <a:pt x="1957" y="350"/>
                        <a:pt x="1965" y="356"/>
                      </a:cubicBezTo>
                      <a:cubicBezTo>
                        <a:pt x="1974" y="362"/>
                        <a:pt x="1984" y="364"/>
                        <a:pt x="1998" y="370"/>
                      </a:cubicBezTo>
                      <a:cubicBezTo>
                        <a:pt x="2013" y="373"/>
                        <a:pt x="2029" y="378"/>
                        <a:pt x="2052" y="384"/>
                      </a:cubicBezTo>
                      <a:cubicBezTo>
                        <a:pt x="2075" y="390"/>
                        <a:pt x="2100" y="395"/>
                        <a:pt x="2123" y="404"/>
                      </a:cubicBezTo>
                      <a:cubicBezTo>
                        <a:pt x="2148" y="410"/>
                        <a:pt x="2168" y="421"/>
                        <a:pt x="2187" y="432"/>
                      </a:cubicBezTo>
                      <a:cubicBezTo>
                        <a:pt x="2207" y="443"/>
                        <a:pt x="2224" y="458"/>
                        <a:pt x="2235" y="474"/>
                      </a:cubicBezTo>
                      <a:cubicBezTo>
                        <a:pt x="2247" y="491"/>
                        <a:pt x="2255" y="514"/>
                        <a:pt x="2255" y="542"/>
                      </a:cubicBezTo>
                      <a:cubicBezTo>
                        <a:pt x="2255" y="568"/>
                        <a:pt x="2250" y="590"/>
                        <a:pt x="2241" y="610"/>
                      </a:cubicBezTo>
                      <a:cubicBezTo>
                        <a:pt x="2230" y="630"/>
                        <a:pt x="2216" y="647"/>
                        <a:pt x="2196" y="664"/>
                      </a:cubicBezTo>
                      <a:cubicBezTo>
                        <a:pt x="2176" y="678"/>
                        <a:pt x="2151" y="689"/>
                        <a:pt x="2120" y="697"/>
                      </a:cubicBezTo>
                      <a:cubicBezTo>
                        <a:pt x="2089" y="706"/>
                        <a:pt x="2055" y="709"/>
                        <a:pt x="2013" y="709"/>
                      </a:cubicBezTo>
                      <a:cubicBezTo>
                        <a:pt x="1942" y="709"/>
                        <a:pt x="1886" y="695"/>
                        <a:pt x="1843" y="666"/>
                      </a:cubicBezTo>
                      <a:cubicBezTo>
                        <a:pt x="1801" y="638"/>
                        <a:pt x="1775" y="601"/>
                        <a:pt x="1767" y="553"/>
                      </a:cubicBezTo>
                      <a:lnTo>
                        <a:pt x="1922" y="553"/>
                      </a:lnTo>
                      <a:cubicBezTo>
                        <a:pt x="1925" y="570"/>
                        <a:pt x="1936" y="582"/>
                        <a:pt x="1950" y="593"/>
                      </a:cubicBezTo>
                      <a:cubicBezTo>
                        <a:pt x="1962" y="596"/>
                        <a:pt x="1981" y="601"/>
                        <a:pt x="2007" y="601"/>
                      </a:cubicBezTo>
                      <a:cubicBezTo>
                        <a:pt x="2038" y="601"/>
                        <a:pt x="2060" y="599"/>
                        <a:pt x="2075" y="590"/>
                      </a:cubicBezTo>
                      <a:close/>
                      <a:moveTo>
                        <a:pt x="2340" y="189"/>
                      </a:moveTo>
                      <a:lnTo>
                        <a:pt x="2495" y="189"/>
                      </a:lnTo>
                      <a:lnTo>
                        <a:pt x="2495" y="686"/>
                      </a:lnTo>
                      <a:lnTo>
                        <a:pt x="2340" y="686"/>
                      </a:lnTo>
                      <a:lnTo>
                        <a:pt x="2340" y="189"/>
                      </a:lnTo>
                      <a:close/>
                      <a:moveTo>
                        <a:pt x="2334" y="0"/>
                      </a:moveTo>
                      <a:lnTo>
                        <a:pt x="2501" y="0"/>
                      </a:lnTo>
                      <a:lnTo>
                        <a:pt x="2501" y="127"/>
                      </a:lnTo>
                      <a:lnTo>
                        <a:pt x="2334" y="127"/>
                      </a:lnTo>
                      <a:lnTo>
                        <a:pt x="2334" y="0"/>
                      </a:lnTo>
                      <a:close/>
                      <a:moveTo>
                        <a:pt x="2958" y="319"/>
                      </a:moveTo>
                      <a:cubicBezTo>
                        <a:pt x="2938" y="297"/>
                        <a:pt x="2910" y="285"/>
                        <a:pt x="2873" y="285"/>
                      </a:cubicBezTo>
                      <a:cubicBezTo>
                        <a:pt x="2839" y="285"/>
                        <a:pt x="2808" y="297"/>
                        <a:pt x="2786" y="322"/>
                      </a:cubicBezTo>
                      <a:cubicBezTo>
                        <a:pt x="2763" y="347"/>
                        <a:pt x="2752" y="384"/>
                        <a:pt x="2752" y="435"/>
                      </a:cubicBezTo>
                      <a:cubicBezTo>
                        <a:pt x="2752" y="466"/>
                        <a:pt x="2755" y="491"/>
                        <a:pt x="2760" y="511"/>
                      </a:cubicBezTo>
                      <a:cubicBezTo>
                        <a:pt x="2766" y="531"/>
                        <a:pt x="2775" y="548"/>
                        <a:pt x="2786" y="559"/>
                      </a:cubicBezTo>
                      <a:cubicBezTo>
                        <a:pt x="2798" y="570"/>
                        <a:pt x="2808" y="582"/>
                        <a:pt x="2822" y="584"/>
                      </a:cubicBezTo>
                      <a:cubicBezTo>
                        <a:pt x="2837" y="590"/>
                        <a:pt x="2851" y="593"/>
                        <a:pt x="2868" y="593"/>
                      </a:cubicBezTo>
                      <a:cubicBezTo>
                        <a:pt x="2901" y="593"/>
                        <a:pt x="2933" y="579"/>
                        <a:pt x="2955" y="553"/>
                      </a:cubicBezTo>
                      <a:cubicBezTo>
                        <a:pt x="2978" y="528"/>
                        <a:pt x="2989" y="489"/>
                        <a:pt x="2989" y="435"/>
                      </a:cubicBezTo>
                      <a:cubicBezTo>
                        <a:pt x="2989" y="381"/>
                        <a:pt x="2978" y="342"/>
                        <a:pt x="2958" y="319"/>
                      </a:cubicBezTo>
                      <a:close/>
                      <a:moveTo>
                        <a:pt x="2605" y="0"/>
                      </a:moveTo>
                      <a:lnTo>
                        <a:pt x="2760" y="0"/>
                      </a:lnTo>
                      <a:lnTo>
                        <a:pt x="2760" y="237"/>
                      </a:lnTo>
                      <a:cubicBezTo>
                        <a:pt x="2780" y="218"/>
                        <a:pt x="2800" y="204"/>
                        <a:pt x="2828" y="192"/>
                      </a:cubicBezTo>
                      <a:cubicBezTo>
                        <a:pt x="2853" y="181"/>
                        <a:pt x="2885" y="175"/>
                        <a:pt x="2918" y="175"/>
                      </a:cubicBezTo>
                      <a:cubicBezTo>
                        <a:pt x="2952" y="175"/>
                        <a:pt x="2983" y="181"/>
                        <a:pt x="3012" y="189"/>
                      </a:cubicBezTo>
                      <a:cubicBezTo>
                        <a:pt x="3040" y="201"/>
                        <a:pt x="3065" y="216"/>
                        <a:pt x="3085" y="235"/>
                      </a:cubicBezTo>
                      <a:cubicBezTo>
                        <a:pt x="3105" y="255"/>
                        <a:pt x="3122" y="280"/>
                        <a:pt x="3133" y="311"/>
                      </a:cubicBezTo>
                      <a:cubicBezTo>
                        <a:pt x="3144" y="342"/>
                        <a:pt x="3150" y="378"/>
                        <a:pt x="3150" y="418"/>
                      </a:cubicBezTo>
                      <a:cubicBezTo>
                        <a:pt x="3150" y="463"/>
                        <a:pt x="3144" y="503"/>
                        <a:pt x="3130" y="539"/>
                      </a:cubicBezTo>
                      <a:cubicBezTo>
                        <a:pt x="3119" y="573"/>
                        <a:pt x="3102" y="605"/>
                        <a:pt x="3079" y="627"/>
                      </a:cubicBezTo>
                      <a:cubicBezTo>
                        <a:pt x="3057" y="650"/>
                        <a:pt x="3031" y="669"/>
                        <a:pt x="3003" y="680"/>
                      </a:cubicBezTo>
                      <a:cubicBezTo>
                        <a:pt x="2972" y="692"/>
                        <a:pt x="2941" y="697"/>
                        <a:pt x="2907" y="697"/>
                      </a:cubicBezTo>
                      <a:cubicBezTo>
                        <a:pt x="2876" y="697"/>
                        <a:pt x="2848" y="692"/>
                        <a:pt x="2822" y="680"/>
                      </a:cubicBezTo>
                      <a:cubicBezTo>
                        <a:pt x="2797" y="669"/>
                        <a:pt x="2774" y="652"/>
                        <a:pt x="2758" y="632"/>
                      </a:cubicBezTo>
                      <a:lnTo>
                        <a:pt x="2732" y="683"/>
                      </a:lnTo>
                      <a:lnTo>
                        <a:pt x="2605" y="683"/>
                      </a:lnTo>
                      <a:lnTo>
                        <a:pt x="2605" y="0"/>
                      </a:lnTo>
                      <a:close/>
                      <a:moveTo>
                        <a:pt x="3390" y="686"/>
                      </a:moveTo>
                      <a:lnTo>
                        <a:pt x="3234" y="686"/>
                      </a:lnTo>
                      <a:lnTo>
                        <a:pt x="3234" y="0"/>
                      </a:lnTo>
                      <a:lnTo>
                        <a:pt x="3390" y="0"/>
                      </a:lnTo>
                      <a:lnTo>
                        <a:pt x="3390" y="686"/>
                      </a:lnTo>
                      <a:close/>
                      <a:moveTo>
                        <a:pt x="3669" y="299"/>
                      </a:moveTo>
                      <a:cubicBezTo>
                        <a:pt x="3649" y="316"/>
                        <a:pt x="3638" y="347"/>
                        <a:pt x="3635" y="390"/>
                      </a:cubicBezTo>
                      <a:lnTo>
                        <a:pt x="3852" y="390"/>
                      </a:lnTo>
                      <a:cubicBezTo>
                        <a:pt x="3850" y="347"/>
                        <a:pt x="3841" y="316"/>
                        <a:pt x="3821" y="299"/>
                      </a:cubicBezTo>
                      <a:cubicBezTo>
                        <a:pt x="3802" y="280"/>
                        <a:pt x="3776" y="271"/>
                        <a:pt x="3742" y="271"/>
                      </a:cubicBezTo>
                      <a:cubicBezTo>
                        <a:pt x="3711" y="271"/>
                        <a:pt x="3689" y="280"/>
                        <a:pt x="3669" y="299"/>
                      </a:cubicBezTo>
                      <a:close/>
                      <a:moveTo>
                        <a:pt x="4008" y="542"/>
                      </a:moveTo>
                      <a:cubicBezTo>
                        <a:pt x="4007" y="543"/>
                        <a:pt x="4007" y="544"/>
                        <a:pt x="4007" y="545"/>
                      </a:cubicBezTo>
                      <a:lnTo>
                        <a:pt x="4008" y="545"/>
                      </a:lnTo>
                      <a:lnTo>
                        <a:pt x="4008" y="542"/>
                      </a:lnTo>
                      <a:close/>
                      <a:moveTo>
                        <a:pt x="3979" y="604"/>
                      </a:moveTo>
                      <a:cubicBezTo>
                        <a:pt x="3968" y="624"/>
                        <a:pt x="3951" y="641"/>
                        <a:pt x="3929" y="655"/>
                      </a:cubicBezTo>
                      <a:cubicBezTo>
                        <a:pt x="3909" y="669"/>
                        <a:pt x="3884" y="680"/>
                        <a:pt x="3852" y="689"/>
                      </a:cubicBezTo>
                      <a:cubicBezTo>
                        <a:pt x="3824" y="697"/>
                        <a:pt x="3790" y="700"/>
                        <a:pt x="3751" y="700"/>
                      </a:cubicBezTo>
                      <a:cubicBezTo>
                        <a:pt x="3711" y="700"/>
                        <a:pt x="3675" y="695"/>
                        <a:pt x="3641" y="683"/>
                      </a:cubicBezTo>
                      <a:cubicBezTo>
                        <a:pt x="3607" y="672"/>
                        <a:pt x="3579" y="655"/>
                        <a:pt x="3556" y="632"/>
                      </a:cubicBezTo>
                      <a:cubicBezTo>
                        <a:pt x="3534" y="610"/>
                        <a:pt x="3514" y="582"/>
                        <a:pt x="3500" y="551"/>
                      </a:cubicBezTo>
                      <a:cubicBezTo>
                        <a:pt x="3486" y="520"/>
                        <a:pt x="3480" y="480"/>
                        <a:pt x="3480" y="441"/>
                      </a:cubicBezTo>
                      <a:cubicBezTo>
                        <a:pt x="3480" y="398"/>
                        <a:pt x="3486" y="362"/>
                        <a:pt x="3500" y="328"/>
                      </a:cubicBezTo>
                      <a:cubicBezTo>
                        <a:pt x="3511" y="294"/>
                        <a:pt x="3531" y="268"/>
                        <a:pt x="3553" y="246"/>
                      </a:cubicBezTo>
                      <a:cubicBezTo>
                        <a:pt x="3576" y="223"/>
                        <a:pt x="3604" y="206"/>
                        <a:pt x="3638" y="195"/>
                      </a:cubicBezTo>
                      <a:cubicBezTo>
                        <a:pt x="3672" y="184"/>
                        <a:pt x="3709" y="178"/>
                        <a:pt x="3748" y="178"/>
                      </a:cubicBezTo>
                      <a:cubicBezTo>
                        <a:pt x="3790" y="178"/>
                        <a:pt x="3827" y="184"/>
                        <a:pt x="3858" y="195"/>
                      </a:cubicBezTo>
                      <a:cubicBezTo>
                        <a:pt x="3892" y="206"/>
                        <a:pt x="3921" y="226"/>
                        <a:pt x="3943" y="251"/>
                      </a:cubicBezTo>
                      <a:cubicBezTo>
                        <a:pt x="3966" y="277"/>
                        <a:pt x="3982" y="308"/>
                        <a:pt x="3996" y="345"/>
                      </a:cubicBezTo>
                      <a:cubicBezTo>
                        <a:pt x="4008" y="381"/>
                        <a:pt x="4016" y="426"/>
                        <a:pt x="4016" y="477"/>
                      </a:cubicBezTo>
                      <a:lnTo>
                        <a:pt x="3641" y="477"/>
                      </a:lnTo>
                      <a:cubicBezTo>
                        <a:pt x="3646" y="522"/>
                        <a:pt x="3661" y="553"/>
                        <a:pt x="3680" y="570"/>
                      </a:cubicBezTo>
                      <a:cubicBezTo>
                        <a:pt x="3703" y="590"/>
                        <a:pt x="3728" y="599"/>
                        <a:pt x="3762" y="599"/>
                      </a:cubicBezTo>
                      <a:cubicBezTo>
                        <a:pt x="3788" y="599"/>
                        <a:pt x="3807" y="593"/>
                        <a:pt x="3821" y="584"/>
                      </a:cubicBezTo>
                      <a:cubicBezTo>
                        <a:pt x="3836" y="576"/>
                        <a:pt x="3847" y="562"/>
                        <a:pt x="3852" y="545"/>
                      </a:cubicBezTo>
                      <a:lnTo>
                        <a:pt x="4007" y="545"/>
                      </a:lnTo>
                      <a:cubicBezTo>
                        <a:pt x="4001" y="567"/>
                        <a:pt x="3993" y="588"/>
                        <a:pt x="3979" y="604"/>
                      </a:cubicBezTo>
                      <a:close/>
                    </a:path>
                  </a:pathLst>
                </a:custGeom>
                <a:solidFill>
                  <a:schemeClr val="accent1"/>
                </a:solidFill>
                <a:ln w="9525" cap="flat">
                  <a:noFill/>
                  <a:bevel/>
                  <a:headEnd/>
                  <a:tailEnd/>
                </a:ln>
                <a:effectLst/>
              </p:spPr>
              <p:txBody>
                <a:bodyPr wrap="none" anchor="ctr"/>
                <a:lstStyle/>
                <a:p>
                  <a:endParaRPr lang="en-US"/>
                </a:p>
              </p:txBody>
            </p:sp>
          </p:grpSp>
        </p:grpSp>
      </p:grpSp>
    </p:spTree>
    <p:extLst>
      <p:ext uri="{BB962C8B-B14F-4D97-AF65-F5344CB8AC3E}">
        <p14:creationId xmlns:p14="http://schemas.microsoft.com/office/powerpoint/2010/main" val="288398097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1_Title Slide">
    <p:bg>
      <p:bgPr>
        <a:solidFill>
          <a:srgbClr val="00263A"/>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46360" y="3221292"/>
            <a:ext cx="5394960" cy="594360"/>
          </a:xfrm>
          <a:prstGeom prst="rect">
            <a:avLst/>
          </a:prstGeom>
        </p:spPr>
        <p:txBody>
          <a:bodyPr lIns="91420" tIns="45710" rIns="91420" bIns="45710" anchor="t" anchorCtr="0">
            <a:noAutofit/>
          </a:bodyPr>
          <a:lstStyle>
            <a:lvl1pPr marL="0" indent="0" algn="l">
              <a:spcBef>
                <a:spcPts val="0"/>
              </a:spcBef>
              <a:buNone/>
              <a:defRPr sz="1200" b="0" i="0">
                <a:solidFill>
                  <a:schemeClr val="bg2"/>
                </a:solidFill>
                <a:latin typeface="CiscoSansTT Light" panose="020B0503020201020303" pitchFamily="34" charset="0"/>
                <a:cs typeface="CiscoSansTT Light" panose="020B0503020201020303" pitchFamily="34" charset="0"/>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Presenter Name and Title</a:t>
            </a:r>
            <a:br>
              <a:rPr lang="en-US"/>
            </a:br>
            <a:r>
              <a:rPr lang="en-US"/>
              <a:t>Twitter Handle</a:t>
            </a:r>
          </a:p>
        </p:txBody>
      </p:sp>
      <p:sp>
        <p:nvSpPr>
          <p:cNvPr id="17" name="Text Placeholder 38"/>
          <p:cNvSpPr>
            <a:spLocks noGrp="1"/>
          </p:cNvSpPr>
          <p:nvPr>
            <p:ph type="body" sz="quarter" idx="11" hasCustomPrompt="1"/>
          </p:nvPr>
        </p:nvSpPr>
        <p:spPr>
          <a:xfrm>
            <a:off x="438844" y="3962427"/>
            <a:ext cx="2684400" cy="288131"/>
          </a:xfrm>
          <a:prstGeom prst="rect">
            <a:avLst/>
          </a:prstGeom>
        </p:spPr>
        <p:txBody>
          <a:bodyPr lIns="91420" tIns="45710" rIns="91420" bIns="45710"/>
          <a:lstStyle>
            <a:lvl1pPr marL="0" indent="0" algn="l" defTabSz="684213" rtl="0" eaLnBrk="1" fontAlgn="base" hangingPunct="1">
              <a:lnSpc>
                <a:spcPct val="95000"/>
              </a:lnSpc>
              <a:spcBef>
                <a:spcPts val="1075"/>
              </a:spcBef>
              <a:spcAft>
                <a:spcPct val="0"/>
              </a:spcAft>
              <a:buClr>
                <a:schemeClr val="tx2"/>
              </a:buClr>
              <a:buSzPct val="90000"/>
              <a:buFontTx/>
              <a:buNone/>
              <a:defRPr lang="en-US" sz="1200" b="0" i="0" kern="1200" dirty="0">
                <a:solidFill>
                  <a:srgbClr val="00A7E1"/>
                </a:solidFill>
                <a:latin typeface="CiscoSansTT Light" panose="020B0503020201020303" pitchFamily="34" charset="0"/>
                <a:ea typeface="+mn-ea"/>
                <a:cs typeface="CiscoSansTT Light" panose="020B0503020201020303"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r>
              <a:rPr lang="en-US" sz="1400"/>
              <a:t>Session ID</a:t>
            </a:r>
          </a:p>
        </p:txBody>
      </p:sp>
      <p:sp>
        <p:nvSpPr>
          <p:cNvPr id="19" name="Text Placeholder 2"/>
          <p:cNvSpPr>
            <a:spLocks noGrp="1"/>
          </p:cNvSpPr>
          <p:nvPr>
            <p:ph type="body" sz="quarter" idx="13" hasCustomPrompt="1"/>
          </p:nvPr>
        </p:nvSpPr>
        <p:spPr>
          <a:xfrm>
            <a:off x="446359" y="2622489"/>
            <a:ext cx="5394960" cy="411480"/>
          </a:xfrm>
          <a:prstGeom prst="rect">
            <a:avLst/>
          </a:prstGeom>
        </p:spPr>
        <p:txBody>
          <a:bodyPr lIns="91420" tIns="45710" rIns="91420" bIns="45710"/>
          <a:lstStyle>
            <a:lvl1pPr marL="0" indent="0">
              <a:spcBef>
                <a:spcPts val="0"/>
              </a:spcBef>
              <a:buFont typeface="Arial" panose="020B0604020202020204" pitchFamily="34" charset="0"/>
              <a:buNone/>
              <a:defRPr lang="en-GB" sz="1800" b="0" i="0" kern="1200" baseline="0" dirty="0">
                <a:solidFill>
                  <a:schemeClr val="accent1"/>
                </a:solidFill>
                <a:latin typeface="CiscoSansTT Light" panose="020B0503020201020303" pitchFamily="34" charset="0"/>
                <a:ea typeface="ＭＳ Ｐゴシック" charset="0"/>
                <a:cs typeface="CiscoSansTT Light" panose="020B0503020201020303"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4" y="1927020"/>
            <a:ext cx="5394960" cy="644730"/>
          </a:xfrm>
          <a:prstGeom prst="rect">
            <a:avLst/>
          </a:prstGeom>
        </p:spPr>
        <p:txBody>
          <a:bodyPr anchor="b"/>
          <a:lstStyle>
            <a:lvl1pPr marL="0" indent="0" algn="l">
              <a:lnSpc>
                <a:spcPct val="90000"/>
              </a:lnSpc>
              <a:buFont typeface="Arial" panose="020B0604020202020204" pitchFamily="34" charset="0"/>
              <a:buNone/>
              <a:defRPr lang="en-US" sz="2800" b="0" i="0" u="none" kern="1200" spc="0" baseline="0" dirty="0">
                <a:solidFill>
                  <a:schemeClr val="accent1"/>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Presentation Title</a:t>
            </a:r>
            <a:endParaRPr lang="en-US"/>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p:nvSpPr>
        <p:spPr bwMode="black">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11" name="Group 10">
            <a:extLst>
              <a:ext uri="{FF2B5EF4-FFF2-40B4-BE49-F238E27FC236}">
                <a16:creationId xmlns:a16="http://schemas.microsoft.com/office/drawing/2014/main" id="{6AA70FF9-D8C6-43C0-8330-592665880E6D}"/>
              </a:ext>
            </a:extLst>
          </p:cNvPr>
          <p:cNvGrpSpPr>
            <a:grpSpLocks noChangeAspect="1"/>
          </p:cNvGrpSpPr>
          <p:nvPr/>
        </p:nvGrpSpPr>
        <p:grpSpPr>
          <a:xfrm>
            <a:off x="6064485" y="532638"/>
            <a:ext cx="3079515" cy="4078224"/>
            <a:chOff x="6265863" y="2170113"/>
            <a:chExt cx="2462212" cy="3260725"/>
          </a:xfrm>
        </p:grpSpPr>
        <p:sp>
          <p:nvSpPr>
            <p:cNvPr id="12" name="Freeform 1">
              <a:extLst>
                <a:ext uri="{FF2B5EF4-FFF2-40B4-BE49-F238E27FC236}">
                  <a16:creationId xmlns:a16="http://schemas.microsoft.com/office/drawing/2014/main" id="{E1458A64-169C-404E-98E1-DBE7C11C7DA1}"/>
                </a:ext>
              </a:extLst>
            </p:cNvPr>
            <p:cNvSpPr>
              <a:spLocks noChangeArrowheads="1"/>
            </p:cNvSpPr>
            <p:nvPr/>
          </p:nvSpPr>
          <p:spPr bwMode="auto">
            <a:xfrm>
              <a:off x="6900863" y="2170113"/>
              <a:ext cx="1511300" cy="2430462"/>
            </a:xfrm>
            <a:custGeom>
              <a:avLst/>
              <a:gdLst>
                <a:gd name="T0" fmla="*/ 683 w 4200"/>
                <a:gd name="T1" fmla="*/ 3914 h 6753"/>
                <a:gd name="T2" fmla="*/ 683 w 4200"/>
                <a:gd name="T3" fmla="*/ 6411 h 6753"/>
                <a:gd name="T4" fmla="*/ 341 w 4200"/>
                <a:gd name="T5" fmla="*/ 6752 h 6753"/>
                <a:gd name="T6" fmla="*/ 341 w 4200"/>
                <a:gd name="T7" fmla="*/ 6752 h 6753"/>
                <a:gd name="T8" fmla="*/ 0 w 4200"/>
                <a:gd name="T9" fmla="*/ 6411 h 6753"/>
                <a:gd name="T10" fmla="*/ 0 w 4200"/>
                <a:gd name="T11" fmla="*/ 3914 h 6753"/>
                <a:gd name="T12" fmla="*/ 341 w 4200"/>
                <a:gd name="T13" fmla="*/ 3573 h 6753"/>
                <a:gd name="T14" fmla="*/ 341 w 4200"/>
                <a:gd name="T15" fmla="*/ 3573 h 6753"/>
                <a:gd name="T16" fmla="*/ 683 w 4200"/>
                <a:gd name="T17" fmla="*/ 3914 h 6753"/>
                <a:gd name="T18" fmla="*/ 3855 w 4200"/>
                <a:gd name="T19" fmla="*/ 0 h 6753"/>
                <a:gd name="T20" fmla="*/ 3855 w 4200"/>
                <a:gd name="T21" fmla="*/ 0 h 6753"/>
                <a:gd name="T22" fmla="*/ 3513 w 4200"/>
                <a:gd name="T23" fmla="*/ 342 h 6753"/>
                <a:gd name="T24" fmla="*/ 3513 w 4200"/>
                <a:gd name="T25" fmla="*/ 2839 h 6753"/>
                <a:gd name="T26" fmla="*/ 3855 w 4200"/>
                <a:gd name="T27" fmla="*/ 3181 h 6753"/>
                <a:gd name="T28" fmla="*/ 3855 w 4200"/>
                <a:gd name="T29" fmla="*/ 3181 h 6753"/>
                <a:gd name="T30" fmla="*/ 4196 w 4200"/>
                <a:gd name="T31" fmla="*/ 2839 h 6753"/>
                <a:gd name="T32" fmla="*/ 4196 w 4200"/>
                <a:gd name="T33" fmla="*/ 345 h 6753"/>
                <a:gd name="T34" fmla="*/ 3855 w 4200"/>
                <a:gd name="T35" fmla="*/ 0 h 6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0" h="6753">
                  <a:moveTo>
                    <a:pt x="683" y="3914"/>
                  </a:moveTo>
                  <a:lnTo>
                    <a:pt x="683" y="6411"/>
                  </a:lnTo>
                  <a:cubicBezTo>
                    <a:pt x="683" y="6600"/>
                    <a:pt x="531" y="6752"/>
                    <a:pt x="341" y="6752"/>
                  </a:cubicBezTo>
                  <a:lnTo>
                    <a:pt x="341" y="6752"/>
                  </a:lnTo>
                  <a:cubicBezTo>
                    <a:pt x="152" y="6752"/>
                    <a:pt x="0" y="6600"/>
                    <a:pt x="0" y="6411"/>
                  </a:cubicBezTo>
                  <a:lnTo>
                    <a:pt x="0" y="3914"/>
                  </a:lnTo>
                  <a:cubicBezTo>
                    <a:pt x="0" y="3725"/>
                    <a:pt x="152" y="3573"/>
                    <a:pt x="341" y="3573"/>
                  </a:cubicBezTo>
                  <a:lnTo>
                    <a:pt x="341" y="3573"/>
                  </a:lnTo>
                  <a:cubicBezTo>
                    <a:pt x="528" y="3570"/>
                    <a:pt x="683" y="3723"/>
                    <a:pt x="683" y="3914"/>
                  </a:cubicBezTo>
                  <a:close/>
                  <a:moveTo>
                    <a:pt x="3855" y="0"/>
                  </a:moveTo>
                  <a:lnTo>
                    <a:pt x="3855" y="0"/>
                  </a:lnTo>
                  <a:cubicBezTo>
                    <a:pt x="3666" y="0"/>
                    <a:pt x="3513" y="153"/>
                    <a:pt x="3513" y="342"/>
                  </a:cubicBezTo>
                  <a:lnTo>
                    <a:pt x="3513" y="2839"/>
                  </a:lnTo>
                  <a:cubicBezTo>
                    <a:pt x="3513" y="3028"/>
                    <a:pt x="3666" y="3181"/>
                    <a:pt x="3855" y="3181"/>
                  </a:cubicBezTo>
                  <a:lnTo>
                    <a:pt x="3855" y="3181"/>
                  </a:lnTo>
                  <a:cubicBezTo>
                    <a:pt x="4044" y="3181"/>
                    <a:pt x="4196" y="3028"/>
                    <a:pt x="4196" y="2839"/>
                  </a:cubicBezTo>
                  <a:lnTo>
                    <a:pt x="4196" y="345"/>
                  </a:lnTo>
                  <a:cubicBezTo>
                    <a:pt x="4199" y="155"/>
                    <a:pt x="4044" y="0"/>
                    <a:pt x="3855" y="0"/>
                  </a:cubicBezTo>
                  <a:close/>
                </a:path>
              </a:pathLst>
            </a:custGeom>
            <a:solidFill>
              <a:schemeClr val="accent6"/>
            </a:solidFill>
            <a:ln w="9525" cap="flat">
              <a:noFill/>
              <a:bevel/>
              <a:headEnd/>
              <a:tailEnd/>
            </a:ln>
            <a:effectLst/>
          </p:spPr>
          <p:txBody>
            <a:bodyPr wrap="none" anchor="ctr"/>
            <a:lstStyle/>
            <a:p>
              <a:endParaRPr lang="en-US"/>
            </a:p>
          </p:txBody>
        </p:sp>
        <p:sp>
          <p:nvSpPr>
            <p:cNvPr id="14" name="Freeform 2">
              <a:extLst>
                <a:ext uri="{FF2B5EF4-FFF2-40B4-BE49-F238E27FC236}">
                  <a16:creationId xmlns:a16="http://schemas.microsoft.com/office/drawing/2014/main" id="{16CF2C10-62BB-4A2B-9B36-9949BC53B8B2}"/>
                </a:ext>
              </a:extLst>
            </p:cNvPr>
            <p:cNvSpPr>
              <a:spLocks noChangeArrowheads="1"/>
            </p:cNvSpPr>
            <p:nvPr/>
          </p:nvSpPr>
          <p:spPr bwMode="auto">
            <a:xfrm>
              <a:off x="7216775" y="2603500"/>
              <a:ext cx="1511300" cy="2430463"/>
            </a:xfrm>
            <a:custGeom>
              <a:avLst/>
              <a:gdLst>
                <a:gd name="T0" fmla="*/ 683 w 4200"/>
                <a:gd name="T1" fmla="*/ 342 h 6751"/>
                <a:gd name="T2" fmla="*/ 683 w 4200"/>
                <a:gd name="T3" fmla="*/ 2839 h 6751"/>
                <a:gd name="T4" fmla="*/ 341 w 4200"/>
                <a:gd name="T5" fmla="*/ 3181 h 6751"/>
                <a:gd name="T6" fmla="*/ 341 w 4200"/>
                <a:gd name="T7" fmla="*/ 3181 h 6751"/>
                <a:gd name="T8" fmla="*/ 0 w 4200"/>
                <a:gd name="T9" fmla="*/ 2839 h 6751"/>
                <a:gd name="T10" fmla="*/ 0 w 4200"/>
                <a:gd name="T11" fmla="*/ 342 h 6751"/>
                <a:gd name="T12" fmla="*/ 341 w 4200"/>
                <a:gd name="T13" fmla="*/ 0 h 6751"/>
                <a:gd name="T14" fmla="*/ 341 w 4200"/>
                <a:gd name="T15" fmla="*/ 0 h 6751"/>
                <a:gd name="T16" fmla="*/ 683 w 4200"/>
                <a:gd name="T17" fmla="*/ 342 h 6751"/>
                <a:gd name="T18" fmla="*/ 1219 w 4200"/>
                <a:gd name="T19" fmla="*/ 2365 h 6751"/>
                <a:gd name="T20" fmla="*/ 1219 w 4200"/>
                <a:gd name="T21" fmla="*/ 2365 h 6751"/>
                <a:gd name="T22" fmla="*/ 877 w 4200"/>
                <a:gd name="T23" fmla="*/ 2707 h 6751"/>
                <a:gd name="T24" fmla="*/ 877 w 4200"/>
                <a:gd name="T25" fmla="*/ 5203 h 6751"/>
                <a:gd name="T26" fmla="*/ 1219 w 4200"/>
                <a:gd name="T27" fmla="*/ 5545 h 6751"/>
                <a:gd name="T28" fmla="*/ 1219 w 4200"/>
                <a:gd name="T29" fmla="*/ 5545 h 6751"/>
                <a:gd name="T30" fmla="*/ 1560 w 4200"/>
                <a:gd name="T31" fmla="*/ 5203 h 6751"/>
                <a:gd name="T32" fmla="*/ 1560 w 4200"/>
                <a:gd name="T33" fmla="*/ 2707 h 6751"/>
                <a:gd name="T34" fmla="*/ 1219 w 4200"/>
                <a:gd name="T35" fmla="*/ 2365 h 6751"/>
                <a:gd name="T36" fmla="*/ 3857 w 4200"/>
                <a:gd name="T37" fmla="*/ 3569 h 6751"/>
                <a:gd name="T38" fmla="*/ 3857 w 4200"/>
                <a:gd name="T39" fmla="*/ 3569 h 6751"/>
                <a:gd name="T40" fmla="*/ 3516 w 4200"/>
                <a:gd name="T41" fmla="*/ 3911 h 6751"/>
                <a:gd name="T42" fmla="*/ 3516 w 4200"/>
                <a:gd name="T43" fmla="*/ 6408 h 6751"/>
                <a:gd name="T44" fmla="*/ 3857 w 4200"/>
                <a:gd name="T45" fmla="*/ 6750 h 6751"/>
                <a:gd name="T46" fmla="*/ 3857 w 4200"/>
                <a:gd name="T47" fmla="*/ 6750 h 6751"/>
                <a:gd name="T48" fmla="*/ 4199 w 4200"/>
                <a:gd name="T49" fmla="*/ 6408 h 6751"/>
                <a:gd name="T50" fmla="*/ 4199 w 4200"/>
                <a:gd name="T51" fmla="*/ 3911 h 6751"/>
                <a:gd name="T52" fmla="*/ 3857 w 4200"/>
                <a:gd name="T53" fmla="*/ 3569 h 6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6751">
                  <a:moveTo>
                    <a:pt x="683" y="342"/>
                  </a:moveTo>
                  <a:lnTo>
                    <a:pt x="683" y="2839"/>
                  </a:lnTo>
                  <a:cubicBezTo>
                    <a:pt x="683" y="3028"/>
                    <a:pt x="530" y="3181"/>
                    <a:pt x="341" y="3181"/>
                  </a:cubicBezTo>
                  <a:lnTo>
                    <a:pt x="341" y="3181"/>
                  </a:lnTo>
                  <a:cubicBezTo>
                    <a:pt x="152" y="3181"/>
                    <a:pt x="0" y="3028"/>
                    <a:pt x="0" y="2839"/>
                  </a:cubicBezTo>
                  <a:lnTo>
                    <a:pt x="0" y="342"/>
                  </a:lnTo>
                  <a:cubicBezTo>
                    <a:pt x="0" y="153"/>
                    <a:pt x="152" y="0"/>
                    <a:pt x="341" y="0"/>
                  </a:cubicBezTo>
                  <a:lnTo>
                    <a:pt x="341" y="0"/>
                  </a:lnTo>
                  <a:cubicBezTo>
                    <a:pt x="530" y="0"/>
                    <a:pt x="683" y="153"/>
                    <a:pt x="683" y="342"/>
                  </a:cubicBezTo>
                  <a:close/>
                  <a:moveTo>
                    <a:pt x="1219" y="2365"/>
                  </a:moveTo>
                  <a:lnTo>
                    <a:pt x="1219" y="2365"/>
                  </a:lnTo>
                  <a:cubicBezTo>
                    <a:pt x="1030" y="2365"/>
                    <a:pt x="877" y="2518"/>
                    <a:pt x="877" y="2707"/>
                  </a:cubicBezTo>
                  <a:lnTo>
                    <a:pt x="877" y="5203"/>
                  </a:lnTo>
                  <a:cubicBezTo>
                    <a:pt x="877" y="5392"/>
                    <a:pt x="1030" y="5545"/>
                    <a:pt x="1219" y="5545"/>
                  </a:cubicBezTo>
                  <a:lnTo>
                    <a:pt x="1219" y="5545"/>
                  </a:lnTo>
                  <a:cubicBezTo>
                    <a:pt x="1408" y="5545"/>
                    <a:pt x="1560" y="5392"/>
                    <a:pt x="1560" y="5203"/>
                  </a:cubicBezTo>
                  <a:lnTo>
                    <a:pt x="1560" y="2707"/>
                  </a:lnTo>
                  <a:cubicBezTo>
                    <a:pt x="1563" y="2518"/>
                    <a:pt x="1408" y="2365"/>
                    <a:pt x="1219" y="2365"/>
                  </a:cubicBezTo>
                  <a:close/>
                  <a:moveTo>
                    <a:pt x="3857" y="3569"/>
                  </a:moveTo>
                  <a:lnTo>
                    <a:pt x="3857" y="3569"/>
                  </a:lnTo>
                  <a:cubicBezTo>
                    <a:pt x="3668" y="3569"/>
                    <a:pt x="3516" y="3722"/>
                    <a:pt x="3516" y="3911"/>
                  </a:cubicBezTo>
                  <a:lnTo>
                    <a:pt x="3516" y="6408"/>
                  </a:lnTo>
                  <a:cubicBezTo>
                    <a:pt x="3516" y="6597"/>
                    <a:pt x="3668" y="6750"/>
                    <a:pt x="3857" y="6750"/>
                  </a:cubicBezTo>
                  <a:lnTo>
                    <a:pt x="3857" y="6750"/>
                  </a:lnTo>
                  <a:cubicBezTo>
                    <a:pt x="4046" y="6750"/>
                    <a:pt x="4199" y="6597"/>
                    <a:pt x="4199" y="6408"/>
                  </a:cubicBezTo>
                  <a:lnTo>
                    <a:pt x="4199" y="3911"/>
                  </a:lnTo>
                  <a:cubicBezTo>
                    <a:pt x="4199" y="3722"/>
                    <a:pt x="4046" y="3569"/>
                    <a:pt x="3857" y="3569"/>
                  </a:cubicBezTo>
                  <a:close/>
                </a:path>
              </a:pathLst>
            </a:custGeom>
            <a:solidFill>
              <a:schemeClr val="accent2"/>
            </a:solidFill>
            <a:ln w="9525" cap="flat">
              <a:noFill/>
              <a:bevel/>
              <a:headEnd/>
              <a:tailEnd/>
            </a:ln>
            <a:effectLst/>
          </p:spPr>
          <p:txBody>
            <a:bodyPr wrap="none" anchor="ctr"/>
            <a:lstStyle/>
            <a:p>
              <a:endParaRPr lang="en-US"/>
            </a:p>
          </p:txBody>
        </p:sp>
        <p:sp>
          <p:nvSpPr>
            <p:cNvPr id="15" name="Freeform 3">
              <a:extLst>
                <a:ext uri="{FF2B5EF4-FFF2-40B4-BE49-F238E27FC236}">
                  <a16:creationId xmlns:a16="http://schemas.microsoft.com/office/drawing/2014/main" id="{C3457D7A-175B-4E70-88E4-F8839AA9613D}"/>
                </a:ext>
              </a:extLst>
            </p:cNvPr>
            <p:cNvSpPr>
              <a:spLocks noChangeArrowheads="1"/>
            </p:cNvSpPr>
            <p:nvPr/>
          </p:nvSpPr>
          <p:spPr bwMode="auto">
            <a:xfrm>
              <a:off x="6583363" y="3001963"/>
              <a:ext cx="1511300" cy="2032000"/>
            </a:xfrm>
            <a:custGeom>
              <a:avLst/>
              <a:gdLst>
                <a:gd name="T0" fmla="*/ 2441 w 4200"/>
                <a:gd name="T1" fmla="*/ 2804 h 5644"/>
                <a:gd name="T2" fmla="*/ 2441 w 4200"/>
                <a:gd name="T3" fmla="*/ 5301 h 5644"/>
                <a:gd name="T4" fmla="*/ 2099 w 4200"/>
                <a:gd name="T5" fmla="*/ 5643 h 5644"/>
                <a:gd name="T6" fmla="*/ 2099 w 4200"/>
                <a:gd name="T7" fmla="*/ 5643 h 5644"/>
                <a:gd name="T8" fmla="*/ 1758 w 4200"/>
                <a:gd name="T9" fmla="*/ 5301 h 5644"/>
                <a:gd name="T10" fmla="*/ 1758 w 4200"/>
                <a:gd name="T11" fmla="*/ 2804 h 5644"/>
                <a:gd name="T12" fmla="*/ 2099 w 4200"/>
                <a:gd name="T13" fmla="*/ 2462 h 5644"/>
                <a:gd name="T14" fmla="*/ 2099 w 4200"/>
                <a:gd name="T15" fmla="*/ 2462 h 5644"/>
                <a:gd name="T16" fmla="*/ 2441 w 4200"/>
                <a:gd name="T17" fmla="*/ 2804 h 5644"/>
                <a:gd name="T18" fmla="*/ 3857 w 4200"/>
                <a:gd name="T19" fmla="*/ 0 h 5644"/>
                <a:gd name="T20" fmla="*/ 3857 w 4200"/>
                <a:gd name="T21" fmla="*/ 0 h 5644"/>
                <a:gd name="T22" fmla="*/ 3516 w 4200"/>
                <a:gd name="T23" fmla="*/ 341 h 5644"/>
                <a:gd name="T24" fmla="*/ 3516 w 4200"/>
                <a:gd name="T25" fmla="*/ 2838 h 5644"/>
                <a:gd name="T26" fmla="*/ 3857 w 4200"/>
                <a:gd name="T27" fmla="*/ 3179 h 5644"/>
                <a:gd name="T28" fmla="*/ 3857 w 4200"/>
                <a:gd name="T29" fmla="*/ 3179 h 5644"/>
                <a:gd name="T30" fmla="*/ 4199 w 4200"/>
                <a:gd name="T31" fmla="*/ 2838 h 5644"/>
                <a:gd name="T32" fmla="*/ 4199 w 4200"/>
                <a:gd name="T33" fmla="*/ 341 h 5644"/>
                <a:gd name="T34" fmla="*/ 3857 w 4200"/>
                <a:gd name="T35" fmla="*/ 0 h 5644"/>
                <a:gd name="T36" fmla="*/ 341 w 4200"/>
                <a:gd name="T37" fmla="*/ 0 h 5644"/>
                <a:gd name="T38" fmla="*/ 341 w 4200"/>
                <a:gd name="T39" fmla="*/ 0 h 5644"/>
                <a:gd name="T40" fmla="*/ 0 w 4200"/>
                <a:gd name="T41" fmla="*/ 341 h 5644"/>
                <a:gd name="T42" fmla="*/ 0 w 4200"/>
                <a:gd name="T43" fmla="*/ 2838 h 5644"/>
                <a:gd name="T44" fmla="*/ 341 w 4200"/>
                <a:gd name="T45" fmla="*/ 3179 h 5644"/>
                <a:gd name="T46" fmla="*/ 341 w 4200"/>
                <a:gd name="T47" fmla="*/ 3179 h 5644"/>
                <a:gd name="T48" fmla="*/ 682 w 4200"/>
                <a:gd name="T49" fmla="*/ 2838 h 5644"/>
                <a:gd name="T50" fmla="*/ 682 w 4200"/>
                <a:gd name="T51" fmla="*/ 341 h 5644"/>
                <a:gd name="T52" fmla="*/ 341 w 4200"/>
                <a:gd name="T53" fmla="*/ 0 h 5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5644">
                  <a:moveTo>
                    <a:pt x="2441" y="2804"/>
                  </a:moveTo>
                  <a:lnTo>
                    <a:pt x="2441" y="5301"/>
                  </a:lnTo>
                  <a:cubicBezTo>
                    <a:pt x="2441" y="5490"/>
                    <a:pt x="2288" y="5643"/>
                    <a:pt x="2099" y="5643"/>
                  </a:cubicBezTo>
                  <a:lnTo>
                    <a:pt x="2099" y="5643"/>
                  </a:lnTo>
                  <a:cubicBezTo>
                    <a:pt x="1910" y="5643"/>
                    <a:pt x="1758" y="5490"/>
                    <a:pt x="1758" y="5301"/>
                  </a:cubicBezTo>
                  <a:lnTo>
                    <a:pt x="1758" y="2804"/>
                  </a:lnTo>
                  <a:cubicBezTo>
                    <a:pt x="1758" y="2615"/>
                    <a:pt x="1910" y="2462"/>
                    <a:pt x="2099" y="2462"/>
                  </a:cubicBezTo>
                  <a:lnTo>
                    <a:pt x="2099" y="2462"/>
                  </a:lnTo>
                  <a:cubicBezTo>
                    <a:pt x="2288" y="2462"/>
                    <a:pt x="2441" y="2615"/>
                    <a:pt x="2441" y="2804"/>
                  </a:cubicBezTo>
                  <a:close/>
                  <a:moveTo>
                    <a:pt x="3857" y="0"/>
                  </a:moveTo>
                  <a:lnTo>
                    <a:pt x="3857" y="0"/>
                  </a:lnTo>
                  <a:cubicBezTo>
                    <a:pt x="3668" y="0"/>
                    <a:pt x="3516" y="152"/>
                    <a:pt x="3516" y="341"/>
                  </a:cubicBezTo>
                  <a:lnTo>
                    <a:pt x="3516" y="2838"/>
                  </a:lnTo>
                  <a:cubicBezTo>
                    <a:pt x="3516" y="3027"/>
                    <a:pt x="3668" y="3179"/>
                    <a:pt x="3857" y="3179"/>
                  </a:cubicBezTo>
                  <a:lnTo>
                    <a:pt x="3857" y="3179"/>
                  </a:lnTo>
                  <a:cubicBezTo>
                    <a:pt x="4046" y="3179"/>
                    <a:pt x="4199" y="3027"/>
                    <a:pt x="4199" y="2838"/>
                  </a:cubicBezTo>
                  <a:lnTo>
                    <a:pt x="4199" y="341"/>
                  </a:lnTo>
                  <a:cubicBezTo>
                    <a:pt x="4199" y="152"/>
                    <a:pt x="4046" y="0"/>
                    <a:pt x="3857" y="0"/>
                  </a:cubicBezTo>
                  <a:close/>
                  <a:moveTo>
                    <a:pt x="341" y="0"/>
                  </a:moveTo>
                  <a:lnTo>
                    <a:pt x="341" y="0"/>
                  </a:lnTo>
                  <a:cubicBezTo>
                    <a:pt x="152" y="0"/>
                    <a:pt x="0" y="152"/>
                    <a:pt x="0" y="341"/>
                  </a:cubicBezTo>
                  <a:lnTo>
                    <a:pt x="0" y="2838"/>
                  </a:lnTo>
                  <a:cubicBezTo>
                    <a:pt x="0" y="3027"/>
                    <a:pt x="152" y="3179"/>
                    <a:pt x="341" y="3179"/>
                  </a:cubicBezTo>
                  <a:lnTo>
                    <a:pt x="341" y="3179"/>
                  </a:lnTo>
                  <a:cubicBezTo>
                    <a:pt x="530" y="3179"/>
                    <a:pt x="682" y="3027"/>
                    <a:pt x="682" y="2838"/>
                  </a:cubicBezTo>
                  <a:lnTo>
                    <a:pt x="682" y="341"/>
                  </a:lnTo>
                  <a:cubicBezTo>
                    <a:pt x="682" y="152"/>
                    <a:pt x="530" y="0"/>
                    <a:pt x="341" y="0"/>
                  </a:cubicBezTo>
                  <a:close/>
                </a:path>
              </a:pathLst>
            </a:custGeom>
            <a:solidFill>
              <a:schemeClr val="accent5"/>
            </a:solidFill>
            <a:ln w="9525" cap="flat">
              <a:noFill/>
              <a:bevel/>
              <a:headEnd/>
              <a:tailEnd/>
            </a:ln>
            <a:effectLst/>
          </p:spPr>
          <p:txBody>
            <a:bodyPr wrap="none" anchor="ctr"/>
            <a:lstStyle/>
            <a:p>
              <a:endParaRPr lang="en-US"/>
            </a:p>
          </p:txBody>
        </p:sp>
        <p:sp>
          <p:nvSpPr>
            <p:cNvPr id="18" name="Freeform 4">
              <a:extLst>
                <a:ext uri="{FF2B5EF4-FFF2-40B4-BE49-F238E27FC236}">
                  <a16:creationId xmlns:a16="http://schemas.microsoft.com/office/drawing/2014/main" id="{ECF2801C-521E-491B-B9A7-6B468A6ED88D}"/>
                </a:ext>
              </a:extLst>
            </p:cNvPr>
            <p:cNvSpPr>
              <a:spLocks noChangeArrowheads="1"/>
            </p:cNvSpPr>
            <p:nvPr/>
          </p:nvSpPr>
          <p:spPr bwMode="auto">
            <a:xfrm>
              <a:off x="6265863" y="3454400"/>
              <a:ext cx="2146300" cy="1976438"/>
            </a:xfrm>
            <a:custGeom>
              <a:avLst/>
              <a:gdLst>
                <a:gd name="T0" fmla="*/ 5960 w 5961"/>
                <a:gd name="T1" fmla="*/ 344 h 5492"/>
                <a:gd name="T2" fmla="*/ 5960 w 5961"/>
                <a:gd name="T3" fmla="*/ 2841 h 5492"/>
                <a:gd name="T4" fmla="*/ 5619 w 5961"/>
                <a:gd name="T5" fmla="*/ 3182 h 5492"/>
                <a:gd name="T6" fmla="*/ 5619 w 5961"/>
                <a:gd name="T7" fmla="*/ 3182 h 5492"/>
                <a:gd name="T8" fmla="*/ 5277 w 5961"/>
                <a:gd name="T9" fmla="*/ 2841 h 5492"/>
                <a:gd name="T10" fmla="*/ 5277 w 5961"/>
                <a:gd name="T11" fmla="*/ 344 h 5492"/>
                <a:gd name="T12" fmla="*/ 5619 w 5961"/>
                <a:gd name="T13" fmla="*/ 3 h 5492"/>
                <a:gd name="T14" fmla="*/ 5619 w 5961"/>
                <a:gd name="T15" fmla="*/ 3 h 5492"/>
                <a:gd name="T16" fmla="*/ 5960 w 5961"/>
                <a:gd name="T17" fmla="*/ 344 h 5492"/>
                <a:gd name="T18" fmla="*/ 342 w 5961"/>
                <a:gd name="T19" fmla="*/ 0 h 5492"/>
                <a:gd name="T20" fmla="*/ 342 w 5961"/>
                <a:gd name="T21" fmla="*/ 0 h 5492"/>
                <a:gd name="T22" fmla="*/ 0 w 5961"/>
                <a:gd name="T23" fmla="*/ 342 h 5492"/>
                <a:gd name="T24" fmla="*/ 0 w 5961"/>
                <a:gd name="T25" fmla="*/ 2838 h 5492"/>
                <a:gd name="T26" fmla="*/ 342 w 5961"/>
                <a:gd name="T27" fmla="*/ 3180 h 5492"/>
                <a:gd name="T28" fmla="*/ 342 w 5961"/>
                <a:gd name="T29" fmla="*/ 3180 h 5492"/>
                <a:gd name="T30" fmla="*/ 683 w 5961"/>
                <a:gd name="T31" fmla="*/ 2838 h 5492"/>
                <a:gd name="T32" fmla="*/ 683 w 5961"/>
                <a:gd name="T33" fmla="*/ 342 h 5492"/>
                <a:gd name="T34" fmla="*/ 342 w 5961"/>
                <a:gd name="T35" fmla="*/ 0 h 5492"/>
                <a:gd name="T36" fmla="*/ 1222 w 5961"/>
                <a:gd name="T37" fmla="*/ 2310 h 5492"/>
                <a:gd name="T38" fmla="*/ 1222 w 5961"/>
                <a:gd name="T39" fmla="*/ 2310 h 5492"/>
                <a:gd name="T40" fmla="*/ 881 w 5961"/>
                <a:gd name="T41" fmla="*/ 2652 h 5492"/>
                <a:gd name="T42" fmla="*/ 881 w 5961"/>
                <a:gd name="T43" fmla="*/ 5149 h 5492"/>
                <a:gd name="T44" fmla="*/ 1222 w 5961"/>
                <a:gd name="T45" fmla="*/ 5491 h 5492"/>
                <a:gd name="T46" fmla="*/ 1222 w 5961"/>
                <a:gd name="T47" fmla="*/ 5491 h 5492"/>
                <a:gd name="T48" fmla="*/ 1563 w 5961"/>
                <a:gd name="T49" fmla="*/ 5149 h 5492"/>
                <a:gd name="T50" fmla="*/ 1563 w 5961"/>
                <a:gd name="T51" fmla="*/ 2652 h 5492"/>
                <a:gd name="T52" fmla="*/ 1222 w 5961"/>
                <a:gd name="T53" fmla="*/ 2310 h 5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61" h="5492">
                  <a:moveTo>
                    <a:pt x="5960" y="344"/>
                  </a:moveTo>
                  <a:lnTo>
                    <a:pt x="5960" y="2841"/>
                  </a:lnTo>
                  <a:cubicBezTo>
                    <a:pt x="5960" y="3030"/>
                    <a:pt x="5808" y="3182"/>
                    <a:pt x="5619" y="3182"/>
                  </a:cubicBezTo>
                  <a:lnTo>
                    <a:pt x="5619" y="3182"/>
                  </a:lnTo>
                  <a:cubicBezTo>
                    <a:pt x="5430" y="3182"/>
                    <a:pt x="5277" y="3030"/>
                    <a:pt x="5277" y="2841"/>
                  </a:cubicBezTo>
                  <a:lnTo>
                    <a:pt x="5277" y="344"/>
                  </a:lnTo>
                  <a:cubicBezTo>
                    <a:pt x="5277" y="155"/>
                    <a:pt x="5430" y="3"/>
                    <a:pt x="5619" y="3"/>
                  </a:cubicBezTo>
                  <a:lnTo>
                    <a:pt x="5619" y="3"/>
                  </a:lnTo>
                  <a:cubicBezTo>
                    <a:pt x="5805" y="0"/>
                    <a:pt x="5960" y="153"/>
                    <a:pt x="5960" y="344"/>
                  </a:cubicBezTo>
                  <a:close/>
                  <a:moveTo>
                    <a:pt x="342" y="0"/>
                  </a:moveTo>
                  <a:lnTo>
                    <a:pt x="342" y="0"/>
                  </a:lnTo>
                  <a:cubicBezTo>
                    <a:pt x="152" y="0"/>
                    <a:pt x="0" y="153"/>
                    <a:pt x="0" y="342"/>
                  </a:cubicBezTo>
                  <a:lnTo>
                    <a:pt x="0" y="2838"/>
                  </a:lnTo>
                  <a:cubicBezTo>
                    <a:pt x="0" y="3027"/>
                    <a:pt x="152" y="3180"/>
                    <a:pt x="342" y="3180"/>
                  </a:cubicBezTo>
                  <a:lnTo>
                    <a:pt x="342" y="3180"/>
                  </a:lnTo>
                  <a:cubicBezTo>
                    <a:pt x="531" y="3180"/>
                    <a:pt x="683" y="3027"/>
                    <a:pt x="683" y="2838"/>
                  </a:cubicBezTo>
                  <a:lnTo>
                    <a:pt x="683" y="342"/>
                  </a:lnTo>
                  <a:cubicBezTo>
                    <a:pt x="686" y="153"/>
                    <a:pt x="533" y="0"/>
                    <a:pt x="342" y="0"/>
                  </a:cubicBezTo>
                  <a:close/>
                  <a:moveTo>
                    <a:pt x="1222" y="2310"/>
                  </a:moveTo>
                  <a:lnTo>
                    <a:pt x="1222" y="2310"/>
                  </a:lnTo>
                  <a:cubicBezTo>
                    <a:pt x="1033" y="2310"/>
                    <a:pt x="881" y="2463"/>
                    <a:pt x="881" y="2652"/>
                  </a:cubicBezTo>
                  <a:lnTo>
                    <a:pt x="881" y="5149"/>
                  </a:lnTo>
                  <a:cubicBezTo>
                    <a:pt x="881" y="5339"/>
                    <a:pt x="1033" y="5491"/>
                    <a:pt x="1222" y="5491"/>
                  </a:cubicBezTo>
                  <a:lnTo>
                    <a:pt x="1222" y="5491"/>
                  </a:lnTo>
                  <a:cubicBezTo>
                    <a:pt x="1411" y="5491"/>
                    <a:pt x="1563" y="5339"/>
                    <a:pt x="1563" y="5149"/>
                  </a:cubicBezTo>
                  <a:lnTo>
                    <a:pt x="1563" y="2652"/>
                  </a:lnTo>
                  <a:cubicBezTo>
                    <a:pt x="1563" y="2463"/>
                    <a:pt x="1411" y="2310"/>
                    <a:pt x="1222" y="2310"/>
                  </a:cubicBezTo>
                  <a:close/>
                </a:path>
              </a:pathLst>
            </a:custGeom>
            <a:solidFill>
              <a:schemeClr val="accent1"/>
            </a:solidFill>
            <a:ln w="9525" cap="flat">
              <a:noFill/>
              <a:bevel/>
              <a:headEnd/>
              <a:tailEnd/>
            </a:ln>
            <a:effectLst/>
          </p:spPr>
          <p:txBody>
            <a:bodyPr wrap="none" anchor="ctr"/>
            <a:lstStyle/>
            <a:p>
              <a:endParaRPr lang="en-US"/>
            </a:p>
          </p:txBody>
        </p:sp>
      </p:grpSp>
      <p:pic>
        <p:nvPicPr>
          <p:cNvPr id="13" name="Picture 12">
            <a:extLst>
              <a:ext uri="{FF2B5EF4-FFF2-40B4-BE49-F238E27FC236}">
                <a16:creationId xmlns:a16="http://schemas.microsoft.com/office/drawing/2014/main" id="{722FED9C-0377-BB41-9FB8-9112DCD6A715}"/>
              </a:ext>
            </a:extLst>
          </p:cNvPr>
          <p:cNvPicPr>
            <a:picLocks noChangeAspect="1"/>
          </p:cNvPicPr>
          <p:nvPr/>
        </p:nvPicPr>
        <p:blipFill>
          <a:blip r:embed="rId2"/>
          <a:stretch>
            <a:fillRect/>
          </a:stretch>
        </p:blipFill>
        <p:spPr>
          <a:xfrm>
            <a:off x="530784" y="4481293"/>
            <a:ext cx="1539465" cy="581525"/>
          </a:xfrm>
          <a:prstGeom prst="rect">
            <a:avLst/>
          </a:prstGeom>
        </p:spPr>
      </p:pic>
      <p:sp>
        <p:nvSpPr>
          <p:cNvPr id="21" name="Freeform 6">
            <a:extLst>
              <a:ext uri="{FF2B5EF4-FFF2-40B4-BE49-F238E27FC236}">
                <a16:creationId xmlns:a16="http://schemas.microsoft.com/office/drawing/2014/main" id="{DF575BE2-0666-8F41-BBD6-8122ED4D0C6B}"/>
              </a:ext>
            </a:extLst>
          </p:cNvPr>
          <p:cNvSpPr>
            <a:spLocks noChangeAspect="1" noEditPoints="1"/>
          </p:cNvSpPr>
          <p:nvPr/>
        </p:nvSpPr>
        <p:spPr bwMode="black">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22" name="Group 21">
            <a:extLst>
              <a:ext uri="{FF2B5EF4-FFF2-40B4-BE49-F238E27FC236}">
                <a16:creationId xmlns:a16="http://schemas.microsoft.com/office/drawing/2014/main" id="{4E05924A-6C70-5E4C-9E40-6CB6FF3F1A10}"/>
              </a:ext>
            </a:extLst>
          </p:cNvPr>
          <p:cNvGrpSpPr>
            <a:grpSpLocks noChangeAspect="1"/>
          </p:cNvGrpSpPr>
          <p:nvPr/>
        </p:nvGrpSpPr>
        <p:grpSpPr>
          <a:xfrm>
            <a:off x="6064485" y="532638"/>
            <a:ext cx="3079515" cy="4078224"/>
            <a:chOff x="6265863" y="2170113"/>
            <a:chExt cx="2462212" cy="3260725"/>
          </a:xfrm>
        </p:grpSpPr>
        <p:sp>
          <p:nvSpPr>
            <p:cNvPr id="23" name="Freeform 1">
              <a:extLst>
                <a:ext uri="{FF2B5EF4-FFF2-40B4-BE49-F238E27FC236}">
                  <a16:creationId xmlns:a16="http://schemas.microsoft.com/office/drawing/2014/main" id="{BC932389-C4B7-CA46-A49F-DC04CAC6ECCA}"/>
                </a:ext>
              </a:extLst>
            </p:cNvPr>
            <p:cNvSpPr>
              <a:spLocks noChangeArrowheads="1"/>
            </p:cNvSpPr>
            <p:nvPr/>
          </p:nvSpPr>
          <p:spPr bwMode="auto">
            <a:xfrm>
              <a:off x="6900863" y="2170113"/>
              <a:ext cx="1511300" cy="2430462"/>
            </a:xfrm>
            <a:custGeom>
              <a:avLst/>
              <a:gdLst>
                <a:gd name="T0" fmla="*/ 683 w 4200"/>
                <a:gd name="T1" fmla="*/ 3914 h 6753"/>
                <a:gd name="T2" fmla="*/ 683 w 4200"/>
                <a:gd name="T3" fmla="*/ 6411 h 6753"/>
                <a:gd name="T4" fmla="*/ 341 w 4200"/>
                <a:gd name="T5" fmla="*/ 6752 h 6753"/>
                <a:gd name="T6" fmla="*/ 341 w 4200"/>
                <a:gd name="T7" fmla="*/ 6752 h 6753"/>
                <a:gd name="T8" fmla="*/ 0 w 4200"/>
                <a:gd name="T9" fmla="*/ 6411 h 6753"/>
                <a:gd name="T10" fmla="*/ 0 w 4200"/>
                <a:gd name="T11" fmla="*/ 3914 h 6753"/>
                <a:gd name="T12" fmla="*/ 341 w 4200"/>
                <a:gd name="T13" fmla="*/ 3573 h 6753"/>
                <a:gd name="T14" fmla="*/ 341 w 4200"/>
                <a:gd name="T15" fmla="*/ 3573 h 6753"/>
                <a:gd name="T16" fmla="*/ 683 w 4200"/>
                <a:gd name="T17" fmla="*/ 3914 h 6753"/>
                <a:gd name="T18" fmla="*/ 3855 w 4200"/>
                <a:gd name="T19" fmla="*/ 0 h 6753"/>
                <a:gd name="T20" fmla="*/ 3855 w 4200"/>
                <a:gd name="T21" fmla="*/ 0 h 6753"/>
                <a:gd name="T22" fmla="*/ 3513 w 4200"/>
                <a:gd name="T23" fmla="*/ 342 h 6753"/>
                <a:gd name="T24" fmla="*/ 3513 w 4200"/>
                <a:gd name="T25" fmla="*/ 2839 h 6753"/>
                <a:gd name="T26" fmla="*/ 3855 w 4200"/>
                <a:gd name="T27" fmla="*/ 3181 h 6753"/>
                <a:gd name="T28" fmla="*/ 3855 w 4200"/>
                <a:gd name="T29" fmla="*/ 3181 h 6753"/>
                <a:gd name="T30" fmla="*/ 4196 w 4200"/>
                <a:gd name="T31" fmla="*/ 2839 h 6753"/>
                <a:gd name="T32" fmla="*/ 4196 w 4200"/>
                <a:gd name="T33" fmla="*/ 345 h 6753"/>
                <a:gd name="T34" fmla="*/ 3855 w 4200"/>
                <a:gd name="T35" fmla="*/ 0 h 6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0" h="6753">
                  <a:moveTo>
                    <a:pt x="683" y="3914"/>
                  </a:moveTo>
                  <a:lnTo>
                    <a:pt x="683" y="6411"/>
                  </a:lnTo>
                  <a:cubicBezTo>
                    <a:pt x="683" y="6600"/>
                    <a:pt x="531" y="6752"/>
                    <a:pt x="341" y="6752"/>
                  </a:cubicBezTo>
                  <a:lnTo>
                    <a:pt x="341" y="6752"/>
                  </a:lnTo>
                  <a:cubicBezTo>
                    <a:pt x="152" y="6752"/>
                    <a:pt x="0" y="6600"/>
                    <a:pt x="0" y="6411"/>
                  </a:cubicBezTo>
                  <a:lnTo>
                    <a:pt x="0" y="3914"/>
                  </a:lnTo>
                  <a:cubicBezTo>
                    <a:pt x="0" y="3725"/>
                    <a:pt x="152" y="3573"/>
                    <a:pt x="341" y="3573"/>
                  </a:cubicBezTo>
                  <a:lnTo>
                    <a:pt x="341" y="3573"/>
                  </a:lnTo>
                  <a:cubicBezTo>
                    <a:pt x="528" y="3570"/>
                    <a:pt x="683" y="3723"/>
                    <a:pt x="683" y="3914"/>
                  </a:cubicBezTo>
                  <a:close/>
                  <a:moveTo>
                    <a:pt x="3855" y="0"/>
                  </a:moveTo>
                  <a:lnTo>
                    <a:pt x="3855" y="0"/>
                  </a:lnTo>
                  <a:cubicBezTo>
                    <a:pt x="3666" y="0"/>
                    <a:pt x="3513" y="153"/>
                    <a:pt x="3513" y="342"/>
                  </a:cubicBezTo>
                  <a:lnTo>
                    <a:pt x="3513" y="2839"/>
                  </a:lnTo>
                  <a:cubicBezTo>
                    <a:pt x="3513" y="3028"/>
                    <a:pt x="3666" y="3181"/>
                    <a:pt x="3855" y="3181"/>
                  </a:cubicBezTo>
                  <a:lnTo>
                    <a:pt x="3855" y="3181"/>
                  </a:lnTo>
                  <a:cubicBezTo>
                    <a:pt x="4044" y="3181"/>
                    <a:pt x="4196" y="3028"/>
                    <a:pt x="4196" y="2839"/>
                  </a:cubicBezTo>
                  <a:lnTo>
                    <a:pt x="4196" y="345"/>
                  </a:lnTo>
                  <a:cubicBezTo>
                    <a:pt x="4199" y="155"/>
                    <a:pt x="4044" y="0"/>
                    <a:pt x="3855" y="0"/>
                  </a:cubicBezTo>
                  <a:close/>
                </a:path>
              </a:pathLst>
            </a:custGeom>
            <a:solidFill>
              <a:schemeClr val="accent6"/>
            </a:solidFill>
            <a:ln w="9525" cap="flat">
              <a:noFill/>
              <a:bevel/>
              <a:headEnd/>
              <a:tailEnd/>
            </a:ln>
            <a:effectLst/>
          </p:spPr>
          <p:txBody>
            <a:bodyPr wrap="none" anchor="ctr"/>
            <a:lstStyle/>
            <a:p>
              <a:endParaRPr lang="en-US"/>
            </a:p>
          </p:txBody>
        </p:sp>
        <p:sp>
          <p:nvSpPr>
            <p:cNvPr id="24" name="Freeform 2">
              <a:extLst>
                <a:ext uri="{FF2B5EF4-FFF2-40B4-BE49-F238E27FC236}">
                  <a16:creationId xmlns:a16="http://schemas.microsoft.com/office/drawing/2014/main" id="{17A779A4-34F2-C245-8224-F95C59DC7154}"/>
                </a:ext>
              </a:extLst>
            </p:cNvPr>
            <p:cNvSpPr>
              <a:spLocks noChangeArrowheads="1"/>
            </p:cNvSpPr>
            <p:nvPr/>
          </p:nvSpPr>
          <p:spPr bwMode="auto">
            <a:xfrm>
              <a:off x="7216775" y="2603500"/>
              <a:ext cx="1511300" cy="2430463"/>
            </a:xfrm>
            <a:custGeom>
              <a:avLst/>
              <a:gdLst>
                <a:gd name="T0" fmla="*/ 683 w 4200"/>
                <a:gd name="T1" fmla="*/ 342 h 6751"/>
                <a:gd name="T2" fmla="*/ 683 w 4200"/>
                <a:gd name="T3" fmla="*/ 2839 h 6751"/>
                <a:gd name="T4" fmla="*/ 341 w 4200"/>
                <a:gd name="T5" fmla="*/ 3181 h 6751"/>
                <a:gd name="T6" fmla="*/ 341 w 4200"/>
                <a:gd name="T7" fmla="*/ 3181 h 6751"/>
                <a:gd name="T8" fmla="*/ 0 w 4200"/>
                <a:gd name="T9" fmla="*/ 2839 h 6751"/>
                <a:gd name="T10" fmla="*/ 0 w 4200"/>
                <a:gd name="T11" fmla="*/ 342 h 6751"/>
                <a:gd name="T12" fmla="*/ 341 w 4200"/>
                <a:gd name="T13" fmla="*/ 0 h 6751"/>
                <a:gd name="T14" fmla="*/ 341 w 4200"/>
                <a:gd name="T15" fmla="*/ 0 h 6751"/>
                <a:gd name="T16" fmla="*/ 683 w 4200"/>
                <a:gd name="T17" fmla="*/ 342 h 6751"/>
                <a:gd name="T18" fmla="*/ 1219 w 4200"/>
                <a:gd name="T19" fmla="*/ 2365 h 6751"/>
                <a:gd name="T20" fmla="*/ 1219 w 4200"/>
                <a:gd name="T21" fmla="*/ 2365 h 6751"/>
                <a:gd name="T22" fmla="*/ 877 w 4200"/>
                <a:gd name="T23" fmla="*/ 2707 h 6751"/>
                <a:gd name="T24" fmla="*/ 877 w 4200"/>
                <a:gd name="T25" fmla="*/ 5203 h 6751"/>
                <a:gd name="T26" fmla="*/ 1219 w 4200"/>
                <a:gd name="T27" fmla="*/ 5545 h 6751"/>
                <a:gd name="T28" fmla="*/ 1219 w 4200"/>
                <a:gd name="T29" fmla="*/ 5545 h 6751"/>
                <a:gd name="T30" fmla="*/ 1560 w 4200"/>
                <a:gd name="T31" fmla="*/ 5203 h 6751"/>
                <a:gd name="T32" fmla="*/ 1560 w 4200"/>
                <a:gd name="T33" fmla="*/ 2707 h 6751"/>
                <a:gd name="T34" fmla="*/ 1219 w 4200"/>
                <a:gd name="T35" fmla="*/ 2365 h 6751"/>
                <a:gd name="T36" fmla="*/ 3857 w 4200"/>
                <a:gd name="T37" fmla="*/ 3569 h 6751"/>
                <a:gd name="T38" fmla="*/ 3857 w 4200"/>
                <a:gd name="T39" fmla="*/ 3569 h 6751"/>
                <a:gd name="T40" fmla="*/ 3516 w 4200"/>
                <a:gd name="T41" fmla="*/ 3911 h 6751"/>
                <a:gd name="T42" fmla="*/ 3516 w 4200"/>
                <a:gd name="T43" fmla="*/ 6408 h 6751"/>
                <a:gd name="T44" fmla="*/ 3857 w 4200"/>
                <a:gd name="T45" fmla="*/ 6750 h 6751"/>
                <a:gd name="T46" fmla="*/ 3857 w 4200"/>
                <a:gd name="T47" fmla="*/ 6750 h 6751"/>
                <a:gd name="T48" fmla="*/ 4199 w 4200"/>
                <a:gd name="T49" fmla="*/ 6408 h 6751"/>
                <a:gd name="T50" fmla="*/ 4199 w 4200"/>
                <a:gd name="T51" fmla="*/ 3911 h 6751"/>
                <a:gd name="T52" fmla="*/ 3857 w 4200"/>
                <a:gd name="T53" fmla="*/ 3569 h 6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6751">
                  <a:moveTo>
                    <a:pt x="683" y="342"/>
                  </a:moveTo>
                  <a:lnTo>
                    <a:pt x="683" y="2839"/>
                  </a:lnTo>
                  <a:cubicBezTo>
                    <a:pt x="683" y="3028"/>
                    <a:pt x="530" y="3181"/>
                    <a:pt x="341" y="3181"/>
                  </a:cubicBezTo>
                  <a:lnTo>
                    <a:pt x="341" y="3181"/>
                  </a:lnTo>
                  <a:cubicBezTo>
                    <a:pt x="152" y="3181"/>
                    <a:pt x="0" y="3028"/>
                    <a:pt x="0" y="2839"/>
                  </a:cubicBezTo>
                  <a:lnTo>
                    <a:pt x="0" y="342"/>
                  </a:lnTo>
                  <a:cubicBezTo>
                    <a:pt x="0" y="153"/>
                    <a:pt x="152" y="0"/>
                    <a:pt x="341" y="0"/>
                  </a:cubicBezTo>
                  <a:lnTo>
                    <a:pt x="341" y="0"/>
                  </a:lnTo>
                  <a:cubicBezTo>
                    <a:pt x="530" y="0"/>
                    <a:pt x="683" y="153"/>
                    <a:pt x="683" y="342"/>
                  </a:cubicBezTo>
                  <a:close/>
                  <a:moveTo>
                    <a:pt x="1219" y="2365"/>
                  </a:moveTo>
                  <a:lnTo>
                    <a:pt x="1219" y="2365"/>
                  </a:lnTo>
                  <a:cubicBezTo>
                    <a:pt x="1030" y="2365"/>
                    <a:pt x="877" y="2518"/>
                    <a:pt x="877" y="2707"/>
                  </a:cubicBezTo>
                  <a:lnTo>
                    <a:pt x="877" y="5203"/>
                  </a:lnTo>
                  <a:cubicBezTo>
                    <a:pt x="877" y="5392"/>
                    <a:pt x="1030" y="5545"/>
                    <a:pt x="1219" y="5545"/>
                  </a:cubicBezTo>
                  <a:lnTo>
                    <a:pt x="1219" y="5545"/>
                  </a:lnTo>
                  <a:cubicBezTo>
                    <a:pt x="1408" y="5545"/>
                    <a:pt x="1560" y="5392"/>
                    <a:pt x="1560" y="5203"/>
                  </a:cubicBezTo>
                  <a:lnTo>
                    <a:pt x="1560" y="2707"/>
                  </a:lnTo>
                  <a:cubicBezTo>
                    <a:pt x="1563" y="2518"/>
                    <a:pt x="1408" y="2365"/>
                    <a:pt x="1219" y="2365"/>
                  </a:cubicBezTo>
                  <a:close/>
                  <a:moveTo>
                    <a:pt x="3857" y="3569"/>
                  </a:moveTo>
                  <a:lnTo>
                    <a:pt x="3857" y="3569"/>
                  </a:lnTo>
                  <a:cubicBezTo>
                    <a:pt x="3668" y="3569"/>
                    <a:pt x="3516" y="3722"/>
                    <a:pt x="3516" y="3911"/>
                  </a:cubicBezTo>
                  <a:lnTo>
                    <a:pt x="3516" y="6408"/>
                  </a:lnTo>
                  <a:cubicBezTo>
                    <a:pt x="3516" y="6597"/>
                    <a:pt x="3668" y="6750"/>
                    <a:pt x="3857" y="6750"/>
                  </a:cubicBezTo>
                  <a:lnTo>
                    <a:pt x="3857" y="6750"/>
                  </a:lnTo>
                  <a:cubicBezTo>
                    <a:pt x="4046" y="6750"/>
                    <a:pt x="4199" y="6597"/>
                    <a:pt x="4199" y="6408"/>
                  </a:cubicBezTo>
                  <a:lnTo>
                    <a:pt x="4199" y="3911"/>
                  </a:lnTo>
                  <a:cubicBezTo>
                    <a:pt x="4199" y="3722"/>
                    <a:pt x="4046" y="3569"/>
                    <a:pt x="3857" y="3569"/>
                  </a:cubicBezTo>
                  <a:close/>
                </a:path>
              </a:pathLst>
            </a:custGeom>
            <a:solidFill>
              <a:schemeClr val="accent2"/>
            </a:solidFill>
            <a:ln w="9525" cap="flat">
              <a:noFill/>
              <a:bevel/>
              <a:headEnd/>
              <a:tailEnd/>
            </a:ln>
            <a:effectLst/>
          </p:spPr>
          <p:txBody>
            <a:bodyPr wrap="none" anchor="ctr"/>
            <a:lstStyle/>
            <a:p>
              <a:endParaRPr lang="en-US"/>
            </a:p>
          </p:txBody>
        </p:sp>
        <p:sp>
          <p:nvSpPr>
            <p:cNvPr id="25" name="Freeform 3">
              <a:extLst>
                <a:ext uri="{FF2B5EF4-FFF2-40B4-BE49-F238E27FC236}">
                  <a16:creationId xmlns:a16="http://schemas.microsoft.com/office/drawing/2014/main" id="{85615432-B011-3740-B2B8-ECBAA60928D9}"/>
                </a:ext>
              </a:extLst>
            </p:cNvPr>
            <p:cNvSpPr>
              <a:spLocks noChangeArrowheads="1"/>
            </p:cNvSpPr>
            <p:nvPr/>
          </p:nvSpPr>
          <p:spPr bwMode="auto">
            <a:xfrm>
              <a:off x="6583363" y="3001963"/>
              <a:ext cx="1511300" cy="2032000"/>
            </a:xfrm>
            <a:custGeom>
              <a:avLst/>
              <a:gdLst>
                <a:gd name="T0" fmla="*/ 2441 w 4200"/>
                <a:gd name="T1" fmla="*/ 2804 h 5644"/>
                <a:gd name="T2" fmla="*/ 2441 w 4200"/>
                <a:gd name="T3" fmla="*/ 5301 h 5644"/>
                <a:gd name="T4" fmla="*/ 2099 w 4200"/>
                <a:gd name="T5" fmla="*/ 5643 h 5644"/>
                <a:gd name="T6" fmla="*/ 2099 w 4200"/>
                <a:gd name="T7" fmla="*/ 5643 h 5644"/>
                <a:gd name="T8" fmla="*/ 1758 w 4200"/>
                <a:gd name="T9" fmla="*/ 5301 h 5644"/>
                <a:gd name="T10" fmla="*/ 1758 w 4200"/>
                <a:gd name="T11" fmla="*/ 2804 h 5644"/>
                <a:gd name="T12" fmla="*/ 2099 w 4200"/>
                <a:gd name="T13" fmla="*/ 2462 h 5644"/>
                <a:gd name="T14" fmla="*/ 2099 w 4200"/>
                <a:gd name="T15" fmla="*/ 2462 h 5644"/>
                <a:gd name="T16" fmla="*/ 2441 w 4200"/>
                <a:gd name="T17" fmla="*/ 2804 h 5644"/>
                <a:gd name="T18" fmla="*/ 3857 w 4200"/>
                <a:gd name="T19" fmla="*/ 0 h 5644"/>
                <a:gd name="T20" fmla="*/ 3857 w 4200"/>
                <a:gd name="T21" fmla="*/ 0 h 5644"/>
                <a:gd name="T22" fmla="*/ 3516 w 4200"/>
                <a:gd name="T23" fmla="*/ 341 h 5644"/>
                <a:gd name="T24" fmla="*/ 3516 w 4200"/>
                <a:gd name="T25" fmla="*/ 2838 h 5644"/>
                <a:gd name="T26" fmla="*/ 3857 w 4200"/>
                <a:gd name="T27" fmla="*/ 3179 h 5644"/>
                <a:gd name="T28" fmla="*/ 3857 w 4200"/>
                <a:gd name="T29" fmla="*/ 3179 h 5644"/>
                <a:gd name="T30" fmla="*/ 4199 w 4200"/>
                <a:gd name="T31" fmla="*/ 2838 h 5644"/>
                <a:gd name="T32" fmla="*/ 4199 w 4200"/>
                <a:gd name="T33" fmla="*/ 341 h 5644"/>
                <a:gd name="T34" fmla="*/ 3857 w 4200"/>
                <a:gd name="T35" fmla="*/ 0 h 5644"/>
                <a:gd name="T36" fmla="*/ 341 w 4200"/>
                <a:gd name="T37" fmla="*/ 0 h 5644"/>
                <a:gd name="T38" fmla="*/ 341 w 4200"/>
                <a:gd name="T39" fmla="*/ 0 h 5644"/>
                <a:gd name="T40" fmla="*/ 0 w 4200"/>
                <a:gd name="T41" fmla="*/ 341 h 5644"/>
                <a:gd name="T42" fmla="*/ 0 w 4200"/>
                <a:gd name="T43" fmla="*/ 2838 h 5644"/>
                <a:gd name="T44" fmla="*/ 341 w 4200"/>
                <a:gd name="T45" fmla="*/ 3179 h 5644"/>
                <a:gd name="T46" fmla="*/ 341 w 4200"/>
                <a:gd name="T47" fmla="*/ 3179 h 5644"/>
                <a:gd name="T48" fmla="*/ 682 w 4200"/>
                <a:gd name="T49" fmla="*/ 2838 h 5644"/>
                <a:gd name="T50" fmla="*/ 682 w 4200"/>
                <a:gd name="T51" fmla="*/ 341 h 5644"/>
                <a:gd name="T52" fmla="*/ 341 w 4200"/>
                <a:gd name="T53" fmla="*/ 0 h 5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5644">
                  <a:moveTo>
                    <a:pt x="2441" y="2804"/>
                  </a:moveTo>
                  <a:lnTo>
                    <a:pt x="2441" y="5301"/>
                  </a:lnTo>
                  <a:cubicBezTo>
                    <a:pt x="2441" y="5490"/>
                    <a:pt x="2288" y="5643"/>
                    <a:pt x="2099" y="5643"/>
                  </a:cubicBezTo>
                  <a:lnTo>
                    <a:pt x="2099" y="5643"/>
                  </a:lnTo>
                  <a:cubicBezTo>
                    <a:pt x="1910" y="5643"/>
                    <a:pt x="1758" y="5490"/>
                    <a:pt x="1758" y="5301"/>
                  </a:cubicBezTo>
                  <a:lnTo>
                    <a:pt x="1758" y="2804"/>
                  </a:lnTo>
                  <a:cubicBezTo>
                    <a:pt x="1758" y="2615"/>
                    <a:pt x="1910" y="2462"/>
                    <a:pt x="2099" y="2462"/>
                  </a:cubicBezTo>
                  <a:lnTo>
                    <a:pt x="2099" y="2462"/>
                  </a:lnTo>
                  <a:cubicBezTo>
                    <a:pt x="2288" y="2462"/>
                    <a:pt x="2441" y="2615"/>
                    <a:pt x="2441" y="2804"/>
                  </a:cubicBezTo>
                  <a:close/>
                  <a:moveTo>
                    <a:pt x="3857" y="0"/>
                  </a:moveTo>
                  <a:lnTo>
                    <a:pt x="3857" y="0"/>
                  </a:lnTo>
                  <a:cubicBezTo>
                    <a:pt x="3668" y="0"/>
                    <a:pt x="3516" y="152"/>
                    <a:pt x="3516" y="341"/>
                  </a:cubicBezTo>
                  <a:lnTo>
                    <a:pt x="3516" y="2838"/>
                  </a:lnTo>
                  <a:cubicBezTo>
                    <a:pt x="3516" y="3027"/>
                    <a:pt x="3668" y="3179"/>
                    <a:pt x="3857" y="3179"/>
                  </a:cubicBezTo>
                  <a:lnTo>
                    <a:pt x="3857" y="3179"/>
                  </a:lnTo>
                  <a:cubicBezTo>
                    <a:pt x="4046" y="3179"/>
                    <a:pt x="4199" y="3027"/>
                    <a:pt x="4199" y="2838"/>
                  </a:cubicBezTo>
                  <a:lnTo>
                    <a:pt x="4199" y="341"/>
                  </a:lnTo>
                  <a:cubicBezTo>
                    <a:pt x="4199" y="152"/>
                    <a:pt x="4046" y="0"/>
                    <a:pt x="3857" y="0"/>
                  </a:cubicBezTo>
                  <a:close/>
                  <a:moveTo>
                    <a:pt x="341" y="0"/>
                  </a:moveTo>
                  <a:lnTo>
                    <a:pt x="341" y="0"/>
                  </a:lnTo>
                  <a:cubicBezTo>
                    <a:pt x="152" y="0"/>
                    <a:pt x="0" y="152"/>
                    <a:pt x="0" y="341"/>
                  </a:cubicBezTo>
                  <a:lnTo>
                    <a:pt x="0" y="2838"/>
                  </a:lnTo>
                  <a:cubicBezTo>
                    <a:pt x="0" y="3027"/>
                    <a:pt x="152" y="3179"/>
                    <a:pt x="341" y="3179"/>
                  </a:cubicBezTo>
                  <a:lnTo>
                    <a:pt x="341" y="3179"/>
                  </a:lnTo>
                  <a:cubicBezTo>
                    <a:pt x="530" y="3179"/>
                    <a:pt x="682" y="3027"/>
                    <a:pt x="682" y="2838"/>
                  </a:cubicBezTo>
                  <a:lnTo>
                    <a:pt x="682" y="341"/>
                  </a:lnTo>
                  <a:cubicBezTo>
                    <a:pt x="682" y="152"/>
                    <a:pt x="530" y="0"/>
                    <a:pt x="341" y="0"/>
                  </a:cubicBezTo>
                  <a:close/>
                </a:path>
              </a:pathLst>
            </a:custGeom>
            <a:solidFill>
              <a:schemeClr val="accent5"/>
            </a:solidFill>
            <a:ln w="9525" cap="flat">
              <a:noFill/>
              <a:bevel/>
              <a:headEnd/>
              <a:tailEnd/>
            </a:ln>
            <a:effectLst/>
          </p:spPr>
          <p:txBody>
            <a:bodyPr wrap="none" anchor="ctr"/>
            <a:lstStyle/>
            <a:p>
              <a:endParaRPr lang="en-US"/>
            </a:p>
          </p:txBody>
        </p:sp>
        <p:sp>
          <p:nvSpPr>
            <p:cNvPr id="26" name="Freeform 4">
              <a:extLst>
                <a:ext uri="{FF2B5EF4-FFF2-40B4-BE49-F238E27FC236}">
                  <a16:creationId xmlns:a16="http://schemas.microsoft.com/office/drawing/2014/main" id="{85B08963-C687-EE46-AEE4-C1BA0989AAA8}"/>
                </a:ext>
              </a:extLst>
            </p:cNvPr>
            <p:cNvSpPr>
              <a:spLocks noChangeArrowheads="1"/>
            </p:cNvSpPr>
            <p:nvPr/>
          </p:nvSpPr>
          <p:spPr bwMode="auto">
            <a:xfrm>
              <a:off x="6265863" y="3454400"/>
              <a:ext cx="2146300" cy="1976438"/>
            </a:xfrm>
            <a:custGeom>
              <a:avLst/>
              <a:gdLst>
                <a:gd name="T0" fmla="*/ 5960 w 5961"/>
                <a:gd name="T1" fmla="*/ 344 h 5492"/>
                <a:gd name="T2" fmla="*/ 5960 w 5961"/>
                <a:gd name="T3" fmla="*/ 2841 h 5492"/>
                <a:gd name="T4" fmla="*/ 5619 w 5961"/>
                <a:gd name="T5" fmla="*/ 3182 h 5492"/>
                <a:gd name="T6" fmla="*/ 5619 w 5961"/>
                <a:gd name="T7" fmla="*/ 3182 h 5492"/>
                <a:gd name="T8" fmla="*/ 5277 w 5961"/>
                <a:gd name="T9" fmla="*/ 2841 h 5492"/>
                <a:gd name="T10" fmla="*/ 5277 w 5961"/>
                <a:gd name="T11" fmla="*/ 344 h 5492"/>
                <a:gd name="T12" fmla="*/ 5619 w 5961"/>
                <a:gd name="T13" fmla="*/ 3 h 5492"/>
                <a:gd name="T14" fmla="*/ 5619 w 5961"/>
                <a:gd name="T15" fmla="*/ 3 h 5492"/>
                <a:gd name="T16" fmla="*/ 5960 w 5961"/>
                <a:gd name="T17" fmla="*/ 344 h 5492"/>
                <a:gd name="T18" fmla="*/ 342 w 5961"/>
                <a:gd name="T19" fmla="*/ 0 h 5492"/>
                <a:gd name="T20" fmla="*/ 342 w 5961"/>
                <a:gd name="T21" fmla="*/ 0 h 5492"/>
                <a:gd name="T22" fmla="*/ 0 w 5961"/>
                <a:gd name="T23" fmla="*/ 342 h 5492"/>
                <a:gd name="T24" fmla="*/ 0 w 5961"/>
                <a:gd name="T25" fmla="*/ 2838 h 5492"/>
                <a:gd name="T26" fmla="*/ 342 w 5961"/>
                <a:gd name="T27" fmla="*/ 3180 h 5492"/>
                <a:gd name="T28" fmla="*/ 342 w 5961"/>
                <a:gd name="T29" fmla="*/ 3180 h 5492"/>
                <a:gd name="T30" fmla="*/ 683 w 5961"/>
                <a:gd name="T31" fmla="*/ 2838 h 5492"/>
                <a:gd name="T32" fmla="*/ 683 w 5961"/>
                <a:gd name="T33" fmla="*/ 342 h 5492"/>
                <a:gd name="T34" fmla="*/ 342 w 5961"/>
                <a:gd name="T35" fmla="*/ 0 h 5492"/>
                <a:gd name="T36" fmla="*/ 1222 w 5961"/>
                <a:gd name="T37" fmla="*/ 2310 h 5492"/>
                <a:gd name="T38" fmla="*/ 1222 w 5961"/>
                <a:gd name="T39" fmla="*/ 2310 h 5492"/>
                <a:gd name="T40" fmla="*/ 881 w 5961"/>
                <a:gd name="T41" fmla="*/ 2652 h 5492"/>
                <a:gd name="T42" fmla="*/ 881 w 5961"/>
                <a:gd name="T43" fmla="*/ 5149 h 5492"/>
                <a:gd name="T44" fmla="*/ 1222 w 5961"/>
                <a:gd name="T45" fmla="*/ 5491 h 5492"/>
                <a:gd name="T46" fmla="*/ 1222 w 5961"/>
                <a:gd name="T47" fmla="*/ 5491 h 5492"/>
                <a:gd name="T48" fmla="*/ 1563 w 5961"/>
                <a:gd name="T49" fmla="*/ 5149 h 5492"/>
                <a:gd name="T50" fmla="*/ 1563 w 5961"/>
                <a:gd name="T51" fmla="*/ 2652 h 5492"/>
                <a:gd name="T52" fmla="*/ 1222 w 5961"/>
                <a:gd name="T53" fmla="*/ 2310 h 5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61" h="5492">
                  <a:moveTo>
                    <a:pt x="5960" y="344"/>
                  </a:moveTo>
                  <a:lnTo>
                    <a:pt x="5960" y="2841"/>
                  </a:lnTo>
                  <a:cubicBezTo>
                    <a:pt x="5960" y="3030"/>
                    <a:pt x="5808" y="3182"/>
                    <a:pt x="5619" y="3182"/>
                  </a:cubicBezTo>
                  <a:lnTo>
                    <a:pt x="5619" y="3182"/>
                  </a:lnTo>
                  <a:cubicBezTo>
                    <a:pt x="5430" y="3182"/>
                    <a:pt x="5277" y="3030"/>
                    <a:pt x="5277" y="2841"/>
                  </a:cubicBezTo>
                  <a:lnTo>
                    <a:pt x="5277" y="344"/>
                  </a:lnTo>
                  <a:cubicBezTo>
                    <a:pt x="5277" y="155"/>
                    <a:pt x="5430" y="3"/>
                    <a:pt x="5619" y="3"/>
                  </a:cubicBezTo>
                  <a:lnTo>
                    <a:pt x="5619" y="3"/>
                  </a:lnTo>
                  <a:cubicBezTo>
                    <a:pt x="5805" y="0"/>
                    <a:pt x="5960" y="153"/>
                    <a:pt x="5960" y="344"/>
                  </a:cubicBezTo>
                  <a:close/>
                  <a:moveTo>
                    <a:pt x="342" y="0"/>
                  </a:moveTo>
                  <a:lnTo>
                    <a:pt x="342" y="0"/>
                  </a:lnTo>
                  <a:cubicBezTo>
                    <a:pt x="152" y="0"/>
                    <a:pt x="0" y="153"/>
                    <a:pt x="0" y="342"/>
                  </a:cubicBezTo>
                  <a:lnTo>
                    <a:pt x="0" y="2838"/>
                  </a:lnTo>
                  <a:cubicBezTo>
                    <a:pt x="0" y="3027"/>
                    <a:pt x="152" y="3180"/>
                    <a:pt x="342" y="3180"/>
                  </a:cubicBezTo>
                  <a:lnTo>
                    <a:pt x="342" y="3180"/>
                  </a:lnTo>
                  <a:cubicBezTo>
                    <a:pt x="531" y="3180"/>
                    <a:pt x="683" y="3027"/>
                    <a:pt x="683" y="2838"/>
                  </a:cubicBezTo>
                  <a:lnTo>
                    <a:pt x="683" y="342"/>
                  </a:lnTo>
                  <a:cubicBezTo>
                    <a:pt x="686" y="153"/>
                    <a:pt x="533" y="0"/>
                    <a:pt x="342" y="0"/>
                  </a:cubicBezTo>
                  <a:close/>
                  <a:moveTo>
                    <a:pt x="1222" y="2310"/>
                  </a:moveTo>
                  <a:lnTo>
                    <a:pt x="1222" y="2310"/>
                  </a:lnTo>
                  <a:cubicBezTo>
                    <a:pt x="1033" y="2310"/>
                    <a:pt x="881" y="2463"/>
                    <a:pt x="881" y="2652"/>
                  </a:cubicBezTo>
                  <a:lnTo>
                    <a:pt x="881" y="5149"/>
                  </a:lnTo>
                  <a:cubicBezTo>
                    <a:pt x="881" y="5339"/>
                    <a:pt x="1033" y="5491"/>
                    <a:pt x="1222" y="5491"/>
                  </a:cubicBezTo>
                  <a:lnTo>
                    <a:pt x="1222" y="5491"/>
                  </a:lnTo>
                  <a:cubicBezTo>
                    <a:pt x="1411" y="5491"/>
                    <a:pt x="1563" y="5339"/>
                    <a:pt x="1563" y="5149"/>
                  </a:cubicBezTo>
                  <a:lnTo>
                    <a:pt x="1563" y="2652"/>
                  </a:lnTo>
                  <a:cubicBezTo>
                    <a:pt x="1563" y="2463"/>
                    <a:pt x="1411" y="2310"/>
                    <a:pt x="1222" y="2310"/>
                  </a:cubicBezTo>
                  <a:close/>
                </a:path>
              </a:pathLst>
            </a:custGeom>
            <a:solidFill>
              <a:schemeClr val="accent1"/>
            </a:solidFill>
            <a:ln w="9525" cap="flat">
              <a:noFill/>
              <a:bevel/>
              <a:headEnd/>
              <a:tailEnd/>
            </a:ln>
            <a:effectLst/>
          </p:spPr>
          <p:txBody>
            <a:bodyPr wrap="none" anchor="ctr"/>
            <a:lstStyle/>
            <a:p>
              <a:endParaRPr lang="en-US"/>
            </a:p>
          </p:txBody>
        </p:sp>
      </p:grpSp>
      <p:pic>
        <p:nvPicPr>
          <p:cNvPr id="27" name="Picture 26">
            <a:extLst>
              <a:ext uri="{FF2B5EF4-FFF2-40B4-BE49-F238E27FC236}">
                <a16:creationId xmlns:a16="http://schemas.microsoft.com/office/drawing/2014/main" id="{E4E6D004-A302-DE43-AC92-DEF571946BE0}"/>
              </a:ext>
            </a:extLst>
          </p:cNvPr>
          <p:cNvPicPr>
            <a:picLocks noChangeAspect="1"/>
          </p:cNvPicPr>
          <p:nvPr/>
        </p:nvPicPr>
        <p:blipFill>
          <a:blip r:embed="rId2"/>
          <a:stretch>
            <a:fillRect/>
          </a:stretch>
        </p:blipFill>
        <p:spPr>
          <a:xfrm>
            <a:off x="530784" y="4481293"/>
            <a:ext cx="1539465" cy="581525"/>
          </a:xfrm>
          <a:prstGeom prst="rect">
            <a:avLst/>
          </a:prstGeom>
        </p:spPr>
      </p:pic>
    </p:spTree>
    <p:extLst>
      <p:ext uri="{BB962C8B-B14F-4D97-AF65-F5344CB8AC3E}">
        <p14:creationId xmlns:p14="http://schemas.microsoft.com/office/powerpoint/2010/main" val="61724363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00263A"/>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46360" y="3221292"/>
            <a:ext cx="5394960" cy="594360"/>
          </a:xfrm>
          <a:prstGeom prst="rect">
            <a:avLst/>
          </a:prstGeom>
        </p:spPr>
        <p:txBody>
          <a:bodyPr lIns="91420" tIns="45710" rIns="91420" bIns="45710" anchor="b" anchorCtr="0">
            <a:noAutofit/>
          </a:bodyPr>
          <a:lstStyle>
            <a:lvl1pPr marL="0" indent="0" algn="l">
              <a:spcBef>
                <a:spcPts val="0"/>
              </a:spcBef>
              <a:buNone/>
              <a:defRPr sz="1600" b="0" i="0">
                <a:solidFill>
                  <a:schemeClr val="bg2"/>
                </a:solidFill>
                <a:latin typeface="CiscoSansTT Light" panose="020B0503020201020303" pitchFamily="34" charset="0"/>
                <a:cs typeface="CiscoSansTT Light" panose="020B0503020201020303" pitchFamily="34" charset="0"/>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Presenter Name and Title</a:t>
            </a:r>
            <a:br>
              <a:rPr lang="en-US"/>
            </a:br>
            <a:r>
              <a:rPr lang="en-US"/>
              <a:t>Twitter Handle</a:t>
            </a:r>
          </a:p>
        </p:txBody>
      </p:sp>
      <p:sp>
        <p:nvSpPr>
          <p:cNvPr id="17" name="Text Placeholder 38"/>
          <p:cNvSpPr>
            <a:spLocks noGrp="1"/>
          </p:cNvSpPr>
          <p:nvPr>
            <p:ph type="body" sz="quarter" idx="11" hasCustomPrompt="1"/>
          </p:nvPr>
        </p:nvSpPr>
        <p:spPr>
          <a:xfrm>
            <a:off x="438844" y="3962427"/>
            <a:ext cx="2684400" cy="288131"/>
          </a:xfrm>
          <a:prstGeom prst="rect">
            <a:avLst/>
          </a:prstGeom>
        </p:spPr>
        <p:txBody>
          <a:bodyPr lIns="91420" tIns="45710" rIns="91420" bIns="45710"/>
          <a:lstStyle>
            <a:lvl1pPr marL="0" indent="0" algn="l" defTabSz="684213" rtl="0" eaLnBrk="1" fontAlgn="base" hangingPunct="1">
              <a:lnSpc>
                <a:spcPct val="95000"/>
              </a:lnSpc>
              <a:spcBef>
                <a:spcPts val="1075"/>
              </a:spcBef>
              <a:spcAft>
                <a:spcPct val="0"/>
              </a:spcAft>
              <a:buClr>
                <a:schemeClr val="tx2"/>
              </a:buClr>
              <a:buSzPct val="90000"/>
              <a:buFontTx/>
              <a:buNone/>
              <a:defRPr lang="en-US" sz="1400" b="0" i="0" kern="1200" dirty="0">
                <a:solidFill>
                  <a:srgbClr val="00A7E1"/>
                </a:solidFill>
                <a:latin typeface="CiscoSansTT Light" panose="020B0503020201020303" pitchFamily="34" charset="0"/>
                <a:ea typeface="+mn-ea"/>
                <a:cs typeface="CiscoSansTT Light" panose="020B0503020201020303"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r>
              <a:rPr lang="en-US" sz="1400"/>
              <a:t>Session ID</a:t>
            </a:r>
          </a:p>
        </p:txBody>
      </p:sp>
      <p:sp>
        <p:nvSpPr>
          <p:cNvPr id="19" name="Text Placeholder 2"/>
          <p:cNvSpPr>
            <a:spLocks noGrp="1"/>
          </p:cNvSpPr>
          <p:nvPr>
            <p:ph type="body" sz="quarter" idx="13" hasCustomPrompt="1"/>
          </p:nvPr>
        </p:nvSpPr>
        <p:spPr>
          <a:xfrm>
            <a:off x="446359" y="2622489"/>
            <a:ext cx="5394960" cy="411480"/>
          </a:xfrm>
          <a:prstGeom prst="rect">
            <a:avLst/>
          </a:prstGeom>
        </p:spPr>
        <p:txBody>
          <a:bodyPr lIns="91420" tIns="45710" rIns="91420" bIns="45710"/>
          <a:lstStyle>
            <a:lvl1pPr marL="0" indent="0">
              <a:spcBef>
                <a:spcPts val="0"/>
              </a:spcBef>
              <a:buFont typeface="Arial" panose="020B0604020202020204" pitchFamily="34" charset="0"/>
              <a:buNone/>
              <a:defRPr lang="en-GB" sz="2000" b="0" i="0" kern="1200" baseline="0" dirty="0">
                <a:solidFill>
                  <a:schemeClr val="accent1"/>
                </a:solidFill>
                <a:latin typeface="CiscoSansTT Light" panose="020B0503020201020303" pitchFamily="34" charset="0"/>
                <a:ea typeface="ＭＳ Ｐゴシック" charset="0"/>
                <a:cs typeface="CiscoSansTT Light" panose="020B0503020201020303"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4" y="1927020"/>
            <a:ext cx="5394960" cy="644730"/>
          </a:xfrm>
          <a:prstGeom prst="rect">
            <a:avLst/>
          </a:prstGeom>
        </p:spPr>
        <p:txBody>
          <a:bodyPr anchor="b"/>
          <a:lstStyle>
            <a:lvl1pPr marL="0" indent="0" algn="l">
              <a:lnSpc>
                <a:spcPct val="90000"/>
              </a:lnSpc>
              <a:buFont typeface="Arial" panose="020B0604020202020204" pitchFamily="34" charset="0"/>
              <a:buNone/>
              <a:defRPr lang="en-US" sz="3200" b="0" i="0" u="none" kern="1200" spc="0" baseline="0" dirty="0">
                <a:solidFill>
                  <a:schemeClr val="accent1"/>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Presentation Title</a:t>
            </a:r>
            <a:endParaRPr lang="en-US"/>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p:nvSpPr>
        <p:spPr bwMode="black">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11" name="Group 10">
            <a:extLst>
              <a:ext uri="{FF2B5EF4-FFF2-40B4-BE49-F238E27FC236}">
                <a16:creationId xmlns:a16="http://schemas.microsoft.com/office/drawing/2014/main" id="{6AA70FF9-D8C6-43C0-8330-592665880E6D}"/>
              </a:ext>
            </a:extLst>
          </p:cNvPr>
          <p:cNvGrpSpPr>
            <a:grpSpLocks noChangeAspect="1"/>
          </p:cNvGrpSpPr>
          <p:nvPr/>
        </p:nvGrpSpPr>
        <p:grpSpPr>
          <a:xfrm>
            <a:off x="6064485" y="532638"/>
            <a:ext cx="3079515" cy="4078224"/>
            <a:chOff x="6265863" y="2170113"/>
            <a:chExt cx="2462212" cy="3260725"/>
          </a:xfrm>
        </p:grpSpPr>
        <p:sp>
          <p:nvSpPr>
            <p:cNvPr id="12" name="Freeform 1">
              <a:extLst>
                <a:ext uri="{FF2B5EF4-FFF2-40B4-BE49-F238E27FC236}">
                  <a16:creationId xmlns:a16="http://schemas.microsoft.com/office/drawing/2014/main" id="{E1458A64-169C-404E-98E1-DBE7C11C7DA1}"/>
                </a:ext>
              </a:extLst>
            </p:cNvPr>
            <p:cNvSpPr>
              <a:spLocks noChangeArrowheads="1"/>
            </p:cNvSpPr>
            <p:nvPr/>
          </p:nvSpPr>
          <p:spPr bwMode="auto">
            <a:xfrm>
              <a:off x="6900863" y="2170113"/>
              <a:ext cx="1511300" cy="2430462"/>
            </a:xfrm>
            <a:custGeom>
              <a:avLst/>
              <a:gdLst>
                <a:gd name="T0" fmla="*/ 683 w 4200"/>
                <a:gd name="T1" fmla="*/ 3914 h 6753"/>
                <a:gd name="T2" fmla="*/ 683 w 4200"/>
                <a:gd name="T3" fmla="*/ 6411 h 6753"/>
                <a:gd name="T4" fmla="*/ 341 w 4200"/>
                <a:gd name="T5" fmla="*/ 6752 h 6753"/>
                <a:gd name="T6" fmla="*/ 341 w 4200"/>
                <a:gd name="T7" fmla="*/ 6752 h 6753"/>
                <a:gd name="T8" fmla="*/ 0 w 4200"/>
                <a:gd name="T9" fmla="*/ 6411 h 6753"/>
                <a:gd name="T10" fmla="*/ 0 w 4200"/>
                <a:gd name="T11" fmla="*/ 3914 h 6753"/>
                <a:gd name="T12" fmla="*/ 341 w 4200"/>
                <a:gd name="T13" fmla="*/ 3573 h 6753"/>
                <a:gd name="T14" fmla="*/ 341 w 4200"/>
                <a:gd name="T15" fmla="*/ 3573 h 6753"/>
                <a:gd name="T16" fmla="*/ 683 w 4200"/>
                <a:gd name="T17" fmla="*/ 3914 h 6753"/>
                <a:gd name="T18" fmla="*/ 3855 w 4200"/>
                <a:gd name="T19" fmla="*/ 0 h 6753"/>
                <a:gd name="T20" fmla="*/ 3855 w 4200"/>
                <a:gd name="T21" fmla="*/ 0 h 6753"/>
                <a:gd name="T22" fmla="*/ 3513 w 4200"/>
                <a:gd name="T23" fmla="*/ 342 h 6753"/>
                <a:gd name="T24" fmla="*/ 3513 w 4200"/>
                <a:gd name="T25" fmla="*/ 2839 h 6753"/>
                <a:gd name="T26" fmla="*/ 3855 w 4200"/>
                <a:gd name="T27" fmla="*/ 3181 h 6753"/>
                <a:gd name="T28" fmla="*/ 3855 w 4200"/>
                <a:gd name="T29" fmla="*/ 3181 h 6753"/>
                <a:gd name="T30" fmla="*/ 4196 w 4200"/>
                <a:gd name="T31" fmla="*/ 2839 h 6753"/>
                <a:gd name="T32" fmla="*/ 4196 w 4200"/>
                <a:gd name="T33" fmla="*/ 345 h 6753"/>
                <a:gd name="T34" fmla="*/ 3855 w 4200"/>
                <a:gd name="T35" fmla="*/ 0 h 6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0" h="6753">
                  <a:moveTo>
                    <a:pt x="683" y="3914"/>
                  </a:moveTo>
                  <a:lnTo>
                    <a:pt x="683" y="6411"/>
                  </a:lnTo>
                  <a:cubicBezTo>
                    <a:pt x="683" y="6600"/>
                    <a:pt x="531" y="6752"/>
                    <a:pt x="341" y="6752"/>
                  </a:cubicBezTo>
                  <a:lnTo>
                    <a:pt x="341" y="6752"/>
                  </a:lnTo>
                  <a:cubicBezTo>
                    <a:pt x="152" y="6752"/>
                    <a:pt x="0" y="6600"/>
                    <a:pt x="0" y="6411"/>
                  </a:cubicBezTo>
                  <a:lnTo>
                    <a:pt x="0" y="3914"/>
                  </a:lnTo>
                  <a:cubicBezTo>
                    <a:pt x="0" y="3725"/>
                    <a:pt x="152" y="3573"/>
                    <a:pt x="341" y="3573"/>
                  </a:cubicBezTo>
                  <a:lnTo>
                    <a:pt x="341" y="3573"/>
                  </a:lnTo>
                  <a:cubicBezTo>
                    <a:pt x="528" y="3570"/>
                    <a:pt x="683" y="3723"/>
                    <a:pt x="683" y="3914"/>
                  </a:cubicBezTo>
                  <a:close/>
                  <a:moveTo>
                    <a:pt x="3855" y="0"/>
                  </a:moveTo>
                  <a:lnTo>
                    <a:pt x="3855" y="0"/>
                  </a:lnTo>
                  <a:cubicBezTo>
                    <a:pt x="3666" y="0"/>
                    <a:pt x="3513" y="153"/>
                    <a:pt x="3513" y="342"/>
                  </a:cubicBezTo>
                  <a:lnTo>
                    <a:pt x="3513" y="2839"/>
                  </a:lnTo>
                  <a:cubicBezTo>
                    <a:pt x="3513" y="3028"/>
                    <a:pt x="3666" y="3181"/>
                    <a:pt x="3855" y="3181"/>
                  </a:cubicBezTo>
                  <a:lnTo>
                    <a:pt x="3855" y="3181"/>
                  </a:lnTo>
                  <a:cubicBezTo>
                    <a:pt x="4044" y="3181"/>
                    <a:pt x="4196" y="3028"/>
                    <a:pt x="4196" y="2839"/>
                  </a:cubicBezTo>
                  <a:lnTo>
                    <a:pt x="4196" y="345"/>
                  </a:lnTo>
                  <a:cubicBezTo>
                    <a:pt x="4199" y="155"/>
                    <a:pt x="4044" y="0"/>
                    <a:pt x="3855" y="0"/>
                  </a:cubicBezTo>
                  <a:close/>
                </a:path>
              </a:pathLst>
            </a:custGeom>
            <a:solidFill>
              <a:schemeClr val="accent6"/>
            </a:solidFill>
            <a:ln w="9525" cap="flat">
              <a:noFill/>
              <a:bevel/>
              <a:headEnd/>
              <a:tailEnd/>
            </a:ln>
            <a:effectLst/>
          </p:spPr>
          <p:txBody>
            <a:bodyPr wrap="none" anchor="ctr"/>
            <a:lstStyle/>
            <a:p>
              <a:endParaRPr lang="en-US"/>
            </a:p>
          </p:txBody>
        </p:sp>
        <p:sp>
          <p:nvSpPr>
            <p:cNvPr id="14" name="Freeform 2">
              <a:extLst>
                <a:ext uri="{FF2B5EF4-FFF2-40B4-BE49-F238E27FC236}">
                  <a16:creationId xmlns:a16="http://schemas.microsoft.com/office/drawing/2014/main" id="{16CF2C10-62BB-4A2B-9B36-9949BC53B8B2}"/>
                </a:ext>
              </a:extLst>
            </p:cNvPr>
            <p:cNvSpPr>
              <a:spLocks noChangeArrowheads="1"/>
            </p:cNvSpPr>
            <p:nvPr/>
          </p:nvSpPr>
          <p:spPr bwMode="auto">
            <a:xfrm>
              <a:off x="7216775" y="2603500"/>
              <a:ext cx="1511300" cy="2430463"/>
            </a:xfrm>
            <a:custGeom>
              <a:avLst/>
              <a:gdLst>
                <a:gd name="T0" fmla="*/ 683 w 4200"/>
                <a:gd name="T1" fmla="*/ 342 h 6751"/>
                <a:gd name="T2" fmla="*/ 683 w 4200"/>
                <a:gd name="T3" fmla="*/ 2839 h 6751"/>
                <a:gd name="T4" fmla="*/ 341 w 4200"/>
                <a:gd name="T5" fmla="*/ 3181 h 6751"/>
                <a:gd name="T6" fmla="*/ 341 w 4200"/>
                <a:gd name="T7" fmla="*/ 3181 h 6751"/>
                <a:gd name="T8" fmla="*/ 0 w 4200"/>
                <a:gd name="T9" fmla="*/ 2839 h 6751"/>
                <a:gd name="T10" fmla="*/ 0 w 4200"/>
                <a:gd name="T11" fmla="*/ 342 h 6751"/>
                <a:gd name="T12" fmla="*/ 341 w 4200"/>
                <a:gd name="T13" fmla="*/ 0 h 6751"/>
                <a:gd name="T14" fmla="*/ 341 w 4200"/>
                <a:gd name="T15" fmla="*/ 0 h 6751"/>
                <a:gd name="T16" fmla="*/ 683 w 4200"/>
                <a:gd name="T17" fmla="*/ 342 h 6751"/>
                <a:gd name="T18" fmla="*/ 1219 w 4200"/>
                <a:gd name="T19" fmla="*/ 2365 h 6751"/>
                <a:gd name="T20" fmla="*/ 1219 w 4200"/>
                <a:gd name="T21" fmla="*/ 2365 h 6751"/>
                <a:gd name="T22" fmla="*/ 877 w 4200"/>
                <a:gd name="T23" fmla="*/ 2707 h 6751"/>
                <a:gd name="T24" fmla="*/ 877 w 4200"/>
                <a:gd name="T25" fmla="*/ 5203 h 6751"/>
                <a:gd name="T26" fmla="*/ 1219 w 4200"/>
                <a:gd name="T27" fmla="*/ 5545 h 6751"/>
                <a:gd name="T28" fmla="*/ 1219 w 4200"/>
                <a:gd name="T29" fmla="*/ 5545 h 6751"/>
                <a:gd name="T30" fmla="*/ 1560 w 4200"/>
                <a:gd name="T31" fmla="*/ 5203 h 6751"/>
                <a:gd name="T32" fmla="*/ 1560 w 4200"/>
                <a:gd name="T33" fmla="*/ 2707 h 6751"/>
                <a:gd name="T34" fmla="*/ 1219 w 4200"/>
                <a:gd name="T35" fmla="*/ 2365 h 6751"/>
                <a:gd name="T36" fmla="*/ 3857 w 4200"/>
                <a:gd name="T37" fmla="*/ 3569 h 6751"/>
                <a:gd name="T38" fmla="*/ 3857 w 4200"/>
                <a:gd name="T39" fmla="*/ 3569 h 6751"/>
                <a:gd name="T40" fmla="*/ 3516 w 4200"/>
                <a:gd name="T41" fmla="*/ 3911 h 6751"/>
                <a:gd name="T42" fmla="*/ 3516 w 4200"/>
                <a:gd name="T43" fmla="*/ 6408 h 6751"/>
                <a:gd name="T44" fmla="*/ 3857 w 4200"/>
                <a:gd name="T45" fmla="*/ 6750 h 6751"/>
                <a:gd name="T46" fmla="*/ 3857 w 4200"/>
                <a:gd name="T47" fmla="*/ 6750 h 6751"/>
                <a:gd name="T48" fmla="*/ 4199 w 4200"/>
                <a:gd name="T49" fmla="*/ 6408 h 6751"/>
                <a:gd name="T50" fmla="*/ 4199 w 4200"/>
                <a:gd name="T51" fmla="*/ 3911 h 6751"/>
                <a:gd name="T52" fmla="*/ 3857 w 4200"/>
                <a:gd name="T53" fmla="*/ 3569 h 6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6751">
                  <a:moveTo>
                    <a:pt x="683" y="342"/>
                  </a:moveTo>
                  <a:lnTo>
                    <a:pt x="683" y="2839"/>
                  </a:lnTo>
                  <a:cubicBezTo>
                    <a:pt x="683" y="3028"/>
                    <a:pt x="530" y="3181"/>
                    <a:pt x="341" y="3181"/>
                  </a:cubicBezTo>
                  <a:lnTo>
                    <a:pt x="341" y="3181"/>
                  </a:lnTo>
                  <a:cubicBezTo>
                    <a:pt x="152" y="3181"/>
                    <a:pt x="0" y="3028"/>
                    <a:pt x="0" y="2839"/>
                  </a:cubicBezTo>
                  <a:lnTo>
                    <a:pt x="0" y="342"/>
                  </a:lnTo>
                  <a:cubicBezTo>
                    <a:pt x="0" y="153"/>
                    <a:pt x="152" y="0"/>
                    <a:pt x="341" y="0"/>
                  </a:cubicBezTo>
                  <a:lnTo>
                    <a:pt x="341" y="0"/>
                  </a:lnTo>
                  <a:cubicBezTo>
                    <a:pt x="530" y="0"/>
                    <a:pt x="683" y="153"/>
                    <a:pt x="683" y="342"/>
                  </a:cubicBezTo>
                  <a:close/>
                  <a:moveTo>
                    <a:pt x="1219" y="2365"/>
                  </a:moveTo>
                  <a:lnTo>
                    <a:pt x="1219" y="2365"/>
                  </a:lnTo>
                  <a:cubicBezTo>
                    <a:pt x="1030" y="2365"/>
                    <a:pt x="877" y="2518"/>
                    <a:pt x="877" y="2707"/>
                  </a:cubicBezTo>
                  <a:lnTo>
                    <a:pt x="877" y="5203"/>
                  </a:lnTo>
                  <a:cubicBezTo>
                    <a:pt x="877" y="5392"/>
                    <a:pt x="1030" y="5545"/>
                    <a:pt x="1219" y="5545"/>
                  </a:cubicBezTo>
                  <a:lnTo>
                    <a:pt x="1219" y="5545"/>
                  </a:lnTo>
                  <a:cubicBezTo>
                    <a:pt x="1408" y="5545"/>
                    <a:pt x="1560" y="5392"/>
                    <a:pt x="1560" y="5203"/>
                  </a:cubicBezTo>
                  <a:lnTo>
                    <a:pt x="1560" y="2707"/>
                  </a:lnTo>
                  <a:cubicBezTo>
                    <a:pt x="1563" y="2518"/>
                    <a:pt x="1408" y="2365"/>
                    <a:pt x="1219" y="2365"/>
                  </a:cubicBezTo>
                  <a:close/>
                  <a:moveTo>
                    <a:pt x="3857" y="3569"/>
                  </a:moveTo>
                  <a:lnTo>
                    <a:pt x="3857" y="3569"/>
                  </a:lnTo>
                  <a:cubicBezTo>
                    <a:pt x="3668" y="3569"/>
                    <a:pt x="3516" y="3722"/>
                    <a:pt x="3516" y="3911"/>
                  </a:cubicBezTo>
                  <a:lnTo>
                    <a:pt x="3516" y="6408"/>
                  </a:lnTo>
                  <a:cubicBezTo>
                    <a:pt x="3516" y="6597"/>
                    <a:pt x="3668" y="6750"/>
                    <a:pt x="3857" y="6750"/>
                  </a:cubicBezTo>
                  <a:lnTo>
                    <a:pt x="3857" y="6750"/>
                  </a:lnTo>
                  <a:cubicBezTo>
                    <a:pt x="4046" y="6750"/>
                    <a:pt x="4199" y="6597"/>
                    <a:pt x="4199" y="6408"/>
                  </a:cubicBezTo>
                  <a:lnTo>
                    <a:pt x="4199" y="3911"/>
                  </a:lnTo>
                  <a:cubicBezTo>
                    <a:pt x="4199" y="3722"/>
                    <a:pt x="4046" y="3569"/>
                    <a:pt x="3857" y="3569"/>
                  </a:cubicBezTo>
                  <a:close/>
                </a:path>
              </a:pathLst>
            </a:custGeom>
            <a:solidFill>
              <a:schemeClr val="accent2"/>
            </a:solidFill>
            <a:ln w="9525" cap="flat">
              <a:noFill/>
              <a:bevel/>
              <a:headEnd/>
              <a:tailEnd/>
            </a:ln>
            <a:effectLst/>
          </p:spPr>
          <p:txBody>
            <a:bodyPr wrap="none" anchor="ctr"/>
            <a:lstStyle/>
            <a:p>
              <a:endParaRPr lang="en-US"/>
            </a:p>
          </p:txBody>
        </p:sp>
        <p:sp>
          <p:nvSpPr>
            <p:cNvPr id="15" name="Freeform 3">
              <a:extLst>
                <a:ext uri="{FF2B5EF4-FFF2-40B4-BE49-F238E27FC236}">
                  <a16:creationId xmlns:a16="http://schemas.microsoft.com/office/drawing/2014/main" id="{C3457D7A-175B-4E70-88E4-F8839AA9613D}"/>
                </a:ext>
              </a:extLst>
            </p:cNvPr>
            <p:cNvSpPr>
              <a:spLocks noChangeArrowheads="1"/>
            </p:cNvSpPr>
            <p:nvPr/>
          </p:nvSpPr>
          <p:spPr bwMode="auto">
            <a:xfrm>
              <a:off x="6583363" y="3001963"/>
              <a:ext cx="1511300" cy="2032000"/>
            </a:xfrm>
            <a:custGeom>
              <a:avLst/>
              <a:gdLst>
                <a:gd name="T0" fmla="*/ 2441 w 4200"/>
                <a:gd name="T1" fmla="*/ 2804 h 5644"/>
                <a:gd name="T2" fmla="*/ 2441 w 4200"/>
                <a:gd name="T3" fmla="*/ 5301 h 5644"/>
                <a:gd name="T4" fmla="*/ 2099 w 4200"/>
                <a:gd name="T5" fmla="*/ 5643 h 5644"/>
                <a:gd name="T6" fmla="*/ 2099 w 4200"/>
                <a:gd name="T7" fmla="*/ 5643 h 5644"/>
                <a:gd name="T8" fmla="*/ 1758 w 4200"/>
                <a:gd name="T9" fmla="*/ 5301 h 5644"/>
                <a:gd name="T10" fmla="*/ 1758 w 4200"/>
                <a:gd name="T11" fmla="*/ 2804 h 5644"/>
                <a:gd name="T12" fmla="*/ 2099 w 4200"/>
                <a:gd name="T13" fmla="*/ 2462 h 5644"/>
                <a:gd name="T14" fmla="*/ 2099 w 4200"/>
                <a:gd name="T15" fmla="*/ 2462 h 5644"/>
                <a:gd name="T16" fmla="*/ 2441 w 4200"/>
                <a:gd name="T17" fmla="*/ 2804 h 5644"/>
                <a:gd name="T18" fmla="*/ 3857 w 4200"/>
                <a:gd name="T19" fmla="*/ 0 h 5644"/>
                <a:gd name="T20" fmla="*/ 3857 w 4200"/>
                <a:gd name="T21" fmla="*/ 0 h 5644"/>
                <a:gd name="T22" fmla="*/ 3516 w 4200"/>
                <a:gd name="T23" fmla="*/ 341 h 5644"/>
                <a:gd name="T24" fmla="*/ 3516 w 4200"/>
                <a:gd name="T25" fmla="*/ 2838 h 5644"/>
                <a:gd name="T26" fmla="*/ 3857 w 4200"/>
                <a:gd name="T27" fmla="*/ 3179 h 5644"/>
                <a:gd name="T28" fmla="*/ 3857 w 4200"/>
                <a:gd name="T29" fmla="*/ 3179 h 5644"/>
                <a:gd name="T30" fmla="*/ 4199 w 4200"/>
                <a:gd name="T31" fmla="*/ 2838 h 5644"/>
                <a:gd name="T32" fmla="*/ 4199 w 4200"/>
                <a:gd name="T33" fmla="*/ 341 h 5644"/>
                <a:gd name="T34" fmla="*/ 3857 w 4200"/>
                <a:gd name="T35" fmla="*/ 0 h 5644"/>
                <a:gd name="T36" fmla="*/ 341 w 4200"/>
                <a:gd name="T37" fmla="*/ 0 h 5644"/>
                <a:gd name="T38" fmla="*/ 341 w 4200"/>
                <a:gd name="T39" fmla="*/ 0 h 5644"/>
                <a:gd name="T40" fmla="*/ 0 w 4200"/>
                <a:gd name="T41" fmla="*/ 341 h 5644"/>
                <a:gd name="T42" fmla="*/ 0 w 4200"/>
                <a:gd name="T43" fmla="*/ 2838 h 5644"/>
                <a:gd name="T44" fmla="*/ 341 w 4200"/>
                <a:gd name="T45" fmla="*/ 3179 h 5644"/>
                <a:gd name="T46" fmla="*/ 341 w 4200"/>
                <a:gd name="T47" fmla="*/ 3179 h 5644"/>
                <a:gd name="T48" fmla="*/ 682 w 4200"/>
                <a:gd name="T49" fmla="*/ 2838 h 5644"/>
                <a:gd name="T50" fmla="*/ 682 w 4200"/>
                <a:gd name="T51" fmla="*/ 341 h 5644"/>
                <a:gd name="T52" fmla="*/ 341 w 4200"/>
                <a:gd name="T53" fmla="*/ 0 h 5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5644">
                  <a:moveTo>
                    <a:pt x="2441" y="2804"/>
                  </a:moveTo>
                  <a:lnTo>
                    <a:pt x="2441" y="5301"/>
                  </a:lnTo>
                  <a:cubicBezTo>
                    <a:pt x="2441" y="5490"/>
                    <a:pt x="2288" y="5643"/>
                    <a:pt x="2099" y="5643"/>
                  </a:cubicBezTo>
                  <a:lnTo>
                    <a:pt x="2099" y="5643"/>
                  </a:lnTo>
                  <a:cubicBezTo>
                    <a:pt x="1910" y="5643"/>
                    <a:pt x="1758" y="5490"/>
                    <a:pt x="1758" y="5301"/>
                  </a:cubicBezTo>
                  <a:lnTo>
                    <a:pt x="1758" y="2804"/>
                  </a:lnTo>
                  <a:cubicBezTo>
                    <a:pt x="1758" y="2615"/>
                    <a:pt x="1910" y="2462"/>
                    <a:pt x="2099" y="2462"/>
                  </a:cubicBezTo>
                  <a:lnTo>
                    <a:pt x="2099" y="2462"/>
                  </a:lnTo>
                  <a:cubicBezTo>
                    <a:pt x="2288" y="2462"/>
                    <a:pt x="2441" y="2615"/>
                    <a:pt x="2441" y="2804"/>
                  </a:cubicBezTo>
                  <a:close/>
                  <a:moveTo>
                    <a:pt x="3857" y="0"/>
                  </a:moveTo>
                  <a:lnTo>
                    <a:pt x="3857" y="0"/>
                  </a:lnTo>
                  <a:cubicBezTo>
                    <a:pt x="3668" y="0"/>
                    <a:pt x="3516" y="152"/>
                    <a:pt x="3516" y="341"/>
                  </a:cubicBezTo>
                  <a:lnTo>
                    <a:pt x="3516" y="2838"/>
                  </a:lnTo>
                  <a:cubicBezTo>
                    <a:pt x="3516" y="3027"/>
                    <a:pt x="3668" y="3179"/>
                    <a:pt x="3857" y="3179"/>
                  </a:cubicBezTo>
                  <a:lnTo>
                    <a:pt x="3857" y="3179"/>
                  </a:lnTo>
                  <a:cubicBezTo>
                    <a:pt x="4046" y="3179"/>
                    <a:pt x="4199" y="3027"/>
                    <a:pt x="4199" y="2838"/>
                  </a:cubicBezTo>
                  <a:lnTo>
                    <a:pt x="4199" y="341"/>
                  </a:lnTo>
                  <a:cubicBezTo>
                    <a:pt x="4199" y="152"/>
                    <a:pt x="4046" y="0"/>
                    <a:pt x="3857" y="0"/>
                  </a:cubicBezTo>
                  <a:close/>
                  <a:moveTo>
                    <a:pt x="341" y="0"/>
                  </a:moveTo>
                  <a:lnTo>
                    <a:pt x="341" y="0"/>
                  </a:lnTo>
                  <a:cubicBezTo>
                    <a:pt x="152" y="0"/>
                    <a:pt x="0" y="152"/>
                    <a:pt x="0" y="341"/>
                  </a:cubicBezTo>
                  <a:lnTo>
                    <a:pt x="0" y="2838"/>
                  </a:lnTo>
                  <a:cubicBezTo>
                    <a:pt x="0" y="3027"/>
                    <a:pt x="152" y="3179"/>
                    <a:pt x="341" y="3179"/>
                  </a:cubicBezTo>
                  <a:lnTo>
                    <a:pt x="341" y="3179"/>
                  </a:lnTo>
                  <a:cubicBezTo>
                    <a:pt x="530" y="3179"/>
                    <a:pt x="682" y="3027"/>
                    <a:pt x="682" y="2838"/>
                  </a:cubicBezTo>
                  <a:lnTo>
                    <a:pt x="682" y="341"/>
                  </a:lnTo>
                  <a:cubicBezTo>
                    <a:pt x="682" y="152"/>
                    <a:pt x="530" y="0"/>
                    <a:pt x="341" y="0"/>
                  </a:cubicBezTo>
                  <a:close/>
                </a:path>
              </a:pathLst>
            </a:custGeom>
            <a:solidFill>
              <a:schemeClr val="accent5"/>
            </a:solidFill>
            <a:ln w="9525" cap="flat">
              <a:noFill/>
              <a:bevel/>
              <a:headEnd/>
              <a:tailEnd/>
            </a:ln>
            <a:effectLst/>
          </p:spPr>
          <p:txBody>
            <a:bodyPr wrap="none" anchor="ctr"/>
            <a:lstStyle/>
            <a:p>
              <a:endParaRPr lang="en-US"/>
            </a:p>
          </p:txBody>
        </p:sp>
        <p:sp>
          <p:nvSpPr>
            <p:cNvPr id="18" name="Freeform 4">
              <a:extLst>
                <a:ext uri="{FF2B5EF4-FFF2-40B4-BE49-F238E27FC236}">
                  <a16:creationId xmlns:a16="http://schemas.microsoft.com/office/drawing/2014/main" id="{ECF2801C-521E-491B-B9A7-6B468A6ED88D}"/>
                </a:ext>
              </a:extLst>
            </p:cNvPr>
            <p:cNvSpPr>
              <a:spLocks noChangeArrowheads="1"/>
            </p:cNvSpPr>
            <p:nvPr/>
          </p:nvSpPr>
          <p:spPr bwMode="auto">
            <a:xfrm>
              <a:off x="6265863" y="3454400"/>
              <a:ext cx="2146300" cy="1976438"/>
            </a:xfrm>
            <a:custGeom>
              <a:avLst/>
              <a:gdLst>
                <a:gd name="T0" fmla="*/ 5960 w 5961"/>
                <a:gd name="T1" fmla="*/ 344 h 5492"/>
                <a:gd name="T2" fmla="*/ 5960 w 5961"/>
                <a:gd name="T3" fmla="*/ 2841 h 5492"/>
                <a:gd name="T4" fmla="*/ 5619 w 5961"/>
                <a:gd name="T5" fmla="*/ 3182 h 5492"/>
                <a:gd name="T6" fmla="*/ 5619 w 5961"/>
                <a:gd name="T7" fmla="*/ 3182 h 5492"/>
                <a:gd name="T8" fmla="*/ 5277 w 5961"/>
                <a:gd name="T9" fmla="*/ 2841 h 5492"/>
                <a:gd name="T10" fmla="*/ 5277 w 5961"/>
                <a:gd name="T11" fmla="*/ 344 h 5492"/>
                <a:gd name="T12" fmla="*/ 5619 w 5961"/>
                <a:gd name="T13" fmla="*/ 3 h 5492"/>
                <a:gd name="T14" fmla="*/ 5619 w 5961"/>
                <a:gd name="T15" fmla="*/ 3 h 5492"/>
                <a:gd name="T16" fmla="*/ 5960 w 5961"/>
                <a:gd name="T17" fmla="*/ 344 h 5492"/>
                <a:gd name="T18" fmla="*/ 342 w 5961"/>
                <a:gd name="T19" fmla="*/ 0 h 5492"/>
                <a:gd name="T20" fmla="*/ 342 w 5961"/>
                <a:gd name="T21" fmla="*/ 0 h 5492"/>
                <a:gd name="T22" fmla="*/ 0 w 5961"/>
                <a:gd name="T23" fmla="*/ 342 h 5492"/>
                <a:gd name="T24" fmla="*/ 0 w 5961"/>
                <a:gd name="T25" fmla="*/ 2838 h 5492"/>
                <a:gd name="T26" fmla="*/ 342 w 5961"/>
                <a:gd name="T27" fmla="*/ 3180 h 5492"/>
                <a:gd name="T28" fmla="*/ 342 w 5961"/>
                <a:gd name="T29" fmla="*/ 3180 h 5492"/>
                <a:gd name="T30" fmla="*/ 683 w 5961"/>
                <a:gd name="T31" fmla="*/ 2838 h 5492"/>
                <a:gd name="T32" fmla="*/ 683 w 5961"/>
                <a:gd name="T33" fmla="*/ 342 h 5492"/>
                <a:gd name="T34" fmla="*/ 342 w 5961"/>
                <a:gd name="T35" fmla="*/ 0 h 5492"/>
                <a:gd name="T36" fmla="*/ 1222 w 5961"/>
                <a:gd name="T37" fmla="*/ 2310 h 5492"/>
                <a:gd name="T38" fmla="*/ 1222 w 5961"/>
                <a:gd name="T39" fmla="*/ 2310 h 5492"/>
                <a:gd name="T40" fmla="*/ 881 w 5961"/>
                <a:gd name="T41" fmla="*/ 2652 h 5492"/>
                <a:gd name="T42" fmla="*/ 881 w 5961"/>
                <a:gd name="T43" fmla="*/ 5149 h 5492"/>
                <a:gd name="T44" fmla="*/ 1222 w 5961"/>
                <a:gd name="T45" fmla="*/ 5491 h 5492"/>
                <a:gd name="T46" fmla="*/ 1222 w 5961"/>
                <a:gd name="T47" fmla="*/ 5491 h 5492"/>
                <a:gd name="T48" fmla="*/ 1563 w 5961"/>
                <a:gd name="T49" fmla="*/ 5149 h 5492"/>
                <a:gd name="T50" fmla="*/ 1563 w 5961"/>
                <a:gd name="T51" fmla="*/ 2652 h 5492"/>
                <a:gd name="T52" fmla="*/ 1222 w 5961"/>
                <a:gd name="T53" fmla="*/ 2310 h 5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61" h="5492">
                  <a:moveTo>
                    <a:pt x="5960" y="344"/>
                  </a:moveTo>
                  <a:lnTo>
                    <a:pt x="5960" y="2841"/>
                  </a:lnTo>
                  <a:cubicBezTo>
                    <a:pt x="5960" y="3030"/>
                    <a:pt x="5808" y="3182"/>
                    <a:pt x="5619" y="3182"/>
                  </a:cubicBezTo>
                  <a:lnTo>
                    <a:pt x="5619" y="3182"/>
                  </a:lnTo>
                  <a:cubicBezTo>
                    <a:pt x="5430" y="3182"/>
                    <a:pt x="5277" y="3030"/>
                    <a:pt x="5277" y="2841"/>
                  </a:cubicBezTo>
                  <a:lnTo>
                    <a:pt x="5277" y="344"/>
                  </a:lnTo>
                  <a:cubicBezTo>
                    <a:pt x="5277" y="155"/>
                    <a:pt x="5430" y="3"/>
                    <a:pt x="5619" y="3"/>
                  </a:cubicBezTo>
                  <a:lnTo>
                    <a:pt x="5619" y="3"/>
                  </a:lnTo>
                  <a:cubicBezTo>
                    <a:pt x="5805" y="0"/>
                    <a:pt x="5960" y="153"/>
                    <a:pt x="5960" y="344"/>
                  </a:cubicBezTo>
                  <a:close/>
                  <a:moveTo>
                    <a:pt x="342" y="0"/>
                  </a:moveTo>
                  <a:lnTo>
                    <a:pt x="342" y="0"/>
                  </a:lnTo>
                  <a:cubicBezTo>
                    <a:pt x="152" y="0"/>
                    <a:pt x="0" y="153"/>
                    <a:pt x="0" y="342"/>
                  </a:cubicBezTo>
                  <a:lnTo>
                    <a:pt x="0" y="2838"/>
                  </a:lnTo>
                  <a:cubicBezTo>
                    <a:pt x="0" y="3027"/>
                    <a:pt x="152" y="3180"/>
                    <a:pt x="342" y="3180"/>
                  </a:cubicBezTo>
                  <a:lnTo>
                    <a:pt x="342" y="3180"/>
                  </a:lnTo>
                  <a:cubicBezTo>
                    <a:pt x="531" y="3180"/>
                    <a:pt x="683" y="3027"/>
                    <a:pt x="683" y="2838"/>
                  </a:cubicBezTo>
                  <a:lnTo>
                    <a:pt x="683" y="342"/>
                  </a:lnTo>
                  <a:cubicBezTo>
                    <a:pt x="686" y="153"/>
                    <a:pt x="533" y="0"/>
                    <a:pt x="342" y="0"/>
                  </a:cubicBezTo>
                  <a:close/>
                  <a:moveTo>
                    <a:pt x="1222" y="2310"/>
                  </a:moveTo>
                  <a:lnTo>
                    <a:pt x="1222" y="2310"/>
                  </a:lnTo>
                  <a:cubicBezTo>
                    <a:pt x="1033" y="2310"/>
                    <a:pt x="881" y="2463"/>
                    <a:pt x="881" y="2652"/>
                  </a:cubicBezTo>
                  <a:lnTo>
                    <a:pt x="881" y="5149"/>
                  </a:lnTo>
                  <a:cubicBezTo>
                    <a:pt x="881" y="5339"/>
                    <a:pt x="1033" y="5491"/>
                    <a:pt x="1222" y="5491"/>
                  </a:cubicBezTo>
                  <a:lnTo>
                    <a:pt x="1222" y="5491"/>
                  </a:lnTo>
                  <a:cubicBezTo>
                    <a:pt x="1411" y="5491"/>
                    <a:pt x="1563" y="5339"/>
                    <a:pt x="1563" y="5149"/>
                  </a:cubicBezTo>
                  <a:lnTo>
                    <a:pt x="1563" y="2652"/>
                  </a:lnTo>
                  <a:cubicBezTo>
                    <a:pt x="1563" y="2463"/>
                    <a:pt x="1411" y="2310"/>
                    <a:pt x="1222" y="2310"/>
                  </a:cubicBezTo>
                  <a:close/>
                </a:path>
              </a:pathLst>
            </a:custGeom>
            <a:solidFill>
              <a:schemeClr val="accent1"/>
            </a:solidFill>
            <a:ln w="9525" cap="flat">
              <a:noFill/>
              <a:bevel/>
              <a:headEnd/>
              <a:tailEnd/>
            </a:ln>
            <a:effectLst/>
          </p:spPr>
          <p:txBody>
            <a:bodyPr wrap="none" anchor="ctr"/>
            <a:lstStyle/>
            <a:p>
              <a:endParaRPr lang="en-US"/>
            </a:p>
          </p:txBody>
        </p:sp>
      </p:grpSp>
      <p:pic>
        <p:nvPicPr>
          <p:cNvPr id="13" name="Picture 12">
            <a:extLst>
              <a:ext uri="{FF2B5EF4-FFF2-40B4-BE49-F238E27FC236}">
                <a16:creationId xmlns:a16="http://schemas.microsoft.com/office/drawing/2014/main" id="{722FED9C-0377-BB41-9FB8-9112DCD6A715}"/>
              </a:ext>
            </a:extLst>
          </p:cNvPr>
          <p:cNvPicPr>
            <a:picLocks noChangeAspect="1"/>
          </p:cNvPicPr>
          <p:nvPr/>
        </p:nvPicPr>
        <p:blipFill>
          <a:blip r:embed="rId2"/>
          <a:stretch>
            <a:fillRect/>
          </a:stretch>
        </p:blipFill>
        <p:spPr>
          <a:xfrm>
            <a:off x="530784" y="4481293"/>
            <a:ext cx="1539465" cy="581525"/>
          </a:xfrm>
          <a:prstGeom prst="rect">
            <a:avLst/>
          </a:prstGeom>
        </p:spPr>
      </p:pic>
      <p:sp>
        <p:nvSpPr>
          <p:cNvPr id="21" name="Freeform 6">
            <a:extLst>
              <a:ext uri="{FF2B5EF4-FFF2-40B4-BE49-F238E27FC236}">
                <a16:creationId xmlns:a16="http://schemas.microsoft.com/office/drawing/2014/main" id="{DF575BE2-0666-8F41-BBD6-8122ED4D0C6B}"/>
              </a:ext>
            </a:extLst>
          </p:cNvPr>
          <p:cNvSpPr>
            <a:spLocks noChangeAspect="1" noEditPoints="1"/>
          </p:cNvSpPr>
          <p:nvPr/>
        </p:nvSpPr>
        <p:spPr bwMode="black">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22" name="Group 21">
            <a:extLst>
              <a:ext uri="{FF2B5EF4-FFF2-40B4-BE49-F238E27FC236}">
                <a16:creationId xmlns:a16="http://schemas.microsoft.com/office/drawing/2014/main" id="{4E05924A-6C70-5E4C-9E40-6CB6FF3F1A10}"/>
              </a:ext>
            </a:extLst>
          </p:cNvPr>
          <p:cNvGrpSpPr>
            <a:grpSpLocks noChangeAspect="1"/>
          </p:cNvGrpSpPr>
          <p:nvPr/>
        </p:nvGrpSpPr>
        <p:grpSpPr>
          <a:xfrm>
            <a:off x="6064485" y="532638"/>
            <a:ext cx="3079515" cy="4078224"/>
            <a:chOff x="6265863" y="2170113"/>
            <a:chExt cx="2462212" cy="3260725"/>
          </a:xfrm>
        </p:grpSpPr>
        <p:sp>
          <p:nvSpPr>
            <p:cNvPr id="23" name="Freeform 1">
              <a:extLst>
                <a:ext uri="{FF2B5EF4-FFF2-40B4-BE49-F238E27FC236}">
                  <a16:creationId xmlns:a16="http://schemas.microsoft.com/office/drawing/2014/main" id="{BC932389-C4B7-CA46-A49F-DC04CAC6ECCA}"/>
                </a:ext>
              </a:extLst>
            </p:cNvPr>
            <p:cNvSpPr>
              <a:spLocks noChangeArrowheads="1"/>
            </p:cNvSpPr>
            <p:nvPr/>
          </p:nvSpPr>
          <p:spPr bwMode="auto">
            <a:xfrm>
              <a:off x="6900863" y="2170113"/>
              <a:ext cx="1511300" cy="2430462"/>
            </a:xfrm>
            <a:custGeom>
              <a:avLst/>
              <a:gdLst>
                <a:gd name="T0" fmla="*/ 683 w 4200"/>
                <a:gd name="T1" fmla="*/ 3914 h 6753"/>
                <a:gd name="T2" fmla="*/ 683 w 4200"/>
                <a:gd name="T3" fmla="*/ 6411 h 6753"/>
                <a:gd name="T4" fmla="*/ 341 w 4200"/>
                <a:gd name="T5" fmla="*/ 6752 h 6753"/>
                <a:gd name="T6" fmla="*/ 341 w 4200"/>
                <a:gd name="T7" fmla="*/ 6752 h 6753"/>
                <a:gd name="T8" fmla="*/ 0 w 4200"/>
                <a:gd name="T9" fmla="*/ 6411 h 6753"/>
                <a:gd name="T10" fmla="*/ 0 w 4200"/>
                <a:gd name="T11" fmla="*/ 3914 h 6753"/>
                <a:gd name="T12" fmla="*/ 341 w 4200"/>
                <a:gd name="T13" fmla="*/ 3573 h 6753"/>
                <a:gd name="T14" fmla="*/ 341 w 4200"/>
                <a:gd name="T15" fmla="*/ 3573 h 6753"/>
                <a:gd name="T16" fmla="*/ 683 w 4200"/>
                <a:gd name="T17" fmla="*/ 3914 h 6753"/>
                <a:gd name="T18" fmla="*/ 3855 w 4200"/>
                <a:gd name="T19" fmla="*/ 0 h 6753"/>
                <a:gd name="T20" fmla="*/ 3855 w 4200"/>
                <a:gd name="T21" fmla="*/ 0 h 6753"/>
                <a:gd name="T22" fmla="*/ 3513 w 4200"/>
                <a:gd name="T23" fmla="*/ 342 h 6753"/>
                <a:gd name="T24" fmla="*/ 3513 w 4200"/>
                <a:gd name="T25" fmla="*/ 2839 h 6753"/>
                <a:gd name="T26" fmla="*/ 3855 w 4200"/>
                <a:gd name="T27" fmla="*/ 3181 h 6753"/>
                <a:gd name="T28" fmla="*/ 3855 w 4200"/>
                <a:gd name="T29" fmla="*/ 3181 h 6753"/>
                <a:gd name="T30" fmla="*/ 4196 w 4200"/>
                <a:gd name="T31" fmla="*/ 2839 h 6753"/>
                <a:gd name="T32" fmla="*/ 4196 w 4200"/>
                <a:gd name="T33" fmla="*/ 345 h 6753"/>
                <a:gd name="T34" fmla="*/ 3855 w 4200"/>
                <a:gd name="T35" fmla="*/ 0 h 6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00" h="6753">
                  <a:moveTo>
                    <a:pt x="683" y="3914"/>
                  </a:moveTo>
                  <a:lnTo>
                    <a:pt x="683" y="6411"/>
                  </a:lnTo>
                  <a:cubicBezTo>
                    <a:pt x="683" y="6600"/>
                    <a:pt x="531" y="6752"/>
                    <a:pt x="341" y="6752"/>
                  </a:cubicBezTo>
                  <a:lnTo>
                    <a:pt x="341" y="6752"/>
                  </a:lnTo>
                  <a:cubicBezTo>
                    <a:pt x="152" y="6752"/>
                    <a:pt x="0" y="6600"/>
                    <a:pt x="0" y="6411"/>
                  </a:cubicBezTo>
                  <a:lnTo>
                    <a:pt x="0" y="3914"/>
                  </a:lnTo>
                  <a:cubicBezTo>
                    <a:pt x="0" y="3725"/>
                    <a:pt x="152" y="3573"/>
                    <a:pt x="341" y="3573"/>
                  </a:cubicBezTo>
                  <a:lnTo>
                    <a:pt x="341" y="3573"/>
                  </a:lnTo>
                  <a:cubicBezTo>
                    <a:pt x="528" y="3570"/>
                    <a:pt x="683" y="3723"/>
                    <a:pt x="683" y="3914"/>
                  </a:cubicBezTo>
                  <a:close/>
                  <a:moveTo>
                    <a:pt x="3855" y="0"/>
                  </a:moveTo>
                  <a:lnTo>
                    <a:pt x="3855" y="0"/>
                  </a:lnTo>
                  <a:cubicBezTo>
                    <a:pt x="3666" y="0"/>
                    <a:pt x="3513" y="153"/>
                    <a:pt x="3513" y="342"/>
                  </a:cubicBezTo>
                  <a:lnTo>
                    <a:pt x="3513" y="2839"/>
                  </a:lnTo>
                  <a:cubicBezTo>
                    <a:pt x="3513" y="3028"/>
                    <a:pt x="3666" y="3181"/>
                    <a:pt x="3855" y="3181"/>
                  </a:cubicBezTo>
                  <a:lnTo>
                    <a:pt x="3855" y="3181"/>
                  </a:lnTo>
                  <a:cubicBezTo>
                    <a:pt x="4044" y="3181"/>
                    <a:pt x="4196" y="3028"/>
                    <a:pt x="4196" y="2839"/>
                  </a:cubicBezTo>
                  <a:lnTo>
                    <a:pt x="4196" y="345"/>
                  </a:lnTo>
                  <a:cubicBezTo>
                    <a:pt x="4199" y="155"/>
                    <a:pt x="4044" y="0"/>
                    <a:pt x="3855" y="0"/>
                  </a:cubicBezTo>
                  <a:close/>
                </a:path>
              </a:pathLst>
            </a:custGeom>
            <a:solidFill>
              <a:schemeClr val="accent6"/>
            </a:solidFill>
            <a:ln w="9525" cap="flat">
              <a:noFill/>
              <a:bevel/>
              <a:headEnd/>
              <a:tailEnd/>
            </a:ln>
            <a:effectLst/>
          </p:spPr>
          <p:txBody>
            <a:bodyPr wrap="none" anchor="ctr"/>
            <a:lstStyle/>
            <a:p>
              <a:endParaRPr lang="en-US"/>
            </a:p>
          </p:txBody>
        </p:sp>
        <p:sp>
          <p:nvSpPr>
            <p:cNvPr id="24" name="Freeform 2">
              <a:extLst>
                <a:ext uri="{FF2B5EF4-FFF2-40B4-BE49-F238E27FC236}">
                  <a16:creationId xmlns:a16="http://schemas.microsoft.com/office/drawing/2014/main" id="{17A779A4-34F2-C245-8224-F95C59DC7154}"/>
                </a:ext>
              </a:extLst>
            </p:cNvPr>
            <p:cNvSpPr>
              <a:spLocks noChangeArrowheads="1"/>
            </p:cNvSpPr>
            <p:nvPr/>
          </p:nvSpPr>
          <p:spPr bwMode="auto">
            <a:xfrm>
              <a:off x="7216775" y="2603500"/>
              <a:ext cx="1511300" cy="2430463"/>
            </a:xfrm>
            <a:custGeom>
              <a:avLst/>
              <a:gdLst>
                <a:gd name="T0" fmla="*/ 683 w 4200"/>
                <a:gd name="T1" fmla="*/ 342 h 6751"/>
                <a:gd name="T2" fmla="*/ 683 w 4200"/>
                <a:gd name="T3" fmla="*/ 2839 h 6751"/>
                <a:gd name="T4" fmla="*/ 341 w 4200"/>
                <a:gd name="T5" fmla="*/ 3181 h 6751"/>
                <a:gd name="T6" fmla="*/ 341 w 4200"/>
                <a:gd name="T7" fmla="*/ 3181 h 6751"/>
                <a:gd name="T8" fmla="*/ 0 w 4200"/>
                <a:gd name="T9" fmla="*/ 2839 h 6751"/>
                <a:gd name="T10" fmla="*/ 0 w 4200"/>
                <a:gd name="T11" fmla="*/ 342 h 6751"/>
                <a:gd name="T12" fmla="*/ 341 w 4200"/>
                <a:gd name="T13" fmla="*/ 0 h 6751"/>
                <a:gd name="T14" fmla="*/ 341 w 4200"/>
                <a:gd name="T15" fmla="*/ 0 h 6751"/>
                <a:gd name="T16" fmla="*/ 683 w 4200"/>
                <a:gd name="T17" fmla="*/ 342 h 6751"/>
                <a:gd name="T18" fmla="*/ 1219 w 4200"/>
                <a:gd name="T19" fmla="*/ 2365 h 6751"/>
                <a:gd name="T20" fmla="*/ 1219 w 4200"/>
                <a:gd name="T21" fmla="*/ 2365 h 6751"/>
                <a:gd name="T22" fmla="*/ 877 w 4200"/>
                <a:gd name="T23" fmla="*/ 2707 h 6751"/>
                <a:gd name="T24" fmla="*/ 877 w 4200"/>
                <a:gd name="T25" fmla="*/ 5203 h 6751"/>
                <a:gd name="T26" fmla="*/ 1219 w 4200"/>
                <a:gd name="T27" fmla="*/ 5545 h 6751"/>
                <a:gd name="T28" fmla="*/ 1219 w 4200"/>
                <a:gd name="T29" fmla="*/ 5545 h 6751"/>
                <a:gd name="T30" fmla="*/ 1560 w 4200"/>
                <a:gd name="T31" fmla="*/ 5203 h 6751"/>
                <a:gd name="T32" fmla="*/ 1560 w 4200"/>
                <a:gd name="T33" fmla="*/ 2707 h 6751"/>
                <a:gd name="T34" fmla="*/ 1219 w 4200"/>
                <a:gd name="T35" fmla="*/ 2365 h 6751"/>
                <a:gd name="T36" fmla="*/ 3857 w 4200"/>
                <a:gd name="T37" fmla="*/ 3569 h 6751"/>
                <a:gd name="T38" fmla="*/ 3857 w 4200"/>
                <a:gd name="T39" fmla="*/ 3569 h 6751"/>
                <a:gd name="T40" fmla="*/ 3516 w 4200"/>
                <a:gd name="T41" fmla="*/ 3911 h 6751"/>
                <a:gd name="T42" fmla="*/ 3516 w 4200"/>
                <a:gd name="T43" fmla="*/ 6408 h 6751"/>
                <a:gd name="T44" fmla="*/ 3857 w 4200"/>
                <a:gd name="T45" fmla="*/ 6750 h 6751"/>
                <a:gd name="T46" fmla="*/ 3857 w 4200"/>
                <a:gd name="T47" fmla="*/ 6750 h 6751"/>
                <a:gd name="T48" fmla="*/ 4199 w 4200"/>
                <a:gd name="T49" fmla="*/ 6408 h 6751"/>
                <a:gd name="T50" fmla="*/ 4199 w 4200"/>
                <a:gd name="T51" fmla="*/ 3911 h 6751"/>
                <a:gd name="T52" fmla="*/ 3857 w 4200"/>
                <a:gd name="T53" fmla="*/ 3569 h 6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6751">
                  <a:moveTo>
                    <a:pt x="683" y="342"/>
                  </a:moveTo>
                  <a:lnTo>
                    <a:pt x="683" y="2839"/>
                  </a:lnTo>
                  <a:cubicBezTo>
                    <a:pt x="683" y="3028"/>
                    <a:pt x="530" y="3181"/>
                    <a:pt x="341" y="3181"/>
                  </a:cubicBezTo>
                  <a:lnTo>
                    <a:pt x="341" y="3181"/>
                  </a:lnTo>
                  <a:cubicBezTo>
                    <a:pt x="152" y="3181"/>
                    <a:pt x="0" y="3028"/>
                    <a:pt x="0" y="2839"/>
                  </a:cubicBezTo>
                  <a:lnTo>
                    <a:pt x="0" y="342"/>
                  </a:lnTo>
                  <a:cubicBezTo>
                    <a:pt x="0" y="153"/>
                    <a:pt x="152" y="0"/>
                    <a:pt x="341" y="0"/>
                  </a:cubicBezTo>
                  <a:lnTo>
                    <a:pt x="341" y="0"/>
                  </a:lnTo>
                  <a:cubicBezTo>
                    <a:pt x="530" y="0"/>
                    <a:pt x="683" y="153"/>
                    <a:pt x="683" y="342"/>
                  </a:cubicBezTo>
                  <a:close/>
                  <a:moveTo>
                    <a:pt x="1219" y="2365"/>
                  </a:moveTo>
                  <a:lnTo>
                    <a:pt x="1219" y="2365"/>
                  </a:lnTo>
                  <a:cubicBezTo>
                    <a:pt x="1030" y="2365"/>
                    <a:pt x="877" y="2518"/>
                    <a:pt x="877" y="2707"/>
                  </a:cubicBezTo>
                  <a:lnTo>
                    <a:pt x="877" y="5203"/>
                  </a:lnTo>
                  <a:cubicBezTo>
                    <a:pt x="877" y="5392"/>
                    <a:pt x="1030" y="5545"/>
                    <a:pt x="1219" y="5545"/>
                  </a:cubicBezTo>
                  <a:lnTo>
                    <a:pt x="1219" y="5545"/>
                  </a:lnTo>
                  <a:cubicBezTo>
                    <a:pt x="1408" y="5545"/>
                    <a:pt x="1560" y="5392"/>
                    <a:pt x="1560" y="5203"/>
                  </a:cubicBezTo>
                  <a:lnTo>
                    <a:pt x="1560" y="2707"/>
                  </a:lnTo>
                  <a:cubicBezTo>
                    <a:pt x="1563" y="2518"/>
                    <a:pt x="1408" y="2365"/>
                    <a:pt x="1219" y="2365"/>
                  </a:cubicBezTo>
                  <a:close/>
                  <a:moveTo>
                    <a:pt x="3857" y="3569"/>
                  </a:moveTo>
                  <a:lnTo>
                    <a:pt x="3857" y="3569"/>
                  </a:lnTo>
                  <a:cubicBezTo>
                    <a:pt x="3668" y="3569"/>
                    <a:pt x="3516" y="3722"/>
                    <a:pt x="3516" y="3911"/>
                  </a:cubicBezTo>
                  <a:lnTo>
                    <a:pt x="3516" y="6408"/>
                  </a:lnTo>
                  <a:cubicBezTo>
                    <a:pt x="3516" y="6597"/>
                    <a:pt x="3668" y="6750"/>
                    <a:pt x="3857" y="6750"/>
                  </a:cubicBezTo>
                  <a:lnTo>
                    <a:pt x="3857" y="6750"/>
                  </a:lnTo>
                  <a:cubicBezTo>
                    <a:pt x="4046" y="6750"/>
                    <a:pt x="4199" y="6597"/>
                    <a:pt x="4199" y="6408"/>
                  </a:cubicBezTo>
                  <a:lnTo>
                    <a:pt x="4199" y="3911"/>
                  </a:lnTo>
                  <a:cubicBezTo>
                    <a:pt x="4199" y="3722"/>
                    <a:pt x="4046" y="3569"/>
                    <a:pt x="3857" y="3569"/>
                  </a:cubicBezTo>
                  <a:close/>
                </a:path>
              </a:pathLst>
            </a:custGeom>
            <a:solidFill>
              <a:schemeClr val="accent2"/>
            </a:solidFill>
            <a:ln w="9525" cap="flat">
              <a:noFill/>
              <a:bevel/>
              <a:headEnd/>
              <a:tailEnd/>
            </a:ln>
            <a:effectLst/>
          </p:spPr>
          <p:txBody>
            <a:bodyPr wrap="none" anchor="ctr"/>
            <a:lstStyle/>
            <a:p>
              <a:endParaRPr lang="en-US"/>
            </a:p>
          </p:txBody>
        </p:sp>
        <p:sp>
          <p:nvSpPr>
            <p:cNvPr id="25" name="Freeform 3">
              <a:extLst>
                <a:ext uri="{FF2B5EF4-FFF2-40B4-BE49-F238E27FC236}">
                  <a16:creationId xmlns:a16="http://schemas.microsoft.com/office/drawing/2014/main" id="{85615432-B011-3740-B2B8-ECBAA60928D9}"/>
                </a:ext>
              </a:extLst>
            </p:cNvPr>
            <p:cNvSpPr>
              <a:spLocks noChangeArrowheads="1"/>
            </p:cNvSpPr>
            <p:nvPr/>
          </p:nvSpPr>
          <p:spPr bwMode="auto">
            <a:xfrm>
              <a:off x="6583363" y="3001963"/>
              <a:ext cx="1511300" cy="2032000"/>
            </a:xfrm>
            <a:custGeom>
              <a:avLst/>
              <a:gdLst>
                <a:gd name="T0" fmla="*/ 2441 w 4200"/>
                <a:gd name="T1" fmla="*/ 2804 h 5644"/>
                <a:gd name="T2" fmla="*/ 2441 w 4200"/>
                <a:gd name="T3" fmla="*/ 5301 h 5644"/>
                <a:gd name="T4" fmla="*/ 2099 w 4200"/>
                <a:gd name="T5" fmla="*/ 5643 h 5644"/>
                <a:gd name="T6" fmla="*/ 2099 w 4200"/>
                <a:gd name="T7" fmla="*/ 5643 h 5644"/>
                <a:gd name="T8" fmla="*/ 1758 w 4200"/>
                <a:gd name="T9" fmla="*/ 5301 h 5644"/>
                <a:gd name="T10" fmla="*/ 1758 w 4200"/>
                <a:gd name="T11" fmla="*/ 2804 h 5644"/>
                <a:gd name="T12" fmla="*/ 2099 w 4200"/>
                <a:gd name="T13" fmla="*/ 2462 h 5644"/>
                <a:gd name="T14" fmla="*/ 2099 w 4200"/>
                <a:gd name="T15" fmla="*/ 2462 h 5644"/>
                <a:gd name="T16" fmla="*/ 2441 w 4200"/>
                <a:gd name="T17" fmla="*/ 2804 h 5644"/>
                <a:gd name="T18" fmla="*/ 3857 w 4200"/>
                <a:gd name="T19" fmla="*/ 0 h 5644"/>
                <a:gd name="T20" fmla="*/ 3857 w 4200"/>
                <a:gd name="T21" fmla="*/ 0 h 5644"/>
                <a:gd name="T22" fmla="*/ 3516 w 4200"/>
                <a:gd name="T23" fmla="*/ 341 h 5644"/>
                <a:gd name="T24" fmla="*/ 3516 w 4200"/>
                <a:gd name="T25" fmla="*/ 2838 h 5644"/>
                <a:gd name="T26" fmla="*/ 3857 w 4200"/>
                <a:gd name="T27" fmla="*/ 3179 h 5644"/>
                <a:gd name="T28" fmla="*/ 3857 w 4200"/>
                <a:gd name="T29" fmla="*/ 3179 h 5644"/>
                <a:gd name="T30" fmla="*/ 4199 w 4200"/>
                <a:gd name="T31" fmla="*/ 2838 h 5644"/>
                <a:gd name="T32" fmla="*/ 4199 w 4200"/>
                <a:gd name="T33" fmla="*/ 341 h 5644"/>
                <a:gd name="T34" fmla="*/ 3857 w 4200"/>
                <a:gd name="T35" fmla="*/ 0 h 5644"/>
                <a:gd name="T36" fmla="*/ 341 w 4200"/>
                <a:gd name="T37" fmla="*/ 0 h 5644"/>
                <a:gd name="T38" fmla="*/ 341 w 4200"/>
                <a:gd name="T39" fmla="*/ 0 h 5644"/>
                <a:gd name="T40" fmla="*/ 0 w 4200"/>
                <a:gd name="T41" fmla="*/ 341 h 5644"/>
                <a:gd name="T42" fmla="*/ 0 w 4200"/>
                <a:gd name="T43" fmla="*/ 2838 h 5644"/>
                <a:gd name="T44" fmla="*/ 341 w 4200"/>
                <a:gd name="T45" fmla="*/ 3179 h 5644"/>
                <a:gd name="T46" fmla="*/ 341 w 4200"/>
                <a:gd name="T47" fmla="*/ 3179 h 5644"/>
                <a:gd name="T48" fmla="*/ 682 w 4200"/>
                <a:gd name="T49" fmla="*/ 2838 h 5644"/>
                <a:gd name="T50" fmla="*/ 682 w 4200"/>
                <a:gd name="T51" fmla="*/ 341 h 5644"/>
                <a:gd name="T52" fmla="*/ 341 w 4200"/>
                <a:gd name="T53" fmla="*/ 0 h 5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00" h="5644">
                  <a:moveTo>
                    <a:pt x="2441" y="2804"/>
                  </a:moveTo>
                  <a:lnTo>
                    <a:pt x="2441" y="5301"/>
                  </a:lnTo>
                  <a:cubicBezTo>
                    <a:pt x="2441" y="5490"/>
                    <a:pt x="2288" y="5643"/>
                    <a:pt x="2099" y="5643"/>
                  </a:cubicBezTo>
                  <a:lnTo>
                    <a:pt x="2099" y="5643"/>
                  </a:lnTo>
                  <a:cubicBezTo>
                    <a:pt x="1910" y="5643"/>
                    <a:pt x="1758" y="5490"/>
                    <a:pt x="1758" y="5301"/>
                  </a:cubicBezTo>
                  <a:lnTo>
                    <a:pt x="1758" y="2804"/>
                  </a:lnTo>
                  <a:cubicBezTo>
                    <a:pt x="1758" y="2615"/>
                    <a:pt x="1910" y="2462"/>
                    <a:pt x="2099" y="2462"/>
                  </a:cubicBezTo>
                  <a:lnTo>
                    <a:pt x="2099" y="2462"/>
                  </a:lnTo>
                  <a:cubicBezTo>
                    <a:pt x="2288" y="2462"/>
                    <a:pt x="2441" y="2615"/>
                    <a:pt x="2441" y="2804"/>
                  </a:cubicBezTo>
                  <a:close/>
                  <a:moveTo>
                    <a:pt x="3857" y="0"/>
                  </a:moveTo>
                  <a:lnTo>
                    <a:pt x="3857" y="0"/>
                  </a:lnTo>
                  <a:cubicBezTo>
                    <a:pt x="3668" y="0"/>
                    <a:pt x="3516" y="152"/>
                    <a:pt x="3516" y="341"/>
                  </a:cubicBezTo>
                  <a:lnTo>
                    <a:pt x="3516" y="2838"/>
                  </a:lnTo>
                  <a:cubicBezTo>
                    <a:pt x="3516" y="3027"/>
                    <a:pt x="3668" y="3179"/>
                    <a:pt x="3857" y="3179"/>
                  </a:cubicBezTo>
                  <a:lnTo>
                    <a:pt x="3857" y="3179"/>
                  </a:lnTo>
                  <a:cubicBezTo>
                    <a:pt x="4046" y="3179"/>
                    <a:pt x="4199" y="3027"/>
                    <a:pt x="4199" y="2838"/>
                  </a:cubicBezTo>
                  <a:lnTo>
                    <a:pt x="4199" y="341"/>
                  </a:lnTo>
                  <a:cubicBezTo>
                    <a:pt x="4199" y="152"/>
                    <a:pt x="4046" y="0"/>
                    <a:pt x="3857" y="0"/>
                  </a:cubicBezTo>
                  <a:close/>
                  <a:moveTo>
                    <a:pt x="341" y="0"/>
                  </a:moveTo>
                  <a:lnTo>
                    <a:pt x="341" y="0"/>
                  </a:lnTo>
                  <a:cubicBezTo>
                    <a:pt x="152" y="0"/>
                    <a:pt x="0" y="152"/>
                    <a:pt x="0" y="341"/>
                  </a:cubicBezTo>
                  <a:lnTo>
                    <a:pt x="0" y="2838"/>
                  </a:lnTo>
                  <a:cubicBezTo>
                    <a:pt x="0" y="3027"/>
                    <a:pt x="152" y="3179"/>
                    <a:pt x="341" y="3179"/>
                  </a:cubicBezTo>
                  <a:lnTo>
                    <a:pt x="341" y="3179"/>
                  </a:lnTo>
                  <a:cubicBezTo>
                    <a:pt x="530" y="3179"/>
                    <a:pt x="682" y="3027"/>
                    <a:pt x="682" y="2838"/>
                  </a:cubicBezTo>
                  <a:lnTo>
                    <a:pt x="682" y="341"/>
                  </a:lnTo>
                  <a:cubicBezTo>
                    <a:pt x="682" y="152"/>
                    <a:pt x="530" y="0"/>
                    <a:pt x="341" y="0"/>
                  </a:cubicBezTo>
                  <a:close/>
                </a:path>
              </a:pathLst>
            </a:custGeom>
            <a:solidFill>
              <a:schemeClr val="accent5"/>
            </a:solidFill>
            <a:ln w="9525" cap="flat">
              <a:noFill/>
              <a:bevel/>
              <a:headEnd/>
              <a:tailEnd/>
            </a:ln>
            <a:effectLst/>
          </p:spPr>
          <p:txBody>
            <a:bodyPr wrap="none" anchor="ctr"/>
            <a:lstStyle/>
            <a:p>
              <a:endParaRPr lang="en-US"/>
            </a:p>
          </p:txBody>
        </p:sp>
        <p:sp>
          <p:nvSpPr>
            <p:cNvPr id="26" name="Freeform 4">
              <a:extLst>
                <a:ext uri="{FF2B5EF4-FFF2-40B4-BE49-F238E27FC236}">
                  <a16:creationId xmlns:a16="http://schemas.microsoft.com/office/drawing/2014/main" id="{85B08963-C687-EE46-AEE4-C1BA0989AAA8}"/>
                </a:ext>
              </a:extLst>
            </p:cNvPr>
            <p:cNvSpPr>
              <a:spLocks noChangeArrowheads="1"/>
            </p:cNvSpPr>
            <p:nvPr/>
          </p:nvSpPr>
          <p:spPr bwMode="auto">
            <a:xfrm>
              <a:off x="6265863" y="3454400"/>
              <a:ext cx="2146300" cy="1976438"/>
            </a:xfrm>
            <a:custGeom>
              <a:avLst/>
              <a:gdLst>
                <a:gd name="T0" fmla="*/ 5960 w 5961"/>
                <a:gd name="T1" fmla="*/ 344 h 5492"/>
                <a:gd name="T2" fmla="*/ 5960 w 5961"/>
                <a:gd name="T3" fmla="*/ 2841 h 5492"/>
                <a:gd name="T4" fmla="*/ 5619 w 5961"/>
                <a:gd name="T5" fmla="*/ 3182 h 5492"/>
                <a:gd name="T6" fmla="*/ 5619 w 5961"/>
                <a:gd name="T7" fmla="*/ 3182 h 5492"/>
                <a:gd name="T8" fmla="*/ 5277 w 5961"/>
                <a:gd name="T9" fmla="*/ 2841 h 5492"/>
                <a:gd name="T10" fmla="*/ 5277 w 5961"/>
                <a:gd name="T11" fmla="*/ 344 h 5492"/>
                <a:gd name="T12" fmla="*/ 5619 w 5961"/>
                <a:gd name="T13" fmla="*/ 3 h 5492"/>
                <a:gd name="T14" fmla="*/ 5619 w 5961"/>
                <a:gd name="T15" fmla="*/ 3 h 5492"/>
                <a:gd name="T16" fmla="*/ 5960 w 5961"/>
                <a:gd name="T17" fmla="*/ 344 h 5492"/>
                <a:gd name="T18" fmla="*/ 342 w 5961"/>
                <a:gd name="T19" fmla="*/ 0 h 5492"/>
                <a:gd name="T20" fmla="*/ 342 w 5961"/>
                <a:gd name="T21" fmla="*/ 0 h 5492"/>
                <a:gd name="T22" fmla="*/ 0 w 5961"/>
                <a:gd name="T23" fmla="*/ 342 h 5492"/>
                <a:gd name="T24" fmla="*/ 0 w 5961"/>
                <a:gd name="T25" fmla="*/ 2838 h 5492"/>
                <a:gd name="T26" fmla="*/ 342 w 5961"/>
                <a:gd name="T27" fmla="*/ 3180 h 5492"/>
                <a:gd name="T28" fmla="*/ 342 w 5961"/>
                <a:gd name="T29" fmla="*/ 3180 h 5492"/>
                <a:gd name="T30" fmla="*/ 683 w 5961"/>
                <a:gd name="T31" fmla="*/ 2838 h 5492"/>
                <a:gd name="T32" fmla="*/ 683 w 5961"/>
                <a:gd name="T33" fmla="*/ 342 h 5492"/>
                <a:gd name="T34" fmla="*/ 342 w 5961"/>
                <a:gd name="T35" fmla="*/ 0 h 5492"/>
                <a:gd name="T36" fmla="*/ 1222 w 5961"/>
                <a:gd name="T37" fmla="*/ 2310 h 5492"/>
                <a:gd name="T38" fmla="*/ 1222 w 5961"/>
                <a:gd name="T39" fmla="*/ 2310 h 5492"/>
                <a:gd name="T40" fmla="*/ 881 w 5961"/>
                <a:gd name="T41" fmla="*/ 2652 h 5492"/>
                <a:gd name="T42" fmla="*/ 881 w 5961"/>
                <a:gd name="T43" fmla="*/ 5149 h 5492"/>
                <a:gd name="T44" fmla="*/ 1222 w 5961"/>
                <a:gd name="T45" fmla="*/ 5491 h 5492"/>
                <a:gd name="T46" fmla="*/ 1222 w 5961"/>
                <a:gd name="T47" fmla="*/ 5491 h 5492"/>
                <a:gd name="T48" fmla="*/ 1563 w 5961"/>
                <a:gd name="T49" fmla="*/ 5149 h 5492"/>
                <a:gd name="T50" fmla="*/ 1563 w 5961"/>
                <a:gd name="T51" fmla="*/ 2652 h 5492"/>
                <a:gd name="T52" fmla="*/ 1222 w 5961"/>
                <a:gd name="T53" fmla="*/ 2310 h 5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61" h="5492">
                  <a:moveTo>
                    <a:pt x="5960" y="344"/>
                  </a:moveTo>
                  <a:lnTo>
                    <a:pt x="5960" y="2841"/>
                  </a:lnTo>
                  <a:cubicBezTo>
                    <a:pt x="5960" y="3030"/>
                    <a:pt x="5808" y="3182"/>
                    <a:pt x="5619" y="3182"/>
                  </a:cubicBezTo>
                  <a:lnTo>
                    <a:pt x="5619" y="3182"/>
                  </a:lnTo>
                  <a:cubicBezTo>
                    <a:pt x="5430" y="3182"/>
                    <a:pt x="5277" y="3030"/>
                    <a:pt x="5277" y="2841"/>
                  </a:cubicBezTo>
                  <a:lnTo>
                    <a:pt x="5277" y="344"/>
                  </a:lnTo>
                  <a:cubicBezTo>
                    <a:pt x="5277" y="155"/>
                    <a:pt x="5430" y="3"/>
                    <a:pt x="5619" y="3"/>
                  </a:cubicBezTo>
                  <a:lnTo>
                    <a:pt x="5619" y="3"/>
                  </a:lnTo>
                  <a:cubicBezTo>
                    <a:pt x="5805" y="0"/>
                    <a:pt x="5960" y="153"/>
                    <a:pt x="5960" y="344"/>
                  </a:cubicBezTo>
                  <a:close/>
                  <a:moveTo>
                    <a:pt x="342" y="0"/>
                  </a:moveTo>
                  <a:lnTo>
                    <a:pt x="342" y="0"/>
                  </a:lnTo>
                  <a:cubicBezTo>
                    <a:pt x="152" y="0"/>
                    <a:pt x="0" y="153"/>
                    <a:pt x="0" y="342"/>
                  </a:cubicBezTo>
                  <a:lnTo>
                    <a:pt x="0" y="2838"/>
                  </a:lnTo>
                  <a:cubicBezTo>
                    <a:pt x="0" y="3027"/>
                    <a:pt x="152" y="3180"/>
                    <a:pt x="342" y="3180"/>
                  </a:cubicBezTo>
                  <a:lnTo>
                    <a:pt x="342" y="3180"/>
                  </a:lnTo>
                  <a:cubicBezTo>
                    <a:pt x="531" y="3180"/>
                    <a:pt x="683" y="3027"/>
                    <a:pt x="683" y="2838"/>
                  </a:cubicBezTo>
                  <a:lnTo>
                    <a:pt x="683" y="342"/>
                  </a:lnTo>
                  <a:cubicBezTo>
                    <a:pt x="686" y="153"/>
                    <a:pt x="533" y="0"/>
                    <a:pt x="342" y="0"/>
                  </a:cubicBezTo>
                  <a:close/>
                  <a:moveTo>
                    <a:pt x="1222" y="2310"/>
                  </a:moveTo>
                  <a:lnTo>
                    <a:pt x="1222" y="2310"/>
                  </a:lnTo>
                  <a:cubicBezTo>
                    <a:pt x="1033" y="2310"/>
                    <a:pt x="881" y="2463"/>
                    <a:pt x="881" y="2652"/>
                  </a:cubicBezTo>
                  <a:lnTo>
                    <a:pt x="881" y="5149"/>
                  </a:lnTo>
                  <a:cubicBezTo>
                    <a:pt x="881" y="5339"/>
                    <a:pt x="1033" y="5491"/>
                    <a:pt x="1222" y="5491"/>
                  </a:cubicBezTo>
                  <a:lnTo>
                    <a:pt x="1222" y="5491"/>
                  </a:lnTo>
                  <a:cubicBezTo>
                    <a:pt x="1411" y="5491"/>
                    <a:pt x="1563" y="5339"/>
                    <a:pt x="1563" y="5149"/>
                  </a:cubicBezTo>
                  <a:lnTo>
                    <a:pt x="1563" y="2652"/>
                  </a:lnTo>
                  <a:cubicBezTo>
                    <a:pt x="1563" y="2463"/>
                    <a:pt x="1411" y="2310"/>
                    <a:pt x="1222" y="2310"/>
                  </a:cubicBezTo>
                  <a:close/>
                </a:path>
              </a:pathLst>
            </a:custGeom>
            <a:solidFill>
              <a:schemeClr val="accent1"/>
            </a:solidFill>
            <a:ln w="9525" cap="flat">
              <a:noFill/>
              <a:bevel/>
              <a:headEnd/>
              <a:tailEnd/>
            </a:ln>
            <a:effectLst/>
          </p:spPr>
          <p:txBody>
            <a:bodyPr wrap="none" anchor="ctr"/>
            <a:lstStyle/>
            <a:p>
              <a:endParaRPr lang="en-US"/>
            </a:p>
          </p:txBody>
        </p:sp>
      </p:grpSp>
      <p:pic>
        <p:nvPicPr>
          <p:cNvPr id="27" name="Picture 26">
            <a:extLst>
              <a:ext uri="{FF2B5EF4-FFF2-40B4-BE49-F238E27FC236}">
                <a16:creationId xmlns:a16="http://schemas.microsoft.com/office/drawing/2014/main" id="{E4E6D004-A302-DE43-AC92-DEF571946BE0}"/>
              </a:ext>
            </a:extLst>
          </p:cNvPr>
          <p:cNvPicPr>
            <a:picLocks noChangeAspect="1"/>
          </p:cNvPicPr>
          <p:nvPr/>
        </p:nvPicPr>
        <p:blipFill>
          <a:blip r:embed="rId2"/>
          <a:stretch>
            <a:fillRect/>
          </a:stretch>
        </p:blipFill>
        <p:spPr>
          <a:xfrm>
            <a:off x="530784" y="4481293"/>
            <a:ext cx="1539465" cy="581525"/>
          </a:xfrm>
          <a:prstGeom prst="rect">
            <a:avLst/>
          </a:prstGeom>
        </p:spPr>
      </p:pic>
    </p:spTree>
    <p:extLst>
      <p:ext uri="{BB962C8B-B14F-4D97-AF65-F5344CB8AC3E}">
        <p14:creationId xmlns:p14="http://schemas.microsoft.com/office/powerpoint/2010/main" val="46794803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4D5452E-CC80-4E11-A134-EB1485F3BA55}"/>
              </a:ext>
            </a:extLst>
          </p:cNvPr>
          <p:cNvGrpSpPr>
            <a:grpSpLocks noChangeAspect="1"/>
          </p:cNvGrpSpPr>
          <p:nvPr/>
        </p:nvGrpSpPr>
        <p:grpSpPr>
          <a:xfrm>
            <a:off x="6988302" y="0"/>
            <a:ext cx="2155698" cy="5148072"/>
            <a:chOff x="6988302" y="0"/>
            <a:chExt cx="2155698" cy="5148072"/>
          </a:xfrm>
        </p:grpSpPr>
        <p:sp>
          <p:nvSpPr>
            <p:cNvPr id="17" name="Rectangle 16">
              <a:extLst>
                <a:ext uri="{FF2B5EF4-FFF2-40B4-BE49-F238E27FC236}">
                  <a16:creationId xmlns:a16="http://schemas.microsoft.com/office/drawing/2014/main" id="{66CC669C-90F5-428D-9CEA-FA9552DB200B}"/>
                </a:ext>
              </a:extLst>
            </p:cNvPr>
            <p:cNvSpPr/>
            <p:nvPr/>
          </p:nvSpPr>
          <p:spPr>
            <a:xfrm>
              <a:off x="6988302" y="0"/>
              <a:ext cx="2155698" cy="5148072"/>
            </a:xfrm>
            <a:prstGeom prst="rect">
              <a:avLst/>
            </a:prstGeom>
            <a:solidFill>
              <a:srgbClr val="00A7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
              <a:extLst>
                <a:ext uri="{FF2B5EF4-FFF2-40B4-BE49-F238E27FC236}">
                  <a16:creationId xmlns:a16="http://schemas.microsoft.com/office/drawing/2014/main" id="{1E68BF0C-5F1C-427A-BC18-A8B4A0998504}"/>
                </a:ext>
              </a:extLst>
            </p:cNvPr>
            <p:cNvSpPr>
              <a:spLocks noChangeAspect="1" noChangeArrowheads="1"/>
            </p:cNvSpPr>
            <p:nvPr/>
          </p:nvSpPr>
          <p:spPr bwMode="auto">
            <a:xfrm>
              <a:off x="7046595" y="95678"/>
              <a:ext cx="2039112" cy="2052997"/>
            </a:xfrm>
            <a:custGeom>
              <a:avLst/>
              <a:gdLst>
                <a:gd name="T0" fmla="*/ 2464 w 4534"/>
                <a:gd name="T1" fmla="*/ 2232 h 4564"/>
                <a:gd name="T2" fmla="*/ 2080 w 4534"/>
                <a:gd name="T3" fmla="*/ 3739 h 4564"/>
                <a:gd name="T4" fmla="*/ 192 w 4534"/>
                <a:gd name="T5" fmla="*/ 3920 h 4564"/>
                <a:gd name="T6" fmla="*/ 192 w 4534"/>
                <a:gd name="T7" fmla="*/ 2032 h 4564"/>
                <a:gd name="T8" fmla="*/ 3827 w 4534"/>
                <a:gd name="T9" fmla="*/ 3423 h 4564"/>
                <a:gd name="T10" fmla="*/ 3827 w 4534"/>
                <a:gd name="T11" fmla="*/ 4563 h 4564"/>
                <a:gd name="T12" fmla="*/ 4019 w 4534"/>
                <a:gd name="T13" fmla="*/ 1538 h 4564"/>
                <a:gd name="T14" fmla="*/ 3635 w 4534"/>
                <a:gd name="T15" fmla="*/ 2294 h 4564"/>
                <a:gd name="T16" fmla="*/ 4019 w 4534"/>
                <a:gd name="T17" fmla="*/ 1538 h 4564"/>
                <a:gd name="T18" fmla="*/ 3827 w 4534"/>
                <a:gd name="T19" fmla="*/ 2731 h 4564"/>
                <a:gd name="T20" fmla="*/ 3827 w 4534"/>
                <a:gd name="T21" fmla="*/ 3242 h 4564"/>
                <a:gd name="T22" fmla="*/ 3827 w 4534"/>
                <a:gd name="T23" fmla="*/ 691 h 4564"/>
                <a:gd name="T24" fmla="*/ 3827 w 4534"/>
                <a:gd name="T25" fmla="*/ 1202 h 4564"/>
                <a:gd name="T26" fmla="*/ 4341 w 4534"/>
                <a:gd name="T27" fmla="*/ 1890 h 4564"/>
                <a:gd name="T28" fmla="*/ 4341 w 4534"/>
                <a:gd name="T29" fmla="*/ 0 h 4564"/>
                <a:gd name="T30" fmla="*/ 4149 w 4534"/>
                <a:gd name="T31" fmla="*/ 3745 h 4564"/>
                <a:gd name="T32" fmla="*/ 4533 w 4534"/>
                <a:gd name="T33" fmla="*/ 2238 h 4564"/>
                <a:gd name="T34" fmla="*/ 4149 w 4534"/>
                <a:gd name="T35" fmla="*/ 3745 h 4564"/>
                <a:gd name="T36" fmla="*/ 3099 w 4534"/>
                <a:gd name="T37" fmla="*/ 192 h 4564"/>
                <a:gd name="T38" fmla="*/ 3483 w 4534"/>
                <a:gd name="T39" fmla="*/ 948 h 4564"/>
                <a:gd name="T40" fmla="*/ 3291 w 4534"/>
                <a:gd name="T41" fmla="*/ 2046 h 4564"/>
                <a:gd name="T42" fmla="*/ 3291 w 4534"/>
                <a:gd name="T43" fmla="*/ 3186 h 4564"/>
                <a:gd name="T44" fmla="*/ 3483 w 4534"/>
                <a:gd name="T45" fmla="*/ 3615 h 4564"/>
                <a:gd name="T46" fmla="*/ 3099 w 4534"/>
                <a:gd name="T47" fmla="*/ 3742 h 4564"/>
                <a:gd name="T48" fmla="*/ 3483 w 4534"/>
                <a:gd name="T49" fmla="*/ 1665 h 4564"/>
                <a:gd name="T50" fmla="*/ 3099 w 4534"/>
                <a:gd name="T51" fmla="*/ 1538 h 4564"/>
                <a:gd name="T52" fmla="*/ 3483 w 4534"/>
                <a:gd name="T53" fmla="*/ 1665 h 4564"/>
                <a:gd name="T54" fmla="*/ 2591 w 4534"/>
                <a:gd name="T55" fmla="*/ 1538 h 4564"/>
                <a:gd name="T56" fmla="*/ 2975 w 4534"/>
                <a:gd name="T57" fmla="*/ 2294 h 4564"/>
                <a:gd name="T58" fmla="*/ 2783 w 4534"/>
                <a:gd name="T59" fmla="*/ 3423 h 4564"/>
                <a:gd name="T60" fmla="*/ 2783 w 4534"/>
                <a:gd name="T61" fmla="*/ 4563 h 4564"/>
                <a:gd name="T62" fmla="*/ 2975 w 4534"/>
                <a:gd name="T63" fmla="*/ 2923 h 4564"/>
                <a:gd name="T64" fmla="*/ 2591 w 4534"/>
                <a:gd name="T65" fmla="*/ 3050 h 4564"/>
                <a:gd name="T66" fmla="*/ 1945 w 4534"/>
                <a:gd name="T67" fmla="*/ 1538 h 4564"/>
                <a:gd name="T68" fmla="*/ 1561 w 4534"/>
                <a:gd name="T69" fmla="*/ 2294 h 4564"/>
                <a:gd name="T70" fmla="*/ 1945 w 4534"/>
                <a:gd name="T71" fmla="*/ 1538 h 4564"/>
                <a:gd name="T72" fmla="*/ 1753 w 4534"/>
                <a:gd name="T73" fmla="*/ 2731 h 4564"/>
                <a:gd name="T74" fmla="*/ 1753 w 4534"/>
                <a:gd name="T75" fmla="*/ 3242 h 4564"/>
                <a:gd name="T76" fmla="*/ 1231 w 4534"/>
                <a:gd name="T77" fmla="*/ 2046 h 4564"/>
                <a:gd name="T78" fmla="*/ 1231 w 4534"/>
                <a:gd name="T79" fmla="*/ 3186 h 4564"/>
                <a:gd name="T80" fmla="*/ 1423 w 4534"/>
                <a:gd name="T81" fmla="*/ 3615 h 4564"/>
                <a:gd name="T82" fmla="*/ 1039 w 4534"/>
                <a:gd name="T83" fmla="*/ 3742 h 4564"/>
                <a:gd name="T84" fmla="*/ 1423 w 4534"/>
                <a:gd name="T85" fmla="*/ 1665 h 4564"/>
                <a:gd name="T86" fmla="*/ 1039 w 4534"/>
                <a:gd name="T87" fmla="*/ 1538 h 4564"/>
                <a:gd name="T88" fmla="*/ 1423 w 4534"/>
                <a:gd name="T89" fmla="*/ 1665 h 4564"/>
                <a:gd name="T90" fmla="*/ 511 w 4534"/>
                <a:gd name="T91" fmla="*/ 1538 h 4564"/>
                <a:gd name="T92" fmla="*/ 895 w 4534"/>
                <a:gd name="T93" fmla="*/ 2294 h 4564"/>
                <a:gd name="T94" fmla="*/ 703 w 4534"/>
                <a:gd name="T95" fmla="*/ 2731 h 4564"/>
                <a:gd name="T96" fmla="*/ 703 w 4534"/>
                <a:gd name="T97" fmla="*/ 3242 h 4564"/>
                <a:gd name="T98" fmla="*/ 895 w 4534"/>
                <a:gd name="T99" fmla="*/ 883 h 4564"/>
                <a:gd name="T100" fmla="*/ 511 w 4534"/>
                <a:gd name="T101" fmla="*/ 1010 h 4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34" h="4564">
                  <a:moveTo>
                    <a:pt x="2080" y="2232"/>
                  </a:moveTo>
                  <a:cubicBezTo>
                    <a:pt x="2080" y="2128"/>
                    <a:pt x="2165" y="2040"/>
                    <a:pt x="2272" y="2040"/>
                  </a:cubicBezTo>
                  <a:lnTo>
                    <a:pt x="2272" y="2040"/>
                  </a:lnTo>
                  <a:cubicBezTo>
                    <a:pt x="2376" y="2040"/>
                    <a:pt x="2464" y="2125"/>
                    <a:pt x="2464" y="2232"/>
                  </a:cubicBezTo>
                  <a:lnTo>
                    <a:pt x="2464" y="3739"/>
                  </a:lnTo>
                  <a:cubicBezTo>
                    <a:pt x="2464" y="3843"/>
                    <a:pt x="2379" y="3931"/>
                    <a:pt x="2272" y="3931"/>
                  </a:cubicBezTo>
                  <a:lnTo>
                    <a:pt x="2272" y="3931"/>
                  </a:lnTo>
                  <a:cubicBezTo>
                    <a:pt x="2168" y="3931"/>
                    <a:pt x="2080" y="3846"/>
                    <a:pt x="2080" y="3739"/>
                  </a:cubicBezTo>
                  <a:lnTo>
                    <a:pt x="2080" y="2232"/>
                  </a:lnTo>
                  <a:close/>
                  <a:moveTo>
                    <a:pt x="0" y="3728"/>
                  </a:moveTo>
                  <a:cubicBezTo>
                    <a:pt x="0" y="3832"/>
                    <a:pt x="85" y="3920"/>
                    <a:pt x="192" y="3920"/>
                  </a:cubicBezTo>
                  <a:lnTo>
                    <a:pt x="192" y="3920"/>
                  </a:lnTo>
                  <a:cubicBezTo>
                    <a:pt x="297" y="3920"/>
                    <a:pt x="384" y="3835"/>
                    <a:pt x="384" y="3728"/>
                  </a:cubicBezTo>
                  <a:lnTo>
                    <a:pt x="384" y="2223"/>
                  </a:lnTo>
                  <a:cubicBezTo>
                    <a:pt x="384" y="2119"/>
                    <a:pt x="299" y="2032"/>
                    <a:pt x="192" y="2032"/>
                  </a:cubicBezTo>
                  <a:lnTo>
                    <a:pt x="192" y="2032"/>
                  </a:lnTo>
                  <a:cubicBezTo>
                    <a:pt x="88" y="2032"/>
                    <a:pt x="0" y="2116"/>
                    <a:pt x="0" y="2223"/>
                  </a:cubicBezTo>
                  <a:lnTo>
                    <a:pt x="0" y="3728"/>
                  </a:lnTo>
                  <a:close/>
                  <a:moveTo>
                    <a:pt x="4019" y="3615"/>
                  </a:moveTo>
                  <a:cubicBezTo>
                    <a:pt x="4019" y="3510"/>
                    <a:pt x="3934" y="3423"/>
                    <a:pt x="3827" y="3423"/>
                  </a:cubicBezTo>
                  <a:lnTo>
                    <a:pt x="3827" y="3423"/>
                  </a:lnTo>
                  <a:cubicBezTo>
                    <a:pt x="3723" y="3423"/>
                    <a:pt x="3635" y="3508"/>
                    <a:pt x="3635" y="3615"/>
                  </a:cubicBezTo>
                  <a:lnTo>
                    <a:pt x="3635" y="4371"/>
                  </a:lnTo>
                  <a:cubicBezTo>
                    <a:pt x="3635" y="4475"/>
                    <a:pt x="3720" y="4563"/>
                    <a:pt x="3827" y="4563"/>
                  </a:cubicBezTo>
                  <a:lnTo>
                    <a:pt x="3827" y="4563"/>
                  </a:lnTo>
                  <a:cubicBezTo>
                    <a:pt x="3931" y="4563"/>
                    <a:pt x="4019" y="4478"/>
                    <a:pt x="4019" y="4371"/>
                  </a:cubicBezTo>
                  <a:lnTo>
                    <a:pt x="4019" y="3615"/>
                  </a:lnTo>
                  <a:close/>
                  <a:moveTo>
                    <a:pt x="4019" y="1538"/>
                  </a:moveTo>
                  <a:cubicBezTo>
                    <a:pt x="4019" y="1433"/>
                    <a:pt x="3934" y="1346"/>
                    <a:pt x="3827" y="1346"/>
                  </a:cubicBezTo>
                  <a:lnTo>
                    <a:pt x="3827" y="1346"/>
                  </a:lnTo>
                  <a:cubicBezTo>
                    <a:pt x="3723" y="1346"/>
                    <a:pt x="3635" y="1430"/>
                    <a:pt x="3635" y="1538"/>
                  </a:cubicBezTo>
                  <a:lnTo>
                    <a:pt x="3635" y="2294"/>
                  </a:lnTo>
                  <a:cubicBezTo>
                    <a:pt x="3635" y="2398"/>
                    <a:pt x="3720" y="2486"/>
                    <a:pt x="3827" y="2486"/>
                  </a:cubicBezTo>
                  <a:lnTo>
                    <a:pt x="3827" y="2486"/>
                  </a:lnTo>
                  <a:cubicBezTo>
                    <a:pt x="3931" y="2486"/>
                    <a:pt x="4019" y="2401"/>
                    <a:pt x="4019" y="2294"/>
                  </a:cubicBezTo>
                  <a:lnTo>
                    <a:pt x="4019" y="1538"/>
                  </a:lnTo>
                  <a:close/>
                  <a:moveTo>
                    <a:pt x="4019" y="3050"/>
                  </a:moveTo>
                  <a:lnTo>
                    <a:pt x="4019" y="2923"/>
                  </a:lnTo>
                  <a:cubicBezTo>
                    <a:pt x="4019" y="2819"/>
                    <a:pt x="3934" y="2731"/>
                    <a:pt x="3827" y="2731"/>
                  </a:cubicBezTo>
                  <a:lnTo>
                    <a:pt x="3827" y="2731"/>
                  </a:lnTo>
                  <a:cubicBezTo>
                    <a:pt x="3723" y="2731"/>
                    <a:pt x="3635" y="2816"/>
                    <a:pt x="3635" y="2923"/>
                  </a:cubicBezTo>
                  <a:lnTo>
                    <a:pt x="3635" y="3050"/>
                  </a:lnTo>
                  <a:cubicBezTo>
                    <a:pt x="3635" y="3155"/>
                    <a:pt x="3720" y="3242"/>
                    <a:pt x="3827" y="3242"/>
                  </a:cubicBezTo>
                  <a:lnTo>
                    <a:pt x="3827" y="3242"/>
                  </a:lnTo>
                  <a:cubicBezTo>
                    <a:pt x="3934" y="3239"/>
                    <a:pt x="4019" y="3155"/>
                    <a:pt x="4019" y="3050"/>
                  </a:cubicBezTo>
                  <a:close/>
                  <a:moveTo>
                    <a:pt x="4019" y="1010"/>
                  </a:moveTo>
                  <a:lnTo>
                    <a:pt x="4019" y="883"/>
                  </a:lnTo>
                  <a:cubicBezTo>
                    <a:pt x="4019" y="779"/>
                    <a:pt x="3934" y="691"/>
                    <a:pt x="3827" y="691"/>
                  </a:cubicBezTo>
                  <a:lnTo>
                    <a:pt x="3827" y="691"/>
                  </a:lnTo>
                  <a:cubicBezTo>
                    <a:pt x="3723" y="691"/>
                    <a:pt x="3635" y="776"/>
                    <a:pt x="3635" y="883"/>
                  </a:cubicBezTo>
                  <a:lnTo>
                    <a:pt x="3635" y="1010"/>
                  </a:lnTo>
                  <a:cubicBezTo>
                    <a:pt x="3635" y="1114"/>
                    <a:pt x="3720" y="1202"/>
                    <a:pt x="3827" y="1202"/>
                  </a:cubicBezTo>
                  <a:lnTo>
                    <a:pt x="3827" y="1202"/>
                  </a:lnTo>
                  <a:cubicBezTo>
                    <a:pt x="3934" y="1199"/>
                    <a:pt x="4019" y="1114"/>
                    <a:pt x="4019" y="1010"/>
                  </a:cubicBezTo>
                  <a:close/>
                  <a:moveTo>
                    <a:pt x="4149" y="1699"/>
                  </a:moveTo>
                  <a:cubicBezTo>
                    <a:pt x="4149" y="1803"/>
                    <a:pt x="4233" y="1890"/>
                    <a:pt x="4341" y="1890"/>
                  </a:cubicBezTo>
                  <a:lnTo>
                    <a:pt x="4341" y="1890"/>
                  </a:lnTo>
                  <a:cubicBezTo>
                    <a:pt x="4445" y="1890"/>
                    <a:pt x="4533" y="1806"/>
                    <a:pt x="4533" y="1699"/>
                  </a:cubicBezTo>
                  <a:lnTo>
                    <a:pt x="4533" y="192"/>
                  </a:lnTo>
                  <a:cubicBezTo>
                    <a:pt x="4533" y="87"/>
                    <a:pt x="4448" y="0"/>
                    <a:pt x="4341" y="0"/>
                  </a:cubicBezTo>
                  <a:lnTo>
                    <a:pt x="4341" y="0"/>
                  </a:lnTo>
                  <a:cubicBezTo>
                    <a:pt x="4236" y="0"/>
                    <a:pt x="4149" y="84"/>
                    <a:pt x="4149" y="192"/>
                  </a:cubicBezTo>
                  <a:lnTo>
                    <a:pt x="4149" y="1699"/>
                  </a:lnTo>
                  <a:close/>
                  <a:moveTo>
                    <a:pt x="4149" y="3745"/>
                  </a:moveTo>
                  <a:cubicBezTo>
                    <a:pt x="4149" y="3849"/>
                    <a:pt x="4233" y="3936"/>
                    <a:pt x="4341" y="3936"/>
                  </a:cubicBezTo>
                  <a:lnTo>
                    <a:pt x="4341" y="3936"/>
                  </a:lnTo>
                  <a:cubicBezTo>
                    <a:pt x="4445" y="3936"/>
                    <a:pt x="4533" y="3852"/>
                    <a:pt x="4533" y="3745"/>
                  </a:cubicBezTo>
                  <a:lnTo>
                    <a:pt x="4533" y="2238"/>
                  </a:lnTo>
                  <a:cubicBezTo>
                    <a:pt x="4533" y="2133"/>
                    <a:pt x="4448" y="2046"/>
                    <a:pt x="4341" y="2046"/>
                  </a:cubicBezTo>
                  <a:lnTo>
                    <a:pt x="4341" y="2046"/>
                  </a:lnTo>
                  <a:cubicBezTo>
                    <a:pt x="4236" y="2046"/>
                    <a:pt x="4149" y="2130"/>
                    <a:pt x="4149" y="2238"/>
                  </a:cubicBezTo>
                  <a:lnTo>
                    <a:pt x="4149" y="3745"/>
                  </a:lnTo>
                  <a:close/>
                  <a:moveTo>
                    <a:pt x="3483" y="192"/>
                  </a:moveTo>
                  <a:cubicBezTo>
                    <a:pt x="3483" y="87"/>
                    <a:pt x="3398" y="0"/>
                    <a:pt x="3291" y="0"/>
                  </a:cubicBezTo>
                  <a:lnTo>
                    <a:pt x="3291" y="0"/>
                  </a:lnTo>
                  <a:cubicBezTo>
                    <a:pt x="3186" y="0"/>
                    <a:pt x="3099" y="84"/>
                    <a:pt x="3099" y="192"/>
                  </a:cubicBezTo>
                  <a:lnTo>
                    <a:pt x="3099" y="948"/>
                  </a:lnTo>
                  <a:cubicBezTo>
                    <a:pt x="3099" y="1052"/>
                    <a:pt x="3184" y="1140"/>
                    <a:pt x="3291" y="1140"/>
                  </a:cubicBezTo>
                  <a:lnTo>
                    <a:pt x="3291" y="1140"/>
                  </a:lnTo>
                  <a:cubicBezTo>
                    <a:pt x="3395" y="1140"/>
                    <a:pt x="3483" y="1055"/>
                    <a:pt x="3483" y="948"/>
                  </a:cubicBezTo>
                  <a:lnTo>
                    <a:pt x="3483" y="192"/>
                  </a:lnTo>
                  <a:close/>
                  <a:moveTo>
                    <a:pt x="3483" y="2238"/>
                  </a:moveTo>
                  <a:cubicBezTo>
                    <a:pt x="3483" y="2133"/>
                    <a:pt x="3398" y="2046"/>
                    <a:pt x="3291" y="2046"/>
                  </a:cubicBezTo>
                  <a:lnTo>
                    <a:pt x="3291" y="2046"/>
                  </a:lnTo>
                  <a:cubicBezTo>
                    <a:pt x="3186" y="2046"/>
                    <a:pt x="3099" y="2130"/>
                    <a:pt x="3099" y="2238"/>
                  </a:cubicBezTo>
                  <a:lnTo>
                    <a:pt x="3099" y="2994"/>
                  </a:lnTo>
                  <a:cubicBezTo>
                    <a:pt x="3099" y="3098"/>
                    <a:pt x="3184" y="3186"/>
                    <a:pt x="3291" y="3186"/>
                  </a:cubicBezTo>
                  <a:lnTo>
                    <a:pt x="3291" y="3186"/>
                  </a:lnTo>
                  <a:cubicBezTo>
                    <a:pt x="3395" y="3186"/>
                    <a:pt x="3483" y="3101"/>
                    <a:pt x="3483" y="2994"/>
                  </a:cubicBezTo>
                  <a:lnTo>
                    <a:pt x="3483" y="2238"/>
                  </a:lnTo>
                  <a:close/>
                  <a:moveTo>
                    <a:pt x="3483" y="3742"/>
                  </a:moveTo>
                  <a:lnTo>
                    <a:pt x="3483" y="3615"/>
                  </a:lnTo>
                  <a:cubicBezTo>
                    <a:pt x="3483" y="3510"/>
                    <a:pt x="3398" y="3423"/>
                    <a:pt x="3291" y="3423"/>
                  </a:cubicBezTo>
                  <a:lnTo>
                    <a:pt x="3291" y="3423"/>
                  </a:lnTo>
                  <a:cubicBezTo>
                    <a:pt x="3186" y="3423"/>
                    <a:pt x="3099" y="3508"/>
                    <a:pt x="3099" y="3615"/>
                  </a:cubicBezTo>
                  <a:lnTo>
                    <a:pt x="3099" y="3742"/>
                  </a:lnTo>
                  <a:cubicBezTo>
                    <a:pt x="3099" y="3846"/>
                    <a:pt x="3184" y="3934"/>
                    <a:pt x="3291" y="3934"/>
                  </a:cubicBezTo>
                  <a:lnTo>
                    <a:pt x="3291" y="3934"/>
                  </a:lnTo>
                  <a:cubicBezTo>
                    <a:pt x="3398" y="3931"/>
                    <a:pt x="3483" y="3846"/>
                    <a:pt x="3483" y="3742"/>
                  </a:cubicBezTo>
                  <a:close/>
                  <a:moveTo>
                    <a:pt x="3483" y="1665"/>
                  </a:moveTo>
                  <a:lnTo>
                    <a:pt x="3483" y="1538"/>
                  </a:lnTo>
                  <a:cubicBezTo>
                    <a:pt x="3483" y="1433"/>
                    <a:pt x="3398" y="1346"/>
                    <a:pt x="3291" y="1346"/>
                  </a:cubicBezTo>
                  <a:lnTo>
                    <a:pt x="3291" y="1346"/>
                  </a:lnTo>
                  <a:cubicBezTo>
                    <a:pt x="3186" y="1346"/>
                    <a:pt x="3099" y="1430"/>
                    <a:pt x="3099" y="1538"/>
                  </a:cubicBezTo>
                  <a:lnTo>
                    <a:pt x="3099" y="1665"/>
                  </a:lnTo>
                  <a:cubicBezTo>
                    <a:pt x="3099" y="1769"/>
                    <a:pt x="3184" y="1857"/>
                    <a:pt x="3291" y="1857"/>
                  </a:cubicBezTo>
                  <a:lnTo>
                    <a:pt x="3291" y="1857"/>
                  </a:lnTo>
                  <a:cubicBezTo>
                    <a:pt x="3398" y="1857"/>
                    <a:pt x="3483" y="1769"/>
                    <a:pt x="3483" y="1665"/>
                  </a:cubicBezTo>
                  <a:close/>
                  <a:moveTo>
                    <a:pt x="2975" y="1538"/>
                  </a:moveTo>
                  <a:cubicBezTo>
                    <a:pt x="2975" y="1433"/>
                    <a:pt x="2890" y="1346"/>
                    <a:pt x="2783" y="1346"/>
                  </a:cubicBezTo>
                  <a:lnTo>
                    <a:pt x="2783" y="1346"/>
                  </a:lnTo>
                  <a:cubicBezTo>
                    <a:pt x="2678" y="1346"/>
                    <a:pt x="2591" y="1430"/>
                    <a:pt x="2591" y="1538"/>
                  </a:cubicBezTo>
                  <a:lnTo>
                    <a:pt x="2591" y="2294"/>
                  </a:lnTo>
                  <a:cubicBezTo>
                    <a:pt x="2591" y="2398"/>
                    <a:pt x="2676" y="2486"/>
                    <a:pt x="2783" y="2486"/>
                  </a:cubicBezTo>
                  <a:lnTo>
                    <a:pt x="2783" y="2486"/>
                  </a:lnTo>
                  <a:cubicBezTo>
                    <a:pt x="2887" y="2486"/>
                    <a:pt x="2975" y="2401"/>
                    <a:pt x="2975" y="2294"/>
                  </a:cubicBezTo>
                  <a:lnTo>
                    <a:pt x="2975" y="1538"/>
                  </a:lnTo>
                  <a:close/>
                  <a:moveTo>
                    <a:pt x="2975" y="3615"/>
                  </a:moveTo>
                  <a:cubicBezTo>
                    <a:pt x="2975" y="3510"/>
                    <a:pt x="2890" y="3423"/>
                    <a:pt x="2783" y="3423"/>
                  </a:cubicBezTo>
                  <a:lnTo>
                    <a:pt x="2783" y="3423"/>
                  </a:lnTo>
                  <a:cubicBezTo>
                    <a:pt x="2678" y="3423"/>
                    <a:pt x="2591" y="3508"/>
                    <a:pt x="2591" y="3615"/>
                  </a:cubicBezTo>
                  <a:lnTo>
                    <a:pt x="2591" y="4371"/>
                  </a:lnTo>
                  <a:cubicBezTo>
                    <a:pt x="2591" y="4475"/>
                    <a:pt x="2676" y="4563"/>
                    <a:pt x="2783" y="4563"/>
                  </a:cubicBezTo>
                  <a:lnTo>
                    <a:pt x="2783" y="4563"/>
                  </a:lnTo>
                  <a:cubicBezTo>
                    <a:pt x="2887" y="4563"/>
                    <a:pt x="2975" y="4478"/>
                    <a:pt x="2975" y="4371"/>
                  </a:cubicBezTo>
                  <a:lnTo>
                    <a:pt x="2975" y="3615"/>
                  </a:lnTo>
                  <a:close/>
                  <a:moveTo>
                    <a:pt x="2975" y="3050"/>
                  </a:moveTo>
                  <a:lnTo>
                    <a:pt x="2975" y="2923"/>
                  </a:lnTo>
                  <a:cubicBezTo>
                    <a:pt x="2975" y="2819"/>
                    <a:pt x="2890" y="2731"/>
                    <a:pt x="2783" y="2731"/>
                  </a:cubicBezTo>
                  <a:lnTo>
                    <a:pt x="2783" y="2731"/>
                  </a:lnTo>
                  <a:cubicBezTo>
                    <a:pt x="2678" y="2731"/>
                    <a:pt x="2591" y="2816"/>
                    <a:pt x="2591" y="2923"/>
                  </a:cubicBezTo>
                  <a:lnTo>
                    <a:pt x="2591" y="3050"/>
                  </a:lnTo>
                  <a:cubicBezTo>
                    <a:pt x="2591" y="3155"/>
                    <a:pt x="2676" y="3242"/>
                    <a:pt x="2783" y="3242"/>
                  </a:cubicBezTo>
                  <a:lnTo>
                    <a:pt x="2783" y="3242"/>
                  </a:lnTo>
                  <a:cubicBezTo>
                    <a:pt x="2890" y="3239"/>
                    <a:pt x="2975" y="3155"/>
                    <a:pt x="2975" y="3050"/>
                  </a:cubicBezTo>
                  <a:close/>
                  <a:moveTo>
                    <a:pt x="1945" y="1538"/>
                  </a:moveTo>
                  <a:cubicBezTo>
                    <a:pt x="1945" y="1433"/>
                    <a:pt x="1860" y="1346"/>
                    <a:pt x="1753" y="1346"/>
                  </a:cubicBezTo>
                  <a:lnTo>
                    <a:pt x="1753" y="1346"/>
                  </a:lnTo>
                  <a:cubicBezTo>
                    <a:pt x="1648" y="1346"/>
                    <a:pt x="1561" y="1430"/>
                    <a:pt x="1561" y="1538"/>
                  </a:cubicBezTo>
                  <a:lnTo>
                    <a:pt x="1561" y="2294"/>
                  </a:lnTo>
                  <a:cubicBezTo>
                    <a:pt x="1561" y="2398"/>
                    <a:pt x="1646" y="2486"/>
                    <a:pt x="1753" y="2486"/>
                  </a:cubicBezTo>
                  <a:lnTo>
                    <a:pt x="1753" y="2486"/>
                  </a:lnTo>
                  <a:cubicBezTo>
                    <a:pt x="1857" y="2486"/>
                    <a:pt x="1945" y="2401"/>
                    <a:pt x="1945" y="2294"/>
                  </a:cubicBezTo>
                  <a:lnTo>
                    <a:pt x="1945" y="1538"/>
                  </a:lnTo>
                  <a:close/>
                  <a:moveTo>
                    <a:pt x="1945" y="3050"/>
                  </a:moveTo>
                  <a:lnTo>
                    <a:pt x="1945" y="2923"/>
                  </a:lnTo>
                  <a:cubicBezTo>
                    <a:pt x="1945" y="2819"/>
                    <a:pt x="1860" y="2731"/>
                    <a:pt x="1753" y="2731"/>
                  </a:cubicBezTo>
                  <a:lnTo>
                    <a:pt x="1753" y="2731"/>
                  </a:lnTo>
                  <a:cubicBezTo>
                    <a:pt x="1648" y="2731"/>
                    <a:pt x="1561" y="2816"/>
                    <a:pt x="1561" y="2923"/>
                  </a:cubicBezTo>
                  <a:lnTo>
                    <a:pt x="1561" y="3050"/>
                  </a:lnTo>
                  <a:cubicBezTo>
                    <a:pt x="1561" y="3155"/>
                    <a:pt x="1646" y="3242"/>
                    <a:pt x="1753" y="3242"/>
                  </a:cubicBezTo>
                  <a:lnTo>
                    <a:pt x="1753" y="3242"/>
                  </a:lnTo>
                  <a:cubicBezTo>
                    <a:pt x="1860" y="3239"/>
                    <a:pt x="1945" y="3155"/>
                    <a:pt x="1945" y="3050"/>
                  </a:cubicBezTo>
                  <a:close/>
                  <a:moveTo>
                    <a:pt x="1423" y="2238"/>
                  </a:moveTo>
                  <a:cubicBezTo>
                    <a:pt x="1423" y="2133"/>
                    <a:pt x="1338" y="2046"/>
                    <a:pt x="1231" y="2046"/>
                  </a:cubicBezTo>
                  <a:lnTo>
                    <a:pt x="1231" y="2046"/>
                  </a:lnTo>
                  <a:cubicBezTo>
                    <a:pt x="1126" y="2046"/>
                    <a:pt x="1039" y="2130"/>
                    <a:pt x="1039" y="2238"/>
                  </a:cubicBezTo>
                  <a:lnTo>
                    <a:pt x="1039" y="2994"/>
                  </a:lnTo>
                  <a:cubicBezTo>
                    <a:pt x="1039" y="3098"/>
                    <a:pt x="1123" y="3186"/>
                    <a:pt x="1231" y="3186"/>
                  </a:cubicBezTo>
                  <a:lnTo>
                    <a:pt x="1231" y="3186"/>
                  </a:lnTo>
                  <a:cubicBezTo>
                    <a:pt x="1335" y="3186"/>
                    <a:pt x="1423" y="3101"/>
                    <a:pt x="1423" y="2994"/>
                  </a:cubicBezTo>
                  <a:lnTo>
                    <a:pt x="1423" y="2238"/>
                  </a:lnTo>
                  <a:close/>
                  <a:moveTo>
                    <a:pt x="1423" y="3742"/>
                  </a:moveTo>
                  <a:lnTo>
                    <a:pt x="1423" y="3615"/>
                  </a:lnTo>
                  <a:cubicBezTo>
                    <a:pt x="1423" y="3510"/>
                    <a:pt x="1338" y="3423"/>
                    <a:pt x="1231" y="3423"/>
                  </a:cubicBezTo>
                  <a:lnTo>
                    <a:pt x="1231" y="3423"/>
                  </a:lnTo>
                  <a:cubicBezTo>
                    <a:pt x="1126" y="3423"/>
                    <a:pt x="1039" y="3508"/>
                    <a:pt x="1039" y="3615"/>
                  </a:cubicBezTo>
                  <a:lnTo>
                    <a:pt x="1039" y="3742"/>
                  </a:lnTo>
                  <a:cubicBezTo>
                    <a:pt x="1039" y="3846"/>
                    <a:pt x="1123" y="3934"/>
                    <a:pt x="1231" y="3934"/>
                  </a:cubicBezTo>
                  <a:lnTo>
                    <a:pt x="1231" y="3934"/>
                  </a:lnTo>
                  <a:cubicBezTo>
                    <a:pt x="1338" y="3931"/>
                    <a:pt x="1423" y="3846"/>
                    <a:pt x="1423" y="3742"/>
                  </a:cubicBezTo>
                  <a:close/>
                  <a:moveTo>
                    <a:pt x="1423" y="1665"/>
                  </a:moveTo>
                  <a:lnTo>
                    <a:pt x="1423" y="1538"/>
                  </a:lnTo>
                  <a:cubicBezTo>
                    <a:pt x="1423" y="1433"/>
                    <a:pt x="1338" y="1346"/>
                    <a:pt x="1231" y="1346"/>
                  </a:cubicBezTo>
                  <a:lnTo>
                    <a:pt x="1231" y="1346"/>
                  </a:lnTo>
                  <a:cubicBezTo>
                    <a:pt x="1126" y="1346"/>
                    <a:pt x="1039" y="1430"/>
                    <a:pt x="1039" y="1538"/>
                  </a:cubicBezTo>
                  <a:lnTo>
                    <a:pt x="1039" y="1665"/>
                  </a:lnTo>
                  <a:cubicBezTo>
                    <a:pt x="1039" y="1769"/>
                    <a:pt x="1123" y="1857"/>
                    <a:pt x="1231" y="1857"/>
                  </a:cubicBezTo>
                  <a:lnTo>
                    <a:pt x="1231" y="1857"/>
                  </a:lnTo>
                  <a:cubicBezTo>
                    <a:pt x="1338" y="1857"/>
                    <a:pt x="1423" y="1769"/>
                    <a:pt x="1423" y="1665"/>
                  </a:cubicBezTo>
                  <a:close/>
                  <a:moveTo>
                    <a:pt x="895" y="1538"/>
                  </a:moveTo>
                  <a:cubicBezTo>
                    <a:pt x="895" y="1433"/>
                    <a:pt x="810" y="1346"/>
                    <a:pt x="703" y="1346"/>
                  </a:cubicBezTo>
                  <a:lnTo>
                    <a:pt x="703" y="1346"/>
                  </a:lnTo>
                  <a:cubicBezTo>
                    <a:pt x="599" y="1346"/>
                    <a:pt x="511" y="1430"/>
                    <a:pt x="511" y="1538"/>
                  </a:cubicBezTo>
                  <a:lnTo>
                    <a:pt x="511" y="2294"/>
                  </a:lnTo>
                  <a:cubicBezTo>
                    <a:pt x="511" y="2398"/>
                    <a:pt x="596" y="2486"/>
                    <a:pt x="703" y="2486"/>
                  </a:cubicBezTo>
                  <a:lnTo>
                    <a:pt x="703" y="2486"/>
                  </a:lnTo>
                  <a:cubicBezTo>
                    <a:pt x="807" y="2486"/>
                    <a:pt x="895" y="2401"/>
                    <a:pt x="895" y="2294"/>
                  </a:cubicBezTo>
                  <a:lnTo>
                    <a:pt x="895" y="1538"/>
                  </a:lnTo>
                  <a:close/>
                  <a:moveTo>
                    <a:pt x="895" y="3050"/>
                  </a:moveTo>
                  <a:lnTo>
                    <a:pt x="895" y="2923"/>
                  </a:lnTo>
                  <a:cubicBezTo>
                    <a:pt x="895" y="2819"/>
                    <a:pt x="810" y="2731"/>
                    <a:pt x="703" y="2731"/>
                  </a:cubicBezTo>
                  <a:lnTo>
                    <a:pt x="703" y="2731"/>
                  </a:lnTo>
                  <a:cubicBezTo>
                    <a:pt x="599" y="2731"/>
                    <a:pt x="511" y="2816"/>
                    <a:pt x="511" y="2923"/>
                  </a:cubicBezTo>
                  <a:lnTo>
                    <a:pt x="511" y="3050"/>
                  </a:lnTo>
                  <a:cubicBezTo>
                    <a:pt x="511" y="3155"/>
                    <a:pt x="596" y="3242"/>
                    <a:pt x="703" y="3242"/>
                  </a:cubicBezTo>
                  <a:lnTo>
                    <a:pt x="703" y="3242"/>
                  </a:lnTo>
                  <a:cubicBezTo>
                    <a:pt x="810" y="3239"/>
                    <a:pt x="895" y="3155"/>
                    <a:pt x="895" y="3050"/>
                  </a:cubicBezTo>
                  <a:close/>
                  <a:moveTo>
                    <a:pt x="895" y="1010"/>
                  </a:moveTo>
                  <a:lnTo>
                    <a:pt x="895" y="883"/>
                  </a:lnTo>
                  <a:cubicBezTo>
                    <a:pt x="895" y="779"/>
                    <a:pt x="810" y="691"/>
                    <a:pt x="703" y="691"/>
                  </a:cubicBezTo>
                  <a:lnTo>
                    <a:pt x="703" y="691"/>
                  </a:lnTo>
                  <a:cubicBezTo>
                    <a:pt x="599" y="691"/>
                    <a:pt x="511" y="776"/>
                    <a:pt x="511" y="883"/>
                  </a:cubicBezTo>
                  <a:lnTo>
                    <a:pt x="511" y="1010"/>
                  </a:lnTo>
                  <a:cubicBezTo>
                    <a:pt x="511" y="1114"/>
                    <a:pt x="596" y="1202"/>
                    <a:pt x="703" y="1202"/>
                  </a:cubicBezTo>
                  <a:lnTo>
                    <a:pt x="703" y="1202"/>
                  </a:lnTo>
                  <a:cubicBezTo>
                    <a:pt x="810" y="1199"/>
                    <a:pt x="895" y="1114"/>
                    <a:pt x="895" y="1010"/>
                  </a:cubicBezTo>
                  <a:close/>
                </a:path>
              </a:pathLst>
            </a:custGeom>
            <a:solidFill>
              <a:srgbClr val="2BB4E6"/>
            </a:solidFill>
            <a:ln w="9525" cap="flat">
              <a:noFill/>
              <a:bevel/>
              <a:headEnd/>
              <a:tailEnd/>
            </a:ln>
            <a:effectLst/>
          </p:spPr>
          <p:txBody>
            <a:bodyPr wrap="none" anchor="ctr"/>
            <a:lstStyle/>
            <a:p>
              <a:endParaRPr lang="en-US"/>
            </a:p>
          </p:txBody>
        </p:sp>
      </p:grpSp>
      <p:sp>
        <p:nvSpPr>
          <p:cNvPr id="5" name="Content Placeholder 4"/>
          <p:cNvSpPr>
            <a:spLocks noGrp="1"/>
          </p:cNvSpPr>
          <p:nvPr>
            <p:ph sz="quarter" idx="11" hasCustomPrompt="1"/>
          </p:nvPr>
        </p:nvSpPr>
        <p:spPr>
          <a:xfrm>
            <a:off x="436564" y="1205898"/>
            <a:ext cx="6126480" cy="3392424"/>
          </a:xfrm>
          <a:prstGeom prst="rect">
            <a:avLst/>
          </a:prstGeom>
        </p:spPr>
        <p:txBody>
          <a:bodyPr/>
          <a:lstStyle>
            <a:lvl1pPr>
              <a:spcBef>
                <a:spcPts val="1110"/>
              </a:spcBef>
              <a:buClr>
                <a:schemeClr val="tx1"/>
              </a:buClr>
              <a:buSzPct val="80000"/>
              <a:defRPr lang="en-US" sz="16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1pPr>
            <a:lvl2pPr marL="341313" indent="-171450">
              <a:spcBef>
                <a:spcPts val="600"/>
              </a:spcBef>
              <a:buClr>
                <a:schemeClr val="tx1"/>
              </a:buClr>
              <a:buSzPct val="80000"/>
              <a:defRPr lang="en-US" sz="12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2pPr>
            <a:lvl3pPr>
              <a:defRPr lang="en-US" sz="20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3pPr>
            <a:lvl4pPr>
              <a:defRPr lang="en-US" sz="20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4pPr>
          </a:lstStyle>
          <a:p>
            <a:pPr lvl="0"/>
            <a:r>
              <a:rPr lang="en-US"/>
              <a:t>Click to edit Master text styles</a:t>
            </a:r>
          </a:p>
          <a:p>
            <a:pPr lvl="1"/>
            <a:r>
              <a:rPr lang="en-US"/>
              <a:t>Second level</a:t>
            </a:r>
          </a:p>
        </p:txBody>
      </p:sp>
      <p:sp>
        <p:nvSpPr>
          <p:cNvPr id="104" name="Slide Number Placeholder 1"/>
          <p:cNvSpPr>
            <a:spLocks noGrp="1"/>
          </p:cNvSpPr>
          <p:nvPr>
            <p:ph type="sldNum" sz="quarter" idx="4"/>
          </p:nvPr>
        </p:nvSpPr>
        <p:spPr bwMode="white">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12" name="Picture 11">
            <a:extLst>
              <a:ext uri="{FF2B5EF4-FFF2-40B4-BE49-F238E27FC236}">
                <a16:creationId xmlns:a16="http://schemas.microsoft.com/office/drawing/2014/main" id="{078A2F4B-79B5-AE4D-883E-7CD9324958A3}"/>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5" name="Footer Placeholder 2">
            <a:extLst>
              <a:ext uri="{FF2B5EF4-FFF2-40B4-BE49-F238E27FC236}">
                <a16:creationId xmlns:a16="http://schemas.microsoft.com/office/drawing/2014/main" id="{90D5DEC9-CAA6-7245-8E4F-DDCD4075A4D9}"/>
              </a:ext>
            </a:extLst>
          </p:cNvPr>
          <p:cNvSpPr>
            <a:spLocks noGrp="1"/>
          </p:cNvSpPr>
          <p:nvPr>
            <p:ph type="ftr" sz="quarter" idx="3"/>
          </p:nvPr>
        </p:nvSpPr>
        <p:spPr>
          <a:xfrm>
            <a:off x="4478296"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 ID</a:t>
            </a:r>
          </a:p>
        </p:txBody>
      </p:sp>
      <p:sp>
        <p:nvSpPr>
          <p:cNvPr id="11" name="Rectangle 4">
            <a:extLst>
              <a:ext uri="{FF2B5EF4-FFF2-40B4-BE49-F238E27FC236}">
                <a16:creationId xmlns:a16="http://schemas.microsoft.com/office/drawing/2014/main" id="{BA0A271A-09F5-5842-B50E-34026DBC91FA}"/>
              </a:ext>
            </a:extLst>
          </p:cNvPr>
          <p:cNvSpPr>
            <a:spLocks noChangeArrowheads="1"/>
          </p:cNvSpPr>
          <p:nvPr userDrawn="1"/>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3" name="Title 18">
            <a:extLst>
              <a:ext uri="{FF2B5EF4-FFF2-40B4-BE49-F238E27FC236}">
                <a16:creationId xmlns:a16="http://schemas.microsoft.com/office/drawing/2014/main" id="{611A4810-0420-D74E-9F42-04DD80FE7728}"/>
              </a:ext>
            </a:extLst>
          </p:cNvPr>
          <p:cNvSpPr>
            <a:spLocks noGrp="1"/>
          </p:cNvSpPr>
          <p:nvPr>
            <p:ph type="title"/>
          </p:nvPr>
        </p:nvSpPr>
        <p:spPr>
          <a:xfrm>
            <a:off x="448056" y="192024"/>
            <a:ext cx="6126480" cy="731837"/>
          </a:xfrm>
        </p:spPr>
        <p:txBody>
          <a:bodyPr anchor="t"/>
          <a:lstStyle>
            <a:lvl1pPr>
              <a:defRPr>
                <a:latin typeface="CiscoSansTT Light" panose="020B0503020201020303" pitchFamily="34" charset="0"/>
              </a:defRPr>
            </a:lvl1pPr>
          </a:lstStyle>
          <a:p>
            <a:r>
              <a:rPr lang="en-US">
                <a:solidFill>
                  <a:srgbClr val="005073"/>
                </a:solidFill>
              </a:rPr>
              <a:t>Agenda</a:t>
            </a:r>
            <a:endParaRPr lang="en-US"/>
          </a:p>
        </p:txBody>
      </p:sp>
    </p:spTree>
    <p:extLst>
      <p:ext uri="{BB962C8B-B14F-4D97-AF65-F5344CB8AC3E}">
        <p14:creationId xmlns:p14="http://schemas.microsoft.com/office/powerpoint/2010/main" val="144952557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398E666-1ED6-44E9-B48B-E2201C087164}"/>
              </a:ext>
            </a:extLst>
          </p:cNvPr>
          <p:cNvGrpSpPr>
            <a:grpSpLocks noChangeAspect="1"/>
          </p:cNvGrpSpPr>
          <p:nvPr userDrawn="1"/>
        </p:nvGrpSpPr>
        <p:grpSpPr>
          <a:xfrm>
            <a:off x="0" y="4300141"/>
            <a:ext cx="9144000" cy="843359"/>
            <a:chOff x="0" y="2149015"/>
            <a:chExt cx="9144000" cy="843359"/>
          </a:xfrm>
        </p:grpSpPr>
        <p:sp>
          <p:nvSpPr>
            <p:cNvPr id="15" name="Rectangle 14">
              <a:extLst>
                <a:ext uri="{FF2B5EF4-FFF2-40B4-BE49-F238E27FC236}">
                  <a16:creationId xmlns:a16="http://schemas.microsoft.com/office/drawing/2014/main" id="{F4A23456-E4E3-408D-B732-A43347337DEC}"/>
                </a:ext>
              </a:extLst>
            </p:cNvPr>
            <p:cNvSpPr/>
            <p:nvPr/>
          </p:nvSpPr>
          <p:spPr>
            <a:xfrm>
              <a:off x="0" y="2149015"/>
              <a:ext cx="9144000" cy="843359"/>
            </a:xfrm>
            <a:prstGeom prst="rect">
              <a:avLst/>
            </a:prstGeom>
            <a:solidFill>
              <a:srgbClr val="00A7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
              <a:extLst>
                <a:ext uri="{FF2B5EF4-FFF2-40B4-BE49-F238E27FC236}">
                  <a16:creationId xmlns:a16="http://schemas.microsoft.com/office/drawing/2014/main" id="{9EA40011-D7A0-436B-B667-8600E9AA0084}"/>
                </a:ext>
              </a:extLst>
            </p:cNvPr>
            <p:cNvSpPr>
              <a:spLocks noChangeAspect="1" noChangeArrowheads="1"/>
            </p:cNvSpPr>
            <p:nvPr/>
          </p:nvSpPr>
          <p:spPr bwMode="auto">
            <a:xfrm>
              <a:off x="0" y="2149015"/>
              <a:ext cx="9144000" cy="843359"/>
            </a:xfrm>
            <a:custGeom>
              <a:avLst/>
              <a:gdLst>
                <a:gd name="T0" fmla="*/ 13393 w 20319"/>
                <a:gd name="T1" fmla="*/ 875 h 1872"/>
                <a:gd name="T2" fmla="*/ 13579 w 20319"/>
                <a:gd name="T3" fmla="*/ 0 h 1872"/>
                <a:gd name="T4" fmla="*/ 14964 w 20319"/>
                <a:gd name="T5" fmla="*/ 381 h 1872"/>
                <a:gd name="T6" fmla="*/ 9700 w 20319"/>
                <a:gd name="T7" fmla="*/ 378 h 1872"/>
                <a:gd name="T8" fmla="*/ 14315 w 20319"/>
                <a:gd name="T9" fmla="*/ 259 h 1872"/>
                <a:gd name="T10" fmla="*/ 13855 w 20319"/>
                <a:gd name="T11" fmla="*/ 1301 h 1872"/>
                <a:gd name="T12" fmla="*/ 13855 w 20319"/>
                <a:gd name="T13" fmla="*/ 70 h 1872"/>
                <a:gd name="T14" fmla="*/ 13116 w 20319"/>
                <a:gd name="T15" fmla="*/ 1611 h 1872"/>
                <a:gd name="T16" fmla="*/ 10435 w 20319"/>
                <a:gd name="T17" fmla="*/ 1304 h 1872"/>
                <a:gd name="T18" fmla="*/ 10435 w 20319"/>
                <a:gd name="T19" fmla="*/ 1798 h 1872"/>
                <a:gd name="T20" fmla="*/ 10160 w 20319"/>
                <a:gd name="T21" fmla="*/ 567 h 1872"/>
                <a:gd name="T22" fmla="*/ 10160 w 20319"/>
                <a:gd name="T23" fmla="*/ 1182 h 1872"/>
                <a:gd name="T24" fmla="*/ 11358 w 20319"/>
                <a:gd name="T25" fmla="*/ 0 h 1872"/>
                <a:gd name="T26" fmla="*/ 11730 w 20319"/>
                <a:gd name="T27" fmla="*/ 1798 h 1872"/>
                <a:gd name="T28" fmla="*/ 11544 w 20319"/>
                <a:gd name="T29" fmla="*/ 875 h 1872"/>
                <a:gd name="T30" fmla="*/ 12744 w 20319"/>
                <a:gd name="T31" fmla="*/ 257 h 1872"/>
                <a:gd name="T32" fmla="*/ 18199 w 20319"/>
                <a:gd name="T33" fmla="*/ 0 h 1872"/>
                <a:gd name="T34" fmla="*/ 17736 w 20319"/>
                <a:gd name="T35" fmla="*/ 381 h 1872"/>
                <a:gd name="T36" fmla="*/ 18749 w 20319"/>
                <a:gd name="T37" fmla="*/ 1179 h 1872"/>
                <a:gd name="T38" fmla="*/ 20044 w 20319"/>
                <a:gd name="T39" fmla="*/ 1798 h 1872"/>
                <a:gd name="T40" fmla="*/ 17363 w 20319"/>
                <a:gd name="T41" fmla="*/ 872 h 1872"/>
                <a:gd name="T42" fmla="*/ 19584 w 20319"/>
                <a:gd name="T43" fmla="*/ 1487 h 1872"/>
                <a:gd name="T44" fmla="*/ 19398 w 20319"/>
                <a:gd name="T45" fmla="*/ 1182 h 1872"/>
                <a:gd name="T46" fmla="*/ 15515 w 20319"/>
                <a:gd name="T47" fmla="*/ 257 h 1872"/>
                <a:gd name="T48" fmla="*/ 15887 w 20319"/>
                <a:gd name="T49" fmla="*/ 872 h 1872"/>
                <a:gd name="T50" fmla="*/ 15241 w 20319"/>
                <a:gd name="T51" fmla="*/ 1490 h 1872"/>
                <a:gd name="T52" fmla="*/ 17549 w 20319"/>
                <a:gd name="T53" fmla="*/ 1301 h 1872"/>
                <a:gd name="T54" fmla="*/ 17087 w 20319"/>
                <a:gd name="T55" fmla="*/ 1490 h 1872"/>
                <a:gd name="T56" fmla="*/ 17273 w 20319"/>
                <a:gd name="T57" fmla="*/ 1871 h 1872"/>
                <a:gd name="T58" fmla="*/ 16627 w 20319"/>
                <a:gd name="T59" fmla="*/ 70 h 1872"/>
                <a:gd name="T60" fmla="*/ 2771 w 20319"/>
                <a:gd name="T61" fmla="*/ 1182 h 1872"/>
                <a:gd name="T62" fmla="*/ 2585 w 20319"/>
                <a:gd name="T63" fmla="*/ 257 h 1872"/>
                <a:gd name="T64" fmla="*/ 2495 w 20319"/>
                <a:gd name="T65" fmla="*/ 1304 h 1872"/>
                <a:gd name="T66" fmla="*/ 2122 w 20319"/>
                <a:gd name="T67" fmla="*/ 0 h 1872"/>
                <a:gd name="T68" fmla="*/ 4157 w 20319"/>
                <a:gd name="T69" fmla="*/ 875 h 1872"/>
                <a:gd name="T70" fmla="*/ 3971 w 20319"/>
                <a:gd name="T71" fmla="*/ 1798 h 1872"/>
                <a:gd name="T72" fmla="*/ 3880 w 20319"/>
                <a:gd name="T73" fmla="*/ 1487 h 1872"/>
                <a:gd name="T74" fmla="*/ 3694 w 20319"/>
                <a:gd name="T75" fmla="*/ 1182 h 1872"/>
                <a:gd name="T76" fmla="*/ 186 w 20319"/>
                <a:gd name="T77" fmla="*/ 257 h 1872"/>
                <a:gd name="T78" fmla="*/ 186 w 20319"/>
                <a:gd name="T79" fmla="*/ 1487 h 1872"/>
                <a:gd name="T80" fmla="*/ 4803 w 20319"/>
                <a:gd name="T81" fmla="*/ 1487 h 1872"/>
                <a:gd name="T82" fmla="*/ 1572 w 20319"/>
                <a:gd name="T83" fmla="*/ 73 h 1872"/>
                <a:gd name="T84" fmla="*/ 1386 w 20319"/>
                <a:gd name="T85" fmla="*/ 875 h 1872"/>
                <a:gd name="T86" fmla="*/ 1199 w 20319"/>
                <a:gd name="T87" fmla="*/ 1871 h 1872"/>
                <a:gd name="T88" fmla="*/ 1109 w 20319"/>
                <a:gd name="T89" fmla="*/ 257 h 1872"/>
                <a:gd name="T90" fmla="*/ 7851 w 20319"/>
                <a:gd name="T91" fmla="*/ 1490 h 1872"/>
                <a:gd name="T92" fmla="*/ 8128 w 20319"/>
                <a:gd name="T93" fmla="*/ 1487 h 1872"/>
                <a:gd name="T94" fmla="*/ 8037 w 20319"/>
                <a:gd name="T95" fmla="*/ 1798 h 1872"/>
                <a:gd name="T96" fmla="*/ 9513 w 20319"/>
                <a:gd name="T97" fmla="*/ 1304 h 1872"/>
                <a:gd name="T98" fmla="*/ 9423 w 20319"/>
                <a:gd name="T99" fmla="*/ 1487 h 1872"/>
                <a:gd name="T100" fmla="*/ 9886 w 20319"/>
                <a:gd name="T101" fmla="*/ 1871 h 1872"/>
                <a:gd name="T102" fmla="*/ 8588 w 20319"/>
                <a:gd name="T103" fmla="*/ 0 h 1872"/>
                <a:gd name="T104" fmla="*/ 9423 w 20319"/>
                <a:gd name="T105" fmla="*/ 257 h 1872"/>
                <a:gd name="T106" fmla="*/ 6189 w 20319"/>
                <a:gd name="T107" fmla="*/ 1871 h 1872"/>
                <a:gd name="T108" fmla="*/ 5356 w 20319"/>
                <a:gd name="T109" fmla="*/ 1487 h 1872"/>
                <a:gd name="T110" fmla="*/ 5266 w 20319"/>
                <a:gd name="T111" fmla="*/ 1179 h 1872"/>
                <a:gd name="T112" fmla="*/ 6279 w 20319"/>
                <a:gd name="T113" fmla="*/ 872 h 1872"/>
                <a:gd name="T114" fmla="*/ 6928 w 20319"/>
                <a:gd name="T115" fmla="*/ 875 h 1872"/>
                <a:gd name="T116" fmla="*/ 6465 w 20319"/>
                <a:gd name="T117" fmla="*/ 1301 h 1872"/>
                <a:gd name="T118" fmla="*/ 5816 w 20319"/>
                <a:gd name="T119" fmla="*/ 0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319" h="1872">
                  <a:moveTo>
                    <a:pt x="13206" y="1304"/>
                  </a:moveTo>
                  <a:lnTo>
                    <a:pt x="13206" y="1179"/>
                  </a:lnTo>
                  <a:cubicBezTo>
                    <a:pt x="13206" y="1078"/>
                    <a:pt x="13291" y="993"/>
                    <a:pt x="13393" y="993"/>
                  </a:cubicBezTo>
                  <a:lnTo>
                    <a:pt x="13393" y="993"/>
                  </a:lnTo>
                  <a:cubicBezTo>
                    <a:pt x="13494" y="993"/>
                    <a:pt x="13579" y="1078"/>
                    <a:pt x="13579" y="1179"/>
                  </a:cubicBezTo>
                  <a:lnTo>
                    <a:pt x="13579" y="1304"/>
                  </a:lnTo>
                  <a:cubicBezTo>
                    <a:pt x="13579" y="1405"/>
                    <a:pt x="13494" y="1490"/>
                    <a:pt x="13393" y="1490"/>
                  </a:cubicBezTo>
                  <a:lnTo>
                    <a:pt x="13393" y="1490"/>
                  </a:lnTo>
                  <a:cubicBezTo>
                    <a:pt x="13291" y="1490"/>
                    <a:pt x="13206" y="1408"/>
                    <a:pt x="13206" y="1304"/>
                  </a:cubicBezTo>
                  <a:close/>
                  <a:moveTo>
                    <a:pt x="13579" y="1871"/>
                  </a:moveTo>
                  <a:lnTo>
                    <a:pt x="13579" y="1798"/>
                  </a:lnTo>
                  <a:cubicBezTo>
                    <a:pt x="13579" y="1696"/>
                    <a:pt x="13494" y="1611"/>
                    <a:pt x="13393" y="1611"/>
                  </a:cubicBezTo>
                  <a:lnTo>
                    <a:pt x="13393" y="1611"/>
                  </a:lnTo>
                  <a:cubicBezTo>
                    <a:pt x="13291" y="1611"/>
                    <a:pt x="13206" y="1696"/>
                    <a:pt x="13206" y="1798"/>
                  </a:cubicBezTo>
                  <a:lnTo>
                    <a:pt x="13206" y="1871"/>
                  </a:lnTo>
                  <a:lnTo>
                    <a:pt x="13579" y="1871"/>
                  </a:lnTo>
                  <a:close/>
                  <a:moveTo>
                    <a:pt x="13393" y="875"/>
                  </a:moveTo>
                  <a:lnTo>
                    <a:pt x="13393" y="875"/>
                  </a:lnTo>
                  <a:cubicBezTo>
                    <a:pt x="13494" y="875"/>
                    <a:pt x="13579" y="790"/>
                    <a:pt x="13579" y="688"/>
                  </a:cubicBezTo>
                  <a:lnTo>
                    <a:pt x="13579" y="564"/>
                  </a:lnTo>
                  <a:cubicBezTo>
                    <a:pt x="13579" y="463"/>
                    <a:pt x="13494" y="378"/>
                    <a:pt x="13393" y="378"/>
                  </a:cubicBezTo>
                  <a:lnTo>
                    <a:pt x="13393" y="378"/>
                  </a:lnTo>
                  <a:cubicBezTo>
                    <a:pt x="13291" y="378"/>
                    <a:pt x="13206" y="463"/>
                    <a:pt x="13206" y="564"/>
                  </a:cubicBezTo>
                  <a:lnTo>
                    <a:pt x="13206" y="688"/>
                  </a:lnTo>
                  <a:cubicBezTo>
                    <a:pt x="13206" y="790"/>
                    <a:pt x="13291" y="875"/>
                    <a:pt x="13393" y="875"/>
                  </a:cubicBezTo>
                  <a:close/>
                  <a:moveTo>
                    <a:pt x="12470" y="1490"/>
                  </a:moveTo>
                  <a:cubicBezTo>
                    <a:pt x="12571" y="1490"/>
                    <a:pt x="12656" y="1405"/>
                    <a:pt x="12656" y="1304"/>
                  </a:cubicBezTo>
                  <a:lnTo>
                    <a:pt x="12656" y="1179"/>
                  </a:lnTo>
                  <a:cubicBezTo>
                    <a:pt x="12656" y="1078"/>
                    <a:pt x="12572" y="993"/>
                    <a:pt x="12470" y="993"/>
                  </a:cubicBezTo>
                  <a:cubicBezTo>
                    <a:pt x="12369" y="993"/>
                    <a:pt x="12284" y="1078"/>
                    <a:pt x="12284" y="1179"/>
                  </a:cubicBezTo>
                  <a:lnTo>
                    <a:pt x="12284" y="1304"/>
                  </a:lnTo>
                  <a:cubicBezTo>
                    <a:pt x="12284" y="1408"/>
                    <a:pt x="12365" y="1490"/>
                    <a:pt x="12470" y="1490"/>
                  </a:cubicBezTo>
                  <a:close/>
                  <a:moveTo>
                    <a:pt x="13393" y="259"/>
                  </a:moveTo>
                  <a:lnTo>
                    <a:pt x="13393" y="259"/>
                  </a:lnTo>
                  <a:cubicBezTo>
                    <a:pt x="13494" y="259"/>
                    <a:pt x="13579" y="175"/>
                    <a:pt x="13579" y="73"/>
                  </a:cubicBezTo>
                  <a:lnTo>
                    <a:pt x="13579" y="0"/>
                  </a:lnTo>
                  <a:lnTo>
                    <a:pt x="13206" y="0"/>
                  </a:lnTo>
                  <a:lnTo>
                    <a:pt x="13206" y="73"/>
                  </a:lnTo>
                  <a:cubicBezTo>
                    <a:pt x="13206" y="175"/>
                    <a:pt x="13291" y="259"/>
                    <a:pt x="13393" y="259"/>
                  </a:cubicBezTo>
                  <a:close/>
                  <a:moveTo>
                    <a:pt x="12470" y="875"/>
                  </a:moveTo>
                  <a:cubicBezTo>
                    <a:pt x="12571" y="875"/>
                    <a:pt x="12656" y="790"/>
                    <a:pt x="12656" y="688"/>
                  </a:cubicBezTo>
                  <a:lnTo>
                    <a:pt x="12656" y="564"/>
                  </a:lnTo>
                  <a:cubicBezTo>
                    <a:pt x="12656" y="463"/>
                    <a:pt x="12572" y="378"/>
                    <a:pt x="12470" y="378"/>
                  </a:cubicBezTo>
                  <a:cubicBezTo>
                    <a:pt x="12369" y="378"/>
                    <a:pt x="12284" y="463"/>
                    <a:pt x="12284" y="564"/>
                  </a:cubicBezTo>
                  <a:lnTo>
                    <a:pt x="12284" y="688"/>
                  </a:lnTo>
                  <a:cubicBezTo>
                    <a:pt x="12284" y="790"/>
                    <a:pt x="12365" y="875"/>
                    <a:pt x="12470" y="875"/>
                  </a:cubicBezTo>
                  <a:close/>
                  <a:moveTo>
                    <a:pt x="12470" y="259"/>
                  </a:moveTo>
                  <a:cubicBezTo>
                    <a:pt x="12571" y="259"/>
                    <a:pt x="12656" y="175"/>
                    <a:pt x="12656" y="73"/>
                  </a:cubicBezTo>
                  <a:lnTo>
                    <a:pt x="12656" y="0"/>
                  </a:lnTo>
                  <a:lnTo>
                    <a:pt x="12284" y="0"/>
                  </a:lnTo>
                  <a:lnTo>
                    <a:pt x="12284" y="73"/>
                  </a:lnTo>
                  <a:cubicBezTo>
                    <a:pt x="12284" y="175"/>
                    <a:pt x="12365" y="259"/>
                    <a:pt x="12470" y="259"/>
                  </a:cubicBezTo>
                  <a:close/>
                  <a:moveTo>
                    <a:pt x="14778" y="567"/>
                  </a:moveTo>
                  <a:cubicBezTo>
                    <a:pt x="14880" y="567"/>
                    <a:pt x="14964" y="482"/>
                    <a:pt x="14964" y="381"/>
                  </a:cubicBezTo>
                  <a:lnTo>
                    <a:pt x="14964" y="257"/>
                  </a:lnTo>
                  <a:cubicBezTo>
                    <a:pt x="14964" y="155"/>
                    <a:pt x="14880" y="70"/>
                    <a:pt x="14778" y="70"/>
                  </a:cubicBezTo>
                  <a:cubicBezTo>
                    <a:pt x="14677" y="70"/>
                    <a:pt x="14592" y="155"/>
                    <a:pt x="14592" y="257"/>
                  </a:cubicBezTo>
                  <a:lnTo>
                    <a:pt x="14592" y="381"/>
                  </a:lnTo>
                  <a:cubicBezTo>
                    <a:pt x="14592" y="482"/>
                    <a:pt x="14677" y="567"/>
                    <a:pt x="14778" y="567"/>
                  </a:cubicBezTo>
                  <a:close/>
                  <a:moveTo>
                    <a:pt x="12930" y="1182"/>
                  </a:moveTo>
                  <a:cubicBezTo>
                    <a:pt x="13031" y="1182"/>
                    <a:pt x="13116" y="1098"/>
                    <a:pt x="13116" y="996"/>
                  </a:cubicBezTo>
                  <a:lnTo>
                    <a:pt x="13116" y="872"/>
                  </a:lnTo>
                  <a:cubicBezTo>
                    <a:pt x="13116" y="770"/>
                    <a:pt x="13032" y="686"/>
                    <a:pt x="12930" y="686"/>
                  </a:cubicBezTo>
                  <a:cubicBezTo>
                    <a:pt x="12829" y="686"/>
                    <a:pt x="12744" y="770"/>
                    <a:pt x="12744" y="872"/>
                  </a:cubicBezTo>
                  <a:lnTo>
                    <a:pt x="12744" y="996"/>
                  </a:lnTo>
                  <a:cubicBezTo>
                    <a:pt x="12744" y="1098"/>
                    <a:pt x="12828" y="1182"/>
                    <a:pt x="12930" y="1182"/>
                  </a:cubicBezTo>
                  <a:close/>
                  <a:moveTo>
                    <a:pt x="9700" y="875"/>
                  </a:moveTo>
                  <a:lnTo>
                    <a:pt x="9700" y="875"/>
                  </a:lnTo>
                  <a:cubicBezTo>
                    <a:pt x="9801" y="875"/>
                    <a:pt x="9886" y="790"/>
                    <a:pt x="9886" y="688"/>
                  </a:cubicBezTo>
                  <a:lnTo>
                    <a:pt x="9886" y="564"/>
                  </a:lnTo>
                  <a:cubicBezTo>
                    <a:pt x="9886" y="463"/>
                    <a:pt x="9801" y="378"/>
                    <a:pt x="9700" y="378"/>
                  </a:cubicBezTo>
                  <a:lnTo>
                    <a:pt x="9700" y="378"/>
                  </a:lnTo>
                  <a:cubicBezTo>
                    <a:pt x="9598" y="378"/>
                    <a:pt x="9513" y="463"/>
                    <a:pt x="9513" y="564"/>
                  </a:cubicBezTo>
                  <a:lnTo>
                    <a:pt x="9513" y="688"/>
                  </a:lnTo>
                  <a:cubicBezTo>
                    <a:pt x="9513" y="790"/>
                    <a:pt x="9595" y="875"/>
                    <a:pt x="9700" y="875"/>
                  </a:cubicBezTo>
                  <a:close/>
                  <a:moveTo>
                    <a:pt x="14778" y="1798"/>
                  </a:moveTo>
                  <a:cubicBezTo>
                    <a:pt x="14880" y="1798"/>
                    <a:pt x="14964" y="1713"/>
                    <a:pt x="14964" y="1611"/>
                  </a:cubicBezTo>
                  <a:lnTo>
                    <a:pt x="14964" y="1487"/>
                  </a:lnTo>
                  <a:cubicBezTo>
                    <a:pt x="14964" y="1385"/>
                    <a:pt x="14880" y="1301"/>
                    <a:pt x="14778" y="1301"/>
                  </a:cubicBezTo>
                  <a:cubicBezTo>
                    <a:pt x="14677" y="1301"/>
                    <a:pt x="14592" y="1385"/>
                    <a:pt x="14592" y="1487"/>
                  </a:cubicBezTo>
                  <a:lnTo>
                    <a:pt x="14592" y="1611"/>
                  </a:lnTo>
                  <a:cubicBezTo>
                    <a:pt x="14592" y="1713"/>
                    <a:pt x="14677" y="1798"/>
                    <a:pt x="14778" y="1798"/>
                  </a:cubicBezTo>
                  <a:close/>
                  <a:moveTo>
                    <a:pt x="14315" y="875"/>
                  </a:moveTo>
                  <a:cubicBezTo>
                    <a:pt x="14417" y="875"/>
                    <a:pt x="14502" y="790"/>
                    <a:pt x="14502" y="688"/>
                  </a:cubicBezTo>
                  <a:lnTo>
                    <a:pt x="14502" y="564"/>
                  </a:lnTo>
                  <a:cubicBezTo>
                    <a:pt x="14502" y="463"/>
                    <a:pt x="14417" y="378"/>
                    <a:pt x="14315" y="378"/>
                  </a:cubicBezTo>
                  <a:cubicBezTo>
                    <a:pt x="14214" y="378"/>
                    <a:pt x="14129" y="463"/>
                    <a:pt x="14129" y="564"/>
                  </a:cubicBezTo>
                  <a:lnTo>
                    <a:pt x="14129" y="688"/>
                  </a:lnTo>
                  <a:cubicBezTo>
                    <a:pt x="14129" y="790"/>
                    <a:pt x="14214" y="875"/>
                    <a:pt x="14315" y="875"/>
                  </a:cubicBezTo>
                  <a:close/>
                  <a:moveTo>
                    <a:pt x="14315" y="259"/>
                  </a:moveTo>
                  <a:cubicBezTo>
                    <a:pt x="14417" y="259"/>
                    <a:pt x="14502" y="175"/>
                    <a:pt x="14502" y="73"/>
                  </a:cubicBezTo>
                  <a:lnTo>
                    <a:pt x="14502" y="0"/>
                  </a:lnTo>
                  <a:lnTo>
                    <a:pt x="14129" y="0"/>
                  </a:lnTo>
                  <a:lnTo>
                    <a:pt x="14129" y="73"/>
                  </a:lnTo>
                  <a:cubicBezTo>
                    <a:pt x="14129" y="175"/>
                    <a:pt x="14214" y="259"/>
                    <a:pt x="14315" y="259"/>
                  </a:cubicBezTo>
                  <a:close/>
                  <a:moveTo>
                    <a:pt x="14778" y="1182"/>
                  </a:moveTo>
                  <a:cubicBezTo>
                    <a:pt x="14880" y="1182"/>
                    <a:pt x="14964" y="1098"/>
                    <a:pt x="14964" y="996"/>
                  </a:cubicBezTo>
                  <a:lnTo>
                    <a:pt x="14964" y="872"/>
                  </a:lnTo>
                  <a:cubicBezTo>
                    <a:pt x="14964" y="770"/>
                    <a:pt x="14880" y="686"/>
                    <a:pt x="14778" y="686"/>
                  </a:cubicBezTo>
                  <a:cubicBezTo>
                    <a:pt x="14677" y="686"/>
                    <a:pt x="14592" y="770"/>
                    <a:pt x="14592" y="872"/>
                  </a:cubicBezTo>
                  <a:lnTo>
                    <a:pt x="14592" y="996"/>
                  </a:lnTo>
                  <a:cubicBezTo>
                    <a:pt x="14592" y="1098"/>
                    <a:pt x="14677" y="1182"/>
                    <a:pt x="14778" y="1182"/>
                  </a:cubicBezTo>
                  <a:close/>
                  <a:moveTo>
                    <a:pt x="13855" y="1798"/>
                  </a:moveTo>
                  <a:lnTo>
                    <a:pt x="13855" y="1798"/>
                  </a:lnTo>
                  <a:cubicBezTo>
                    <a:pt x="13957" y="1798"/>
                    <a:pt x="14042" y="1713"/>
                    <a:pt x="14042" y="1611"/>
                  </a:cubicBezTo>
                  <a:lnTo>
                    <a:pt x="14042" y="1487"/>
                  </a:lnTo>
                  <a:cubicBezTo>
                    <a:pt x="14042" y="1385"/>
                    <a:pt x="13957" y="1301"/>
                    <a:pt x="13855" y="1301"/>
                  </a:cubicBezTo>
                  <a:lnTo>
                    <a:pt x="13855" y="1301"/>
                  </a:lnTo>
                  <a:cubicBezTo>
                    <a:pt x="13754" y="1301"/>
                    <a:pt x="13669" y="1385"/>
                    <a:pt x="13669" y="1487"/>
                  </a:cubicBezTo>
                  <a:lnTo>
                    <a:pt x="13669" y="1611"/>
                  </a:lnTo>
                  <a:cubicBezTo>
                    <a:pt x="13669" y="1713"/>
                    <a:pt x="13751" y="1798"/>
                    <a:pt x="13855" y="1798"/>
                  </a:cubicBezTo>
                  <a:close/>
                  <a:moveTo>
                    <a:pt x="13855" y="1182"/>
                  </a:moveTo>
                  <a:lnTo>
                    <a:pt x="13855" y="1182"/>
                  </a:lnTo>
                  <a:cubicBezTo>
                    <a:pt x="13957" y="1182"/>
                    <a:pt x="14042" y="1098"/>
                    <a:pt x="14042" y="996"/>
                  </a:cubicBezTo>
                  <a:lnTo>
                    <a:pt x="14042" y="872"/>
                  </a:lnTo>
                  <a:cubicBezTo>
                    <a:pt x="14042" y="770"/>
                    <a:pt x="13957" y="686"/>
                    <a:pt x="13855" y="686"/>
                  </a:cubicBezTo>
                  <a:lnTo>
                    <a:pt x="13855" y="686"/>
                  </a:lnTo>
                  <a:cubicBezTo>
                    <a:pt x="13754" y="686"/>
                    <a:pt x="13669" y="770"/>
                    <a:pt x="13669" y="872"/>
                  </a:cubicBezTo>
                  <a:lnTo>
                    <a:pt x="13669" y="996"/>
                  </a:lnTo>
                  <a:cubicBezTo>
                    <a:pt x="13669" y="1098"/>
                    <a:pt x="13751" y="1182"/>
                    <a:pt x="13855" y="1182"/>
                  </a:cubicBezTo>
                  <a:close/>
                  <a:moveTo>
                    <a:pt x="13855" y="567"/>
                  </a:moveTo>
                  <a:lnTo>
                    <a:pt x="13855" y="567"/>
                  </a:lnTo>
                  <a:cubicBezTo>
                    <a:pt x="13957" y="567"/>
                    <a:pt x="14042" y="482"/>
                    <a:pt x="14042" y="381"/>
                  </a:cubicBezTo>
                  <a:lnTo>
                    <a:pt x="14042" y="257"/>
                  </a:lnTo>
                  <a:cubicBezTo>
                    <a:pt x="14042" y="155"/>
                    <a:pt x="13957" y="70"/>
                    <a:pt x="13855" y="70"/>
                  </a:cubicBezTo>
                  <a:lnTo>
                    <a:pt x="13855" y="70"/>
                  </a:lnTo>
                  <a:cubicBezTo>
                    <a:pt x="13754" y="70"/>
                    <a:pt x="13669" y="155"/>
                    <a:pt x="13669" y="257"/>
                  </a:cubicBezTo>
                  <a:lnTo>
                    <a:pt x="13669" y="381"/>
                  </a:lnTo>
                  <a:cubicBezTo>
                    <a:pt x="13669" y="482"/>
                    <a:pt x="13751" y="567"/>
                    <a:pt x="13855" y="567"/>
                  </a:cubicBezTo>
                  <a:close/>
                  <a:moveTo>
                    <a:pt x="14315" y="1490"/>
                  </a:moveTo>
                  <a:cubicBezTo>
                    <a:pt x="14417" y="1490"/>
                    <a:pt x="14502" y="1405"/>
                    <a:pt x="14502" y="1304"/>
                  </a:cubicBezTo>
                  <a:lnTo>
                    <a:pt x="14502" y="1179"/>
                  </a:lnTo>
                  <a:cubicBezTo>
                    <a:pt x="14502" y="1078"/>
                    <a:pt x="14417" y="993"/>
                    <a:pt x="14315" y="993"/>
                  </a:cubicBezTo>
                  <a:cubicBezTo>
                    <a:pt x="14214" y="993"/>
                    <a:pt x="14129" y="1078"/>
                    <a:pt x="14129" y="1179"/>
                  </a:cubicBezTo>
                  <a:lnTo>
                    <a:pt x="14129" y="1304"/>
                  </a:lnTo>
                  <a:cubicBezTo>
                    <a:pt x="14129" y="1408"/>
                    <a:pt x="14214" y="1490"/>
                    <a:pt x="14315" y="1490"/>
                  </a:cubicBezTo>
                  <a:close/>
                  <a:moveTo>
                    <a:pt x="14502" y="1871"/>
                  </a:moveTo>
                  <a:lnTo>
                    <a:pt x="14502" y="1798"/>
                  </a:lnTo>
                  <a:cubicBezTo>
                    <a:pt x="14502" y="1696"/>
                    <a:pt x="14417" y="1611"/>
                    <a:pt x="14315" y="1611"/>
                  </a:cubicBezTo>
                  <a:cubicBezTo>
                    <a:pt x="14214" y="1611"/>
                    <a:pt x="14129" y="1696"/>
                    <a:pt x="14129" y="1798"/>
                  </a:cubicBezTo>
                  <a:lnTo>
                    <a:pt x="14129" y="1871"/>
                  </a:lnTo>
                  <a:lnTo>
                    <a:pt x="14502" y="1871"/>
                  </a:lnTo>
                  <a:close/>
                  <a:moveTo>
                    <a:pt x="12930" y="1798"/>
                  </a:moveTo>
                  <a:cubicBezTo>
                    <a:pt x="13031" y="1798"/>
                    <a:pt x="13116" y="1713"/>
                    <a:pt x="13116" y="1611"/>
                  </a:cubicBezTo>
                  <a:lnTo>
                    <a:pt x="13116" y="1487"/>
                  </a:lnTo>
                  <a:cubicBezTo>
                    <a:pt x="13116" y="1385"/>
                    <a:pt x="13032" y="1301"/>
                    <a:pt x="12930" y="1301"/>
                  </a:cubicBezTo>
                  <a:cubicBezTo>
                    <a:pt x="12829" y="1301"/>
                    <a:pt x="12744" y="1385"/>
                    <a:pt x="12744" y="1487"/>
                  </a:cubicBezTo>
                  <a:lnTo>
                    <a:pt x="12744" y="1611"/>
                  </a:lnTo>
                  <a:cubicBezTo>
                    <a:pt x="12744" y="1713"/>
                    <a:pt x="12828" y="1798"/>
                    <a:pt x="12930" y="1798"/>
                  </a:cubicBezTo>
                  <a:close/>
                  <a:moveTo>
                    <a:pt x="10621" y="875"/>
                  </a:moveTo>
                  <a:cubicBezTo>
                    <a:pt x="10723" y="875"/>
                    <a:pt x="10808" y="790"/>
                    <a:pt x="10808" y="688"/>
                  </a:cubicBezTo>
                  <a:lnTo>
                    <a:pt x="10808" y="564"/>
                  </a:lnTo>
                  <a:cubicBezTo>
                    <a:pt x="10808" y="463"/>
                    <a:pt x="10723" y="378"/>
                    <a:pt x="10621" y="378"/>
                  </a:cubicBezTo>
                  <a:cubicBezTo>
                    <a:pt x="10520" y="378"/>
                    <a:pt x="10435" y="463"/>
                    <a:pt x="10435" y="564"/>
                  </a:cubicBezTo>
                  <a:lnTo>
                    <a:pt x="10435" y="688"/>
                  </a:lnTo>
                  <a:cubicBezTo>
                    <a:pt x="10435" y="790"/>
                    <a:pt x="10520" y="875"/>
                    <a:pt x="10621" y="875"/>
                  </a:cubicBezTo>
                  <a:close/>
                  <a:moveTo>
                    <a:pt x="10621" y="1490"/>
                  </a:moveTo>
                  <a:cubicBezTo>
                    <a:pt x="10723" y="1490"/>
                    <a:pt x="10808" y="1405"/>
                    <a:pt x="10808" y="1304"/>
                  </a:cubicBezTo>
                  <a:lnTo>
                    <a:pt x="10808" y="1179"/>
                  </a:lnTo>
                  <a:cubicBezTo>
                    <a:pt x="10808" y="1078"/>
                    <a:pt x="10723" y="993"/>
                    <a:pt x="10621" y="993"/>
                  </a:cubicBezTo>
                  <a:cubicBezTo>
                    <a:pt x="10520" y="993"/>
                    <a:pt x="10435" y="1078"/>
                    <a:pt x="10435" y="1179"/>
                  </a:cubicBezTo>
                  <a:lnTo>
                    <a:pt x="10435" y="1304"/>
                  </a:lnTo>
                  <a:cubicBezTo>
                    <a:pt x="10435" y="1408"/>
                    <a:pt x="10520" y="1490"/>
                    <a:pt x="10621" y="1490"/>
                  </a:cubicBezTo>
                  <a:close/>
                  <a:moveTo>
                    <a:pt x="10621" y="259"/>
                  </a:moveTo>
                  <a:cubicBezTo>
                    <a:pt x="10723" y="259"/>
                    <a:pt x="10808" y="175"/>
                    <a:pt x="10808" y="73"/>
                  </a:cubicBezTo>
                  <a:lnTo>
                    <a:pt x="10808" y="0"/>
                  </a:lnTo>
                  <a:lnTo>
                    <a:pt x="10435" y="0"/>
                  </a:lnTo>
                  <a:lnTo>
                    <a:pt x="10435" y="73"/>
                  </a:lnTo>
                  <a:cubicBezTo>
                    <a:pt x="10435" y="175"/>
                    <a:pt x="10520" y="259"/>
                    <a:pt x="10621" y="259"/>
                  </a:cubicBezTo>
                  <a:close/>
                  <a:moveTo>
                    <a:pt x="11084" y="1798"/>
                  </a:moveTo>
                  <a:cubicBezTo>
                    <a:pt x="11186" y="1798"/>
                    <a:pt x="11270" y="1713"/>
                    <a:pt x="11270" y="1611"/>
                  </a:cubicBezTo>
                  <a:lnTo>
                    <a:pt x="11270" y="1487"/>
                  </a:lnTo>
                  <a:cubicBezTo>
                    <a:pt x="11270" y="1385"/>
                    <a:pt x="11186" y="1301"/>
                    <a:pt x="11084" y="1301"/>
                  </a:cubicBezTo>
                  <a:cubicBezTo>
                    <a:pt x="10983" y="1301"/>
                    <a:pt x="10898" y="1385"/>
                    <a:pt x="10898" y="1487"/>
                  </a:cubicBezTo>
                  <a:lnTo>
                    <a:pt x="10898" y="1611"/>
                  </a:lnTo>
                  <a:cubicBezTo>
                    <a:pt x="10898" y="1713"/>
                    <a:pt x="10980" y="1798"/>
                    <a:pt x="11084" y="1798"/>
                  </a:cubicBezTo>
                  <a:close/>
                  <a:moveTo>
                    <a:pt x="10808" y="1871"/>
                  </a:moveTo>
                  <a:lnTo>
                    <a:pt x="10808" y="1798"/>
                  </a:lnTo>
                  <a:cubicBezTo>
                    <a:pt x="10808" y="1696"/>
                    <a:pt x="10723" y="1611"/>
                    <a:pt x="10621" y="1611"/>
                  </a:cubicBezTo>
                  <a:cubicBezTo>
                    <a:pt x="10520" y="1611"/>
                    <a:pt x="10435" y="1696"/>
                    <a:pt x="10435" y="1798"/>
                  </a:cubicBezTo>
                  <a:lnTo>
                    <a:pt x="10435" y="1871"/>
                  </a:lnTo>
                  <a:lnTo>
                    <a:pt x="10808" y="1871"/>
                  </a:lnTo>
                  <a:close/>
                  <a:moveTo>
                    <a:pt x="9700" y="259"/>
                  </a:moveTo>
                  <a:lnTo>
                    <a:pt x="9700" y="259"/>
                  </a:lnTo>
                  <a:cubicBezTo>
                    <a:pt x="9801" y="259"/>
                    <a:pt x="9886" y="175"/>
                    <a:pt x="9886" y="73"/>
                  </a:cubicBezTo>
                  <a:lnTo>
                    <a:pt x="9886" y="0"/>
                  </a:lnTo>
                  <a:lnTo>
                    <a:pt x="9513" y="0"/>
                  </a:lnTo>
                  <a:lnTo>
                    <a:pt x="9513" y="73"/>
                  </a:lnTo>
                  <a:cubicBezTo>
                    <a:pt x="9513" y="175"/>
                    <a:pt x="9595" y="259"/>
                    <a:pt x="9700" y="259"/>
                  </a:cubicBezTo>
                  <a:close/>
                  <a:moveTo>
                    <a:pt x="10160" y="567"/>
                  </a:moveTo>
                  <a:lnTo>
                    <a:pt x="10160" y="567"/>
                  </a:lnTo>
                  <a:cubicBezTo>
                    <a:pt x="10260" y="567"/>
                    <a:pt x="10345" y="482"/>
                    <a:pt x="10345" y="381"/>
                  </a:cubicBezTo>
                  <a:lnTo>
                    <a:pt x="10345" y="257"/>
                  </a:lnTo>
                  <a:cubicBezTo>
                    <a:pt x="10345" y="155"/>
                    <a:pt x="10260" y="70"/>
                    <a:pt x="10160" y="70"/>
                  </a:cubicBezTo>
                  <a:lnTo>
                    <a:pt x="10160" y="70"/>
                  </a:lnTo>
                  <a:cubicBezTo>
                    <a:pt x="10058" y="70"/>
                    <a:pt x="9973" y="155"/>
                    <a:pt x="9973" y="257"/>
                  </a:cubicBezTo>
                  <a:lnTo>
                    <a:pt x="9973" y="381"/>
                  </a:lnTo>
                  <a:cubicBezTo>
                    <a:pt x="9973" y="482"/>
                    <a:pt x="10058" y="567"/>
                    <a:pt x="10160" y="567"/>
                  </a:cubicBezTo>
                  <a:close/>
                  <a:moveTo>
                    <a:pt x="10160" y="1798"/>
                  </a:moveTo>
                  <a:lnTo>
                    <a:pt x="10160" y="1798"/>
                  </a:lnTo>
                  <a:cubicBezTo>
                    <a:pt x="10260" y="1798"/>
                    <a:pt x="10345" y="1713"/>
                    <a:pt x="10345" y="1611"/>
                  </a:cubicBezTo>
                  <a:lnTo>
                    <a:pt x="10345" y="1487"/>
                  </a:lnTo>
                  <a:cubicBezTo>
                    <a:pt x="10345" y="1385"/>
                    <a:pt x="10260" y="1301"/>
                    <a:pt x="10160" y="1301"/>
                  </a:cubicBezTo>
                  <a:lnTo>
                    <a:pt x="10160" y="1301"/>
                  </a:lnTo>
                  <a:cubicBezTo>
                    <a:pt x="10058" y="1301"/>
                    <a:pt x="9973" y="1385"/>
                    <a:pt x="9973" y="1487"/>
                  </a:cubicBezTo>
                  <a:lnTo>
                    <a:pt x="9973" y="1611"/>
                  </a:lnTo>
                  <a:cubicBezTo>
                    <a:pt x="9973" y="1713"/>
                    <a:pt x="10058" y="1798"/>
                    <a:pt x="10160" y="1798"/>
                  </a:cubicBezTo>
                  <a:close/>
                  <a:moveTo>
                    <a:pt x="10160" y="1182"/>
                  </a:moveTo>
                  <a:lnTo>
                    <a:pt x="10160" y="1182"/>
                  </a:lnTo>
                  <a:cubicBezTo>
                    <a:pt x="10260" y="1182"/>
                    <a:pt x="10345" y="1098"/>
                    <a:pt x="10345" y="996"/>
                  </a:cubicBezTo>
                  <a:lnTo>
                    <a:pt x="10345" y="872"/>
                  </a:lnTo>
                  <a:cubicBezTo>
                    <a:pt x="10345" y="770"/>
                    <a:pt x="10260" y="686"/>
                    <a:pt x="10160" y="686"/>
                  </a:cubicBezTo>
                  <a:lnTo>
                    <a:pt x="10160" y="686"/>
                  </a:lnTo>
                  <a:cubicBezTo>
                    <a:pt x="10058" y="686"/>
                    <a:pt x="9973" y="770"/>
                    <a:pt x="9973" y="872"/>
                  </a:cubicBezTo>
                  <a:lnTo>
                    <a:pt x="9973" y="996"/>
                  </a:lnTo>
                  <a:cubicBezTo>
                    <a:pt x="9973" y="1098"/>
                    <a:pt x="10058" y="1182"/>
                    <a:pt x="10160" y="1182"/>
                  </a:cubicBezTo>
                  <a:close/>
                  <a:moveTo>
                    <a:pt x="11084" y="567"/>
                  </a:moveTo>
                  <a:cubicBezTo>
                    <a:pt x="11186" y="567"/>
                    <a:pt x="11270" y="482"/>
                    <a:pt x="11270" y="381"/>
                  </a:cubicBezTo>
                  <a:lnTo>
                    <a:pt x="11270" y="257"/>
                  </a:lnTo>
                  <a:cubicBezTo>
                    <a:pt x="11270" y="155"/>
                    <a:pt x="11186" y="70"/>
                    <a:pt x="11084" y="70"/>
                  </a:cubicBezTo>
                  <a:cubicBezTo>
                    <a:pt x="10983" y="70"/>
                    <a:pt x="10898" y="155"/>
                    <a:pt x="10898" y="257"/>
                  </a:cubicBezTo>
                  <a:lnTo>
                    <a:pt x="10898" y="381"/>
                  </a:lnTo>
                  <a:cubicBezTo>
                    <a:pt x="10898" y="482"/>
                    <a:pt x="10980" y="567"/>
                    <a:pt x="11084" y="567"/>
                  </a:cubicBezTo>
                  <a:close/>
                  <a:moveTo>
                    <a:pt x="12007" y="1182"/>
                  </a:moveTo>
                  <a:cubicBezTo>
                    <a:pt x="12109" y="1182"/>
                    <a:pt x="12193" y="1098"/>
                    <a:pt x="12193" y="996"/>
                  </a:cubicBezTo>
                  <a:lnTo>
                    <a:pt x="12193" y="872"/>
                  </a:lnTo>
                  <a:cubicBezTo>
                    <a:pt x="12193" y="770"/>
                    <a:pt x="12109" y="686"/>
                    <a:pt x="12007" y="686"/>
                  </a:cubicBezTo>
                  <a:cubicBezTo>
                    <a:pt x="11905" y="686"/>
                    <a:pt x="11821" y="770"/>
                    <a:pt x="11821" y="872"/>
                  </a:cubicBezTo>
                  <a:lnTo>
                    <a:pt x="11821" y="996"/>
                  </a:lnTo>
                  <a:cubicBezTo>
                    <a:pt x="11821" y="1098"/>
                    <a:pt x="11905" y="1182"/>
                    <a:pt x="12007" y="1182"/>
                  </a:cubicBezTo>
                  <a:close/>
                  <a:moveTo>
                    <a:pt x="11544" y="259"/>
                  </a:moveTo>
                  <a:cubicBezTo>
                    <a:pt x="11646" y="259"/>
                    <a:pt x="11730" y="175"/>
                    <a:pt x="11730" y="73"/>
                  </a:cubicBezTo>
                  <a:lnTo>
                    <a:pt x="11730" y="0"/>
                  </a:lnTo>
                  <a:lnTo>
                    <a:pt x="11358" y="0"/>
                  </a:lnTo>
                  <a:lnTo>
                    <a:pt x="11358" y="73"/>
                  </a:lnTo>
                  <a:cubicBezTo>
                    <a:pt x="11358" y="175"/>
                    <a:pt x="11443" y="259"/>
                    <a:pt x="11544" y="259"/>
                  </a:cubicBezTo>
                  <a:close/>
                  <a:moveTo>
                    <a:pt x="12007" y="1798"/>
                  </a:moveTo>
                  <a:cubicBezTo>
                    <a:pt x="12109" y="1798"/>
                    <a:pt x="12193" y="1713"/>
                    <a:pt x="12193" y="1611"/>
                  </a:cubicBezTo>
                  <a:lnTo>
                    <a:pt x="12193" y="1487"/>
                  </a:lnTo>
                  <a:cubicBezTo>
                    <a:pt x="12193" y="1385"/>
                    <a:pt x="12109" y="1301"/>
                    <a:pt x="12007" y="1301"/>
                  </a:cubicBezTo>
                  <a:cubicBezTo>
                    <a:pt x="11905" y="1301"/>
                    <a:pt x="11821" y="1385"/>
                    <a:pt x="11821" y="1487"/>
                  </a:cubicBezTo>
                  <a:lnTo>
                    <a:pt x="11821" y="1611"/>
                  </a:lnTo>
                  <a:cubicBezTo>
                    <a:pt x="11821" y="1713"/>
                    <a:pt x="11905" y="1798"/>
                    <a:pt x="12007" y="1798"/>
                  </a:cubicBezTo>
                  <a:close/>
                  <a:moveTo>
                    <a:pt x="12007" y="567"/>
                  </a:moveTo>
                  <a:cubicBezTo>
                    <a:pt x="12109" y="567"/>
                    <a:pt x="12193" y="482"/>
                    <a:pt x="12193" y="381"/>
                  </a:cubicBezTo>
                  <a:lnTo>
                    <a:pt x="12193" y="257"/>
                  </a:lnTo>
                  <a:cubicBezTo>
                    <a:pt x="12193" y="155"/>
                    <a:pt x="12109" y="70"/>
                    <a:pt x="12007" y="70"/>
                  </a:cubicBezTo>
                  <a:cubicBezTo>
                    <a:pt x="11905" y="70"/>
                    <a:pt x="11821" y="155"/>
                    <a:pt x="11821" y="257"/>
                  </a:cubicBezTo>
                  <a:lnTo>
                    <a:pt x="11821" y="381"/>
                  </a:lnTo>
                  <a:cubicBezTo>
                    <a:pt x="11821" y="482"/>
                    <a:pt x="11905" y="567"/>
                    <a:pt x="12007" y="567"/>
                  </a:cubicBezTo>
                  <a:close/>
                  <a:moveTo>
                    <a:pt x="11730" y="1871"/>
                  </a:moveTo>
                  <a:lnTo>
                    <a:pt x="11730" y="1798"/>
                  </a:lnTo>
                  <a:cubicBezTo>
                    <a:pt x="11730" y="1696"/>
                    <a:pt x="11646" y="1611"/>
                    <a:pt x="11544" y="1611"/>
                  </a:cubicBezTo>
                  <a:cubicBezTo>
                    <a:pt x="11443" y="1611"/>
                    <a:pt x="11358" y="1696"/>
                    <a:pt x="11358" y="1798"/>
                  </a:cubicBezTo>
                  <a:lnTo>
                    <a:pt x="11358" y="1871"/>
                  </a:lnTo>
                  <a:lnTo>
                    <a:pt x="11730" y="1871"/>
                  </a:lnTo>
                  <a:close/>
                  <a:moveTo>
                    <a:pt x="11084" y="1182"/>
                  </a:moveTo>
                  <a:cubicBezTo>
                    <a:pt x="11186" y="1182"/>
                    <a:pt x="11270" y="1098"/>
                    <a:pt x="11270" y="996"/>
                  </a:cubicBezTo>
                  <a:lnTo>
                    <a:pt x="11270" y="872"/>
                  </a:lnTo>
                  <a:cubicBezTo>
                    <a:pt x="11270" y="770"/>
                    <a:pt x="11186" y="686"/>
                    <a:pt x="11084" y="686"/>
                  </a:cubicBezTo>
                  <a:cubicBezTo>
                    <a:pt x="10983" y="686"/>
                    <a:pt x="10898" y="770"/>
                    <a:pt x="10898" y="872"/>
                  </a:cubicBezTo>
                  <a:lnTo>
                    <a:pt x="10898" y="996"/>
                  </a:lnTo>
                  <a:cubicBezTo>
                    <a:pt x="10898" y="1098"/>
                    <a:pt x="10980" y="1182"/>
                    <a:pt x="11084" y="1182"/>
                  </a:cubicBezTo>
                  <a:close/>
                  <a:moveTo>
                    <a:pt x="11544" y="875"/>
                  </a:moveTo>
                  <a:cubicBezTo>
                    <a:pt x="11646" y="875"/>
                    <a:pt x="11730" y="790"/>
                    <a:pt x="11730" y="688"/>
                  </a:cubicBezTo>
                  <a:lnTo>
                    <a:pt x="11730" y="564"/>
                  </a:lnTo>
                  <a:cubicBezTo>
                    <a:pt x="11730" y="463"/>
                    <a:pt x="11646" y="378"/>
                    <a:pt x="11544" y="378"/>
                  </a:cubicBezTo>
                  <a:cubicBezTo>
                    <a:pt x="11443" y="378"/>
                    <a:pt x="11358" y="463"/>
                    <a:pt x="11358" y="564"/>
                  </a:cubicBezTo>
                  <a:lnTo>
                    <a:pt x="11358" y="688"/>
                  </a:lnTo>
                  <a:cubicBezTo>
                    <a:pt x="11358" y="790"/>
                    <a:pt x="11443" y="875"/>
                    <a:pt x="11544" y="875"/>
                  </a:cubicBezTo>
                  <a:close/>
                  <a:moveTo>
                    <a:pt x="12653" y="1871"/>
                  </a:moveTo>
                  <a:lnTo>
                    <a:pt x="12653" y="1798"/>
                  </a:lnTo>
                  <a:cubicBezTo>
                    <a:pt x="12653" y="1696"/>
                    <a:pt x="12569" y="1611"/>
                    <a:pt x="12467" y="1611"/>
                  </a:cubicBezTo>
                  <a:cubicBezTo>
                    <a:pt x="12365" y="1611"/>
                    <a:pt x="12281" y="1696"/>
                    <a:pt x="12281" y="1798"/>
                  </a:cubicBezTo>
                  <a:lnTo>
                    <a:pt x="12281" y="1871"/>
                  </a:lnTo>
                  <a:lnTo>
                    <a:pt x="12653" y="1871"/>
                  </a:lnTo>
                  <a:close/>
                  <a:moveTo>
                    <a:pt x="11544" y="1490"/>
                  </a:moveTo>
                  <a:cubicBezTo>
                    <a:pt x="11646" y="1490"/>
                    <a:pt x="11730" y="1405"/>
                    <a:pt x="11730" y="1304"/>
                  </a:cubicBezTo>
                  <a:lnTo>
                    <a:pt x="11730" y="1179"/>
                  </a:lnTo>
                  <a:cubicBezTo>
                    <a:pt x="11730" y="1078"/>
                    <a:pt x="11646" y="993"/>
                    <a:pt x="11544" y="993"/>
                  </a:cubicBezTo>
                  <a:cubicBezTo>
                    <a:pt x="11443" y="993"/>
                    <a:pt x="11358" y="1078"/>
                    <a:pt x="11358" y="1179"/>
                  </a:cubicBezTo>
                  <a:lnTo>
                    <a:pt x="11358" y="1304"/>
                  </a:lnTo>
                  <a:cubicBezTo>
                    <a:pt x="11358" y="1408"/>
                    <a:pt x="11443" y="1490"/>
                    <a:pt x="11544" y="1490"/>
                  </a:cubicBezTo>
                  <a:close/>
                  <a:moveTo>
                    <a:pt x="12930" y="567"/>
                  </a:moveTo>
                  <a:cubicBezTo>
                    <a:pt x="13031" y="567"/>
                    <a:pt x="13116" y="482"/>
                    <a:pt x="13116" y="381"/>
                  </a:cubicBezTo>
                  <a:lnTo>
                    <a:pt x="13116" y="257"/>
                  </a:lnTo>
                  <a:cubicBezTo>
                    <a:pt x="13116" y="155"/>
                    <a:pt x="13032" y="70"/>
                    <a:pt x="12930" y="70"/>
                  </a:cubicBezTo>
                  <a:cubicBezTo>
                    <a:pt x="12829" y="70"/>
                    <a:pt x="12744" y="155"/>
                    <a:pt x="12744" y="257"/>
                  </a:cubicBezTo>
                  <a:lnTo>
                    <a:pt x="12744" y="381"/>
                  </a:lnTo>
                  <a:cubicBezTo>
                    <a:pt x="12744" y="482"/>
                    <a:pt x="12828" y="567"/>
                    <a:pt x="12930" y="567"/>
                  </a:cubicBezTo>
                  <a:close/>
                  <a:moveTo>
                    <a:pt x="15424" y="1871"/>
                  </a:moveTo>
                  <a:lnTo>
                    <a:pt x="15424" y="1798"/>
                  </a:lnTo>
                  <a:cubicBezTo>
                    <a:pt x="15424" y="1696"/>
                    <a:pt x="15340" y="1611"/>
                    <a:pt x="15238" y="1611"/>
                  </a:cubicBezTo>
                  <a:cubicBezTo>
                    <a:pt x="15137" y="1611"/>
                    <a:pt x="15052" y="1696"/>
                    <a:pt x="15052" y="1798"/>
                  </a:cubicBezTo>
                  <a:lnTo>
                    <a:pt x="15052" y="1871"/>
                  </a:lnTo>
                  <a:lnTo>
                    <a:pt x="15424" y="1871"/>
                  </a:lnTo>
                  <a:close/>
                  <a:moveTo>
                    <a:pt x="18472" y="1798"/>
                  </a:moveTo>
                  <a:cubicBezTo>
                    <a:pt x="18574" y="1798"/>
                    <a:pt x="18659" y="1713"/>
                    <a:pt x="18659" y="1611"/>
                  </a:cubicBezTo>
                  <a:lnTo>
                    <a:pt x="18659" y="1487"/>
                  </a:lnTo>
                  <a:cubicBezTo>
                    <a:pt x="18659" y="1385"/>
                    <a:pt x="18574" y="1301"/>
                    <a:pt x="18472" y="1301"/>
                  </a:cubicBezTo>
                  <a:cubicBezTo>
                    <a:pt x="18371" y="1301"/>
                    <a:pt x="18286" y="1385"/>
                    <a:pt x="18286" y="1487"/>
                  </a:cubicBezTo>
                  <a:lnTo>
                    <a:pt x="18286" y="1611"/>
                  </a:lnTo>
                  <a:cubicBezTo>
                    <a:pt x="18286" y="1713"/>
                    <a:pt x="18371" y="1798"/>
                    <a:pt x="18472" y="1798"/>
                  </a:cubicBezTo>
                  <a:close/>
                  <a:moveTo>
                    <a:pt x="18012" y="259"/>
                  </a:moveTo>
                  <a:cubicBezTo>
                    <a:pt x="18114" y="259"/>
                    <a:pt x="18199" y="175"/>
                    <a:pt x="18199" y="73"/>
                  </a:cubicBezTo>
                  <a:lnTo>
                    <a:pt x="18199" y="0"/>
                  </a:lnTo>
                  <a:lnTo>
                    <a:pt x="17826" y="0"/>
                  </a:lnTo>
                  <a:lnTo>
                    <a:pt x="17826" y="73"/>
                  </a:lnTo>
                  <a:cubicBezTo>
                    <a:pt x="17826" y="175"/>
                    <a:pt x="17908" y="259"/>
                    <a:pt x="18012" y="259"/>
                  </a:cubicBezTo>
                  <a:close/>
                  <a:moveTo>
                    <a:pt x="19121" y="1871"/>
                  </a:moveTo>
                  <a:lnTo>
                    <a:pt x="19121" y="1798"/>
                  </a:lnTo>
                  <a:cubicBezTo>
                    <a:pt x="19121" y="1696"/>
                    <a:pt x="19037" y="1611"/>
                    <a:pt x="18935" y="1611"/>
                  </a:cubicBezTo>
                  <a:cubicBezTo>
                    <a:pt x="18833" y="1611"/>
                    <a:pt x="18749" y="1696"/>
                    <a:pt x="18749" y="1798"/>
                  </a:cubicBezTo>
                  <a:lnTo>
                    <a:pt x="18749" y="1871"/>
                  </a:lnTo>
                  <a:lnTo>
                    <a:pt x="19121" y="1871"/>
                  </a:lnTo>
                  <a:close/>
                  <a:moveTo>
                    <a:pt x="18196" y="1871"/>
                  </a:moveTo>
                  <a:lnTo>
                    <a:pt x="18196" y="1798"/>
                  </a:lnTo>
                  <a:cubicBezTo>
                    <a:pt x="18196" y="1696"/>
                    <a:pt x="18111" y="1611"/>
                    <a:pt x="18009" y="1611"/>
                  </a:cubicBezTo>
                  <a:cubicBezTo>
                    <a:pt x="17908" y="1611"/>
                    <a:pt x="17823" y="1696"/>
                    <a:pt x="17823" y="1798"/>
                  </a:cubicBezTo>
                  <a:lnTo>
                    <a:pt x="17823" y="1871"/>
                  </a:lnTo>
                  <a:lnTo>
                    <a:pt x="18196" y="1871"/>
                  </a:lnTo>
                  <a:close/>
                  <a:moveTo>
                    <a:pt x="17549" y="567"/>
                  </a:moveTo>
                  <a:lnTo>
                    <a:pt x="17549" y="567"/>
                  </a:lnTo>
                  <a:cubicBezTo>
                    <a:pt x="17651" y="567"/>
                    <a:pt x="17736" y="482"/>
                    <a:pt x="17736" y="381"/>
                  </a:cubicBezTo>
                  <a:lnTo>
                    <a:pt x="17736" y="257"/>
                  </a:lnTo>
                  <a:cubicBezTo>
                    <a:pt x="17736" y="155"/>
                    <a:pt x="17651" y="70"/>
                    <a:pt x="17549" y="70"/>
                  </a:cubicBezTo>
                  <a:lnTo>
                    <a:pt x="17549" y="70"/>
                  </a:lnTo>
                  <a:cubicBezTo>
                    <a:pt x="17448" y="70"/>
                    <a:pt x="17363" y="155"/>
                    <a:pt x="17363" y="257"/>
                  </a:cubicBezTo>
                  <a:lnTo>
                    <a:pt x="17363" y="381"/>
                  </a:lnTo>
                  <a:cubicBezTo>
                    <a:pt x="17363" y="482"/>
                    <a:pt x="17445" y="567"/>
                    <a:pt x="17549" y="567"/>
                  </a:cubicBezTo>
                  <a:close/>
                  <a:moveTo>
                    <a:pt x="18012" y="875"/>
                  </a:moveTo>
                  <a:cubicBezTo>
                    <a:pt x="18114" y="875"/>
                    <a:pt x="18199" y="790"/>
                    <a:pt x="18199" y="688"/>
                  </a:cubicBezTo>
                  <a:lnTo>
                    <a:pt x="18199" y="564"/>
                  </a:lnTo>
                  <a:cubicBezTo>
                    <a:pt x="18199" y="463"/>
                    <a:pt x="18114" y="378"/>
                    <a:pt x="18012" y="378"/>
                  </a:cubicBezTo>
                  <a:cubicBezTo>
                    <a:pt x="17911" y="378"/>
                    <a:pt x="17826" y="463"/>
                    <a:pt x="17826" y="564"/>
                  </a:cubicBezTo>
                  <a:lnTo>
                    <a:pt x="17826" y="688"/>
                  </a:lnTo>
                  <a:cubicBezTo>
                    <a:pt x="17826" y="790"/>
                    <a:pt x="17908" y="875"/>
                    <a:pt x="18012" y="875"/>
                  </a:cubicBezTo>
                  <a:close/>
                  <a:moveTo>
                    <a:pt x="18935" y="1490"/>
                  </a:moveTo>
                  <a:cubicBezTo>
                    <a:pt x="19037" y="1490"/>
                    <a:pt x="19121" y="1405"/>
                    <a:pt x="19121" y="1304"/>
                  </a:cubicBezTo>
                  <a:lnTo>
                    <a:pt x="19121" y="1179"/>
                  </a:lnTo>
                  <a:cubicBezTo>
                    <a:pt x="19121" y="1078"/>
                    <a:pt x="19037" y="993"/>
                    <a:pt x="18935" y="993"/>
                  </a:cubicBezTo>
                  <a:cubicBezTo>
                    <a:pt x="18833" y="993"/>
                    <a:pt x="18749" y="1078"/>
                    <a:pt x="18749" y="1179"/>
                  </a:cubicBezTo>
                  <a:lnTo>
                    <a:pt x="18749" y="1304"/>
                  </a:lnTo>
                  <a:cubicBezTo>
                    <a:pt x="18749" y="1408"/>
                    <a:pt x="18831" y="1490"/>
                    <a:pt x="18935" y="1490"/>
                  </a:cubicBezTo>
                  <a:close/>
                  <a:moveTo>
                    <a:pt x="18012" y="1490"/>
                  </a:moveTo>
                  <a:cubicBezTo>
                    <a:pt x="18114" y="1490"/>
                    <a:pt x="18199" y="1405"/>
                    <a:pt x="18199" y="1304"/>
                  </a:cubicBezTo>
                  <a:lnTo>
                    <a:pt x="18199" y="1179"/>
                  </a:lnTo>
                  <a:cubicBezTo>
                    <a:pt x="18199" y="1078"/>
                    <a:pt x="18114" y="993"/>
                    <a:pt x="18012" y="993"/>
                  </a:cubicBezTo>
                  <a:cubicBezTo>
                    <a:pt x="17911" y="993"/>
                    <a:pt x="17826" y="1078"/>
                    <a:pt x="17826" y="1179"/>
                  </a:cubicBezTo>
                  <a:lnTo>
                    <a:pt x="17826" y="1304"/>
                  </a:lnTo>
                  <a:cubicBezTo>
                    <a:pt x="17826" y="1408"/>
                    <a:pt x="17908" y="1490"/>
                    <a:pt x="18012" y="1490"/>
                  </a:cubicBezTo>
                  <a:close/>
                  <a:moveTo>
                    <a:pt x="18935" y="875"/>
                  </a:moveTo>
                  <a:cubicBezTo>
                    <a:pt x="19037" y="875"/>
                    <a:pt x="19121" y="790"/>
                    <a:pt x="19121" y="688"/>
                  </a:cubicBezTo>
                  <a:lnTo>
                    <a:pt x="19121" y="564"/>
                  </a:lnTo>
                  <a:cubicBezTo>
                    <a:pt x="19121" y="463"/>
                    <a:pt x="19037" y="378"/>
                    <a:pt x="18935" y="378"/>
                  </a:cubicBezTo>
                  <a:cubicBezTo>
                    <a:pt x="18833" y="378"/>
                    <a:pt x="18749" y="463"/>
                    <a:pt x="18749" y="564"/>
                  </a:cubicBezTo>
                  <a:lnTo>
                    <a:pt x="18749" y="688"/>
                  </a:lnTo>
                  <a:cubicBezTo>
                    <a:pt x="18749" y="790"/>
                    <a:pt x="18831" y="875"/>
                    <a:pt x="18935" y="875"/>
                  </a:cubicBezTo>
                  <a:close/>
                  <a:moveTo>
                    <a:pt x="20044" y="1871"/>
                  </a:moveTo>
                  <a:lnTo>
                    <a:pt x="20044" y="1798"/>
                  </a:lnTo>
                  <a:cubicBezTo>
                    <a:pt x="20044" y="1696"/>
                    <a:pt x="19960" y="1611"/>
                    <a:pt x="19858" y="1611"/>
                  </a:cubicBezTo>
                  <a:cubicBezTo>
                    <a:pt x="19757" y="1611"/>
                    <a:pt x="19672" y="1696"/>
                    <a:pt x="19672" y="1798"/>
                  </a:cubicBezTo>
                  <a:lnTo>
                    <a:pt x="19672" y="1871"/>
                  </a:lnTo>
                  <a:lnTo>
                    <a:pt x="20044" y="1871"/>
                  </a:lnTo>
                  <a:close/>
                  <a:moveTo>
                    <a:pt x="19858" y="875"/>
                  </a:moveTo>
                  <a:cubicBezTo>
                    <a:pt x="19959" y="875"/>
                    <a:pt x="20044" y="790"/>
                    <a:pt x="20044" y="688"/>
                  </a:cubicBezTo>
                  <a:lnTo>
                    <a:pt x="20044" y="564"/>
                  </a:lnTo>
                  <a:cubicBezTo>
                    <a:pt x="20044" y="463"/>
                    <a:pt x="19960" y="378"/>
                    <a:pt x="19858" y="378"/>
                  </a:cubicBezTo>
                  <a:cubicBezTo>
                    <a:pt x="19757" y="378"/>
                    <a:pt x="19672" y="463"/>
                    <a:pt x="19672" y="564"/>
                  </a:cubicBezTo>
                  <a:lnTo>
                    <a:pt x="19672" y="688"/>
                  </a:lnTo>
                  <a:cubicBezTo>
                    <a:pt x="19672" y="790"/>
                    <a:pt x="19756" y="875"/>
                    <a:pt x="19858" y="875"/>
                  </a:cubicBezTo>
                  <a:close/>
                  <a:moveTo>
                    <a:pt x="17549" y="1182"/>
                  </a:moveTo>
                  <a:lnTo>
                    <a:pt x="17549" y="1182"/>
                  </a:lnTo>
                  <a:cubicBezTo>
                    <a:pt x="17651" y="1182"/>
                    <a:pt x="17736" y="1098"/>
                    <a:pt x="17736" y="996"/>
                  </a:cubicBezTo>
                  <a:lnTo>
                    <a:pt x="17736" y="872"/>
                  </a:lnTo>
                  <a:cubicBezTo>
                    <a:pt x="17736" y="770"/>
                    <a:pt x="17651" y="686"/>
                    <a:pt x="17549" y="686"/>
                  </a:cubicBezTo>
                  <a:lnTo>
                    <a:pt x="17549" y="686"/>
                  </a:lnTo>
                  <a:cubicBezTo>
                    <a:pt x="17448" y="686"/>
                    <a:pt x="17363" y="770"/>
                    <a:pt x="17363" y="872"/>
                  </a:cubicBezTo>
                  <a:lnTo>
                    <a:pt x="17363" y="996"/>
                  </a:lnTo>
                  <a:cubicBezTo>
                    <a:pt x="17363" y="1098"/>
                    <a:pt x="17445" y="1182"/>
                    <a:pt x="17549" y="1182"/>
                  </a:cubicBezTo>
                  <a:close/>
                  <a:moveTo>
                    <a:pt x="19858" y="259"/>
                  </a:moveTo>
                  <a:cubicBezTo>
                    <a:pt x="19959" y="259"/>
                    <a:pt x="20044" y="175"/>
                    <a:pt x="20044" y="73"/>
                  </a:cubicBezTo>
                  <a:lnTo>
                    <a:pt x="20044" y="0"/>
                  </a:lnTo>
                  <a:lnTo>
                    <a:pt x="19672" y="0"/>
                  </a:lnTo>
                  <a:lnTo>
                    <a:pt x="19672" y="73"/>
                  </a:lnTo>
                  <a:cubicBezTo>
                    <a:pt x="19672" y="175"/>
                    <a:pt x="19756" y="259"/>
                    <a:pt x="19858" y="259"/>
                  </a:cubicBezTo>
                  <a:close/>
                  <a:moveTo>
                    <a:pt x="19858" y="1490"/>
                  </a:moveTo>
                  <a:cubicBezTo>
                    <a:pt x="19959" y="1490"/>
                    <a:pt x="20044" y="1405"/>
                    <a:pt x="20044" y="1304"/>
                  </a:cubicBezTo>
                  <a:lnTo>
                    <a:pt x="20044" y="1179"/>
                  </a:lnTo>
                  <a:cubicBezTo>
                    <a:pt x="20044" y="1078"/>
                    <a:pt x="19960" y="993"/>
                    <a:pt x="19858" y="993"/>
                  </a:cubicBezTo>
                  <a:cubicBezTo>
                    <a:pt x="19757" y="993"/>
                    <a:pt x="19672" y="1078"/>
                    <a:pt x="19672" y="1179"/>
                  </a:cubicBezTo>
                  <a:lnTo>
                    <a:pt x="19672" y="1304"/>
                  </a:lnTo>
                  <a:cubicBezTo>
                    <a:pt x="19672" y="1408"/>
                    <a:pt x="19756" y="1490"/>
                    <a:pt x="19858" y="1490"/>
                  </a:cubicBezTo>
                  <a:close/>
                  <a:moveTo>
                    <a:pt x="19398" y="1798"/>
                  </a:moveTo>
                  <a:cubicBezTo>
                    <a:pt x="19499" y="1798"/>
                    <a:pt x="19584" y="1713"/>
                    <a:pt x="19584" y="1611"/>
                  </a:cubicBezTo>
                  <a:lnTo>
                    <a:pt x="19584" y="1487"/>
                  </a:lnTo>
                  <a:cubicBezTo>
                    <a:pt x="19584" y="1385"/>
                    <a:pt x="19500" y="1301"/>
                    <a:pt x="19398" y="1301"/>
                  </a:cubicBezTo>
                  <a:cubicBezTo>
                    <a:pt x="19297" y="1301"/>
                    <a:pt x="19212" y="1385"/>
                    <a:pt x="19212" y="1487"/>
                  </a:cubicBezTo>
                  <a:lnTo>
                    <a:pt x="19212" y="1611"/>
                  </a:lnTo>
                  <a:cubicBezTo>
                    <a:pt x="19212" y="1713"/>
                    <a:pt x="19293" y="1798"/>
                    <a:pt x="19398" y="1798"/>
                  </a:cubicBezTo>
                  <a:close/>
                  <a:moveTo>
                    <a:pt x="18935" y="259"/>
                  </a:moveTo>
                  <a:cubicBezTo>
                    <a:pt x="19037" y="259"/>
                    <a:pt x="19121" y="175"/>
                    <a:pt x="19121" y="73"/>
                  </a:cubicBezTo>
                  <a:lnTo>
                    <a:pt x="19121" y="0"/>
                  </a:lnTo>
                  <a:lnTo>
                    <a:pt x="18749" y="0"/>
                  </a:lnTo>
                  <a:lnTo>
                    <a:pt x="18749" y="73"/>
                  </a:lnTo>
                  <a:cubicBezTo>
                    <a:pt x="18749" y="175"/>
                    <a:pt x="18831" y="259"/>
                    <a:pt x="18935" y="259"/>
                  </a:cubicBezTo>
                  <a:close/>
                  <a:moveTo>
                    <a:pt x="19398" y="567"/>
                  </a:moveTo>
                  <a:cubicBezTo>
                    <a:pt x="19499" y="567"/>
                    <a:pt x="19584" y="482"/>
                    <a:pt x="19584" y="381"/>
                  </a:cubicBezTo>
                  <a:lnTo>
                    <a:pt x="19584" y="257"/>
                  </a:lnTo>
                  <a:cubicBezTo>
                    <a:pt x="19584" y="155"/>
                    <a:pt x="19500" y="70"/>
                    <a:pt x="19398" y="70"/>
                  </a:cubicBezTo>
                  <a:cubicBezTo>
                    <a:pt x="19297" y="70"/>
                    <a:pt x="19212" y="155"/>
                    <a:pt x="19212" y="257"/>
                  </a:cubicBezTo>
                  <a:lnTo>
                    <a:pt x="19212" y="381"/>
                  </a:lnTo>
                  <a:cubicBezTo>
                    <a:pt x="19212" y="482"/>
                    <a:pt x="19293" y="567"/>
                    <a:pt x="19398" y="567"/>
                  </a:cubicBezTo>
                  <a:close/>
                  <a:moveTo>
                    <a:pt x="19398" y="1182"/>
                  </a:moveTo>
                  <a:cubicBezTo>
                    <a:pt x="19499" y="1182"/>
                    <a:pt x="19584" y="1098"/>
                    <a:pt x="19584" y="996"/>
                  </a:cubicBezTo>
                  <a:lnTo>
                    <a:pt x="19584" y="872"/>
                  </a:lnTo>
                  <a:cubicBezTo>
                    <a:pt x="19584" y="770"/>
                    <a:pt x="19500" y="686"/>
                    <a:pt x="19398" y="686"/>
                  </a:cubicBezTo>
                  <a:cubicBezTo>
                    <a:pt x="19297" y="686"/>
                    <a:pt x="19212" y="770"/>
                    <a:pt x="19212" y="872"/>
                  </a:cubicBezTo>
                  <a:lnTo>
                    <a:pt x="19212" y="996"/>
                  </a:lnTo>
                  <a:cubicBezTo>
                    <a:pt x="19212" y="1098"/>
                    <a:pt x="19293" y="1182"/>
                    <a:pt x="19398" y="1182"/>
                  </a:cubicBezTo>
                  <a:close/>
                  <a:moveTo>
                    <a:pt x="18472" y="1182"/>
                  </a:moveTo>
                  <a:cubicBezTo>
                    <a:pt x="18574" y="1182"/>
                    <a:pt x="18659" y="1098"/>
                    <a:pt x="18659" y="996"/>
                  </a:cubicBezTo>
                  <a:lnTo>
                    <a:pt x="18659" y="872"/>
                  </a:lnTo>
                  <a:cubicBezTo>
                    <a:pt x="18659" y="770"/>
                    <a:pt x="18574" y="686"/>
                    <a:pt x="18472" y="686"/>
                  </a:cubicBezTo>
                  <a:cubicBezTo>
                    <a:pt x="18371" y="686"/>
                    <a:pt x="18286" y="770"/>
                    <a:pt x="18286" y="872"/>
                  </a:cubicBezTo>
                  <a:lnTo>
                    <a:pt x="18286" y="996"/>
                  </a:lnTo>
                  <a:cubicBezTo>
                    <a:pt x="18286" y="1098"/>
                    <a:pt x="18371" y="1182"/>
                    <a:pt x="18472" y="1182"/>
                  </a:cubicBezTo>
                  <a:close/>
                  <a:moveTo>
                    <a:pt x="15701" y="567"/>
                  </a:moveTo>
                  <a:cubicBezTo>
                    <a:pt x="15803" y="567"/>
                    <a:pt x="15887" y="482"/>
                    <a:pt x="15887" y="381"/>
                  </a:cubicBezTo>
                  <a:lnTo>
                    <a:pt x="15887" y="257"/>
                  </a:lnTo>
                  <a:cubicBezTo>
                    <a:pt x="15887" y="155"/>
                    <a:pt x="15803" y="70"/>
                    <a:pt x="15701" y="70"/>
                  </a:cubicBezTo>
                  <a:cubicBezTo>
                    <a:pt x="15599" y="70"/>
                    <a:pt x="15515" y="155"/>
                    <a:pt x="15515" y="257"/>
                  </a:cubicBezTo>
                  <a:lnTo>
                    <a:pt x="15515" y="381"/>
                  </a:lnTo>
                  <a:cubicBezTo>
                    <a:pt x="15515" y="482"/>
                    <a:pt x="15599" y="567"/>
                    <a:pt x="15701" y="567"/>
                  </a:cubicBezTo>
                  <a:close/>
                  <a:moveTo>
                    <a:pt x="16350" y="1871"/>
                  </a:moveTo>
                  <a:lnTo>
                    <a:pt x="16350" y="1798"/>
                  </a:lnTo>
                  <a:cubicBezTo>
                    <a:pt x="16350" y="1696"/>
                    <a:pt x="16266" y="1611"/>
                    <a:pt x="16164" y="1611"/>
                  </a:cubicBezTo>
                  <a:cubicBezTo>
                    <a:pt x="16063" y="1611"/>
                    <a:pt x="15978" y="1696"/>
                    <a:pt x="15978" y="1798"/>
                  </a:cubicBezTo>
                  <a:lnTo>
                    <a:pt x="15978" y="1871"/>
                  </a:lnTo>
                  <a:lnTo>
                    <a:pt x="16350" y="1871"/>
                  </a:lnTo>
                  <a:close/>
                  <a:moveTo>
                    <a:pt x="16164" y="1490"/>
                  </a:moveTo>
                  <a:cubicBezTo>
                    <a:pt x="16265" y="1490"/>
                    <a:pt x="16350" y="1405"/>
                    <a:pt x="16350" y="1304"/>
                  </a:cubicBezTo>
                  <a:lnTo>
                    <a:pt x="16350" y="1179"/>
                  </a:lnTo>
                  <a:cubicBezTo>
                    <a:pt x="16350" y="1078"/>
                    <a:pt x="16266" y="993"/>
                    <a:pt x="16164" y="993"/>
                  </a:cubicBezTo>
                  <a:cubicBezTo>
                    <a:pt x="16063" y="993"/>
                    <a:pt x="15978" y="1078"/>
                    <a:pt x="15978" y="1179"/>
                  </a:cubicBezTo>
                  <a:lnTo>
                    <a:pt x="15978" y="1304"/>
                  </a:lnTo>
                  <a:cubicBezTo>
                    <a:pt x="15978" y="1408"/>
                    <a:pt x="16062" y="1490"/>
                    <a:pt x="16164" y="1490"/>
                  </a:cubicBezTo>
                  <a:close/>
                  <a:moveTo>
                    <a:pt x="15701" y="1182"/>
                  </a:moveTo>
                  <a:cubicBezTo>
                    <a:pt x="15803" y="1182"/>
                    <a:pt x="15887" y="1098"/>
                    <a:pt x="15887" y="996"/>
                  </a:cubicBezTo>
                  <a:lnTo>
                    <a:pt x="15887" y="872"/>
                  </a:lnTo>
                  <a:cubicBezTo>
                    <a:pt x="15887" y="770"/>
                    <a:pt x="15803" y="686"/>
                    <a:pt x="15701" y="686"/>
                  </a:cubicBezTo>
                  <a:cubicBezTo>
                    <a:pt x="15599" y="686"/>
                    <a:pt x="15515" y="770"/>
                    <a:pt x="15515" y="872"/>
                  </a:cubicBezTo>
                  <a:lnTo>
                    <a:pt x="15515" y="996"/>
                  </a:lnTo>
                  <a:cubicBezTo>
                    <a:pt x="15515" y="1098"/>
                    <a:pt x="15599" y="1182"/>
                    <a:pt x="15701" y="1182"/>
                  </a:cubicBezTo>
                  <a:close/>
                  <a:moveTo>
                    <a:pt x="15241" y="259"/>
                  </a:moveTo>
                  <a:cubicBezTo>
                    <a:pt x="15343" y="259"/>
                    <a:pt x="15427" y="175"/>
                    <a:pt x="15427" y="73"/>
                  </a:cubicBezTo>
                  <a:lnTo>
                    <a:pt x="15427" y="0"/>
                  </a:lnTo>
                  <a:lnTo>
                    <a:pt x="15055" y="0"/>
                  </a:lnTo>
                  <a:lnTo>
                    <a:pt x="15055" y="73"/>
                  </a:lnTo>
                  <a:cubicBezTo>
                    <a:pt x="15055" y="175"/>
                    <a:pt x="15137" y="259"/>
                    <a:pt x="15241" y="259"/>
                  </a:cubicBezTo>
                  <a:close/>
                  <a:moveTo>
                    <a:pt x="15241" y="875"/>
                  </a:moveTo>
                  <a:cubicBezTo>
                    <a:pt x="15343" y="875"/>
                    <a:pt x="15427" y="790"/>
                    <a:pt x="15427" y="688"/>
                  </a:cubicBezTo>
                  <a:lnTo>
                    <a:pt x="15427" y="564"/>
                  </a:lnTo>
                  <a:cubicBezTo>
                    <a:pt x="15427" y="463"/>
                    <a:pt x="15343" y="378"/>
                    <a:pt x="15241" y="378"/>
                  </a:cubicBezTo>
                  <a:cubicBezTo>
                    <a:pt x="15139" y="378"/>
                    <a:pt x="15055" y="463"/>
                    <a:pt x="15055" y="564"/>
                  </a:cubicBezTo>
                  <a:lnTo>
                    <a:pt x="15055" y="688"/>
                  </a:lnTo>
                  <a:cubicBezTo>
                    <a:pt x="15055" y="790"/>
                    <a:pt x="15137" y="875"/>
                    <a:pt x="15241" y="875"/>
                  </a:cubicBezTo>
                  <a:close/>
                  <a:moveTo>
                    <a:pt x="15241" y="1490"/>
                  </a:moveTo>
                  <a:cubicBezTo>
                    <a:pt x="15343" y="1490"/>
                    <a:pt x="15427" y="1405"/>
                    <a:pt x="15427" y="1304"/>
                  </a:cubicBezTo>
                  <a:lnTo>
                    <a:pt x="15427" y="1179"/>
                  </a:lnTo>
                  <a:cubicBezTo>
                    <a:pt x="15427" y="1078"/>
                    <a:pt x="15343" y="993"/>
                    <a:pt x="15241" y="993"/>
                  </a:cubicBezTo>
                  <a:cubicBezTo>
                    <a:pt x="15139" y="993"/>
                    <a:pt x="15055" y="1078"/>
                    <a:pt x="15055" y="1179"/>
                  </a:cubicBezTo>
                  <a:lnTo>
                    <a:pt x="15055" y="1304"/>
                  </a:lnTo>
                  <a:cubicBezTo>
                    <a:pt x="15055" y="1408"/>
                    <a:pt x="15137" y="1490"/>
                    <a:pt x="15241" y="1490"/>
                  </a:cubicBezTo>
                  <a:close/>
                  <a:moveTo>
                    <a:pt x="16164" y="875"/>
                  </a:moveTo>
                  <a:cubicBezTo>
                    <a:pt x="16265" y="875"/>
                    <a:pt x="16350" y="790"/>
                    <a:pt x="16350" y="688"/>
                  </a:cubicBezTo>
                  <a:lnTo>
                    <a:pt x="16350" y="564"/>
                  </a:lnTo>
                  <a:cubicBezTo>
                    <a:pt x="16350" y="463"/>
                    <a:pt x="16266" y="378"/>
                    <a:pt x="16164" y="378"/>
                  </a:cubicBezTo>
                  <a:cubicBezTo>
                    <a:pt x="16063" y="378"/>
                    <a:pt x="15978" y="463"/>
                    <a:pt x="15978" y="564"/>
                  </a:cubicBezTo>
                  <a:lnTo>
                    <a:pt x="15978" y="688"/>
                  </a:lnTo>
                  <a:cubicBezTo>
                    <a:pt x="15978" y="790"/>
                    <a:pt x="16062" y="875"/>
                    <a:pt x="16164" y="875"/>
                  </a:cubicBezTo>
                  <a:close/>
                  <a:moveTo>
                    <a:pt x="17549" y="1798"/>
                  </a:moveTo>
                  <a:lnTo>
                    <a:pt x="17549" y="1798"/>
                  </a:lnTo>
                  <a:cubicBezTo>
                    <a:pt x="17651" y="1798"/>
                    <a:pt x="17736" y="1713"/>
                    <a:pt x="17736" y="1611"/>
                  </a:cubicBezTo>
                  <a:lnTo>
                    <a:pt x="17736" y="1487"/>
                  </a:lnTo>
                  <a:cubicBezTo>
                    <a:pt x="17736" y="1385"/>
                    <a:pt x="17651" y="1301"/>
                    <a:pt x="17549" y="1301"/>
                  </a:cubicBezTo>
                  <a:lnTo>
                    <a:pt x="17549" y="1301"/>
                  </a:lnTo>
                  <a:cubicBezTo>
                    <a:pt x="17448" y="1301"/>
                    <a:pt x="17363" y="1385"/>
                    <a:pt x="17363" y="1487"/>
                  </a:cubicBezTo>
                  <a:lnTo>
                    <a:pt x="17363" y="1611"/>
                  </a:lnTo>
                  <a:cubicBezTo>
                    <a:pt x="17363" y="1713"/>
                    <a:pt x="17445" y="1798"/>
                    <a:pt x="17549" y="1798"/>
                  </a:cubicBezTo>
                  <a:close/>
                  <a:moveTo>
                    <a:pt x="15701" y="1798"/>
                  </a:moveTo>
                  <a:cubicBezTo>
                    <a:pt x="15803" y="1798"/>
                    <a:pt x="15887" y="1713"/>
                    <a:pt x="15887" y="1611"/>
                  </a:cubicBezTo>
                  <a:lnTo>
                    <a:pt x="15887" y="1487"/>
                  </a:lnTo>
                  <a:cubicBezTo>
                    <a:pt x="15887" y="1385"/>
                    <a:pt x="15803" y="1301"/>
                    <a:pt x="15701" y="1301"/>
                  </a:cubicBezTo>
                  <a:cubicBezTo>
                    <a:pt x="15599" y="1301"/>
                    <a:pt x="15515" y="1385"/>
                    <a:pt x="15515" y="1487"/>
                  </a:cubicBezTo>
                  <a:lnTo>
                    <a:pt x="15515" y="1611"/>
                  </a:lnTo>
                  <a:cubicBezTo>
                    <a:pt x="15515" y="1713"/>
                    <a:pt x="15599" y="1798"/>
                    <a:pt x="15701" y="1798"/>
                  </a:cubicBezTo>
                  <a:close/>
                  <a:moveTo>
                    <a:pt x="16164" y="259"/>
                  </a:moveTo>
                  <a:cubicBezTo>
                    <a:pt x="16265" y="259"/>
                    <a:pt x="16350" y="175"/>
                    <a:pt x="16350" y="73"/>
                  </a:cubicBezTo>
                  <a:lnTo>
                    <a:pt x="16350" y="0"/>
                  </a:lnTo>
                  <a:lnTo>
                    <a:pt x="15978" y="0"/>
                  </a:lnTo>
                  <a:lnTo>
                    <a:pt x="15978" y="73"/>
                  </a:lnTo>
                  <a:cubicBezTo>
                    <a:pt x="15978" y="175"/>
                    <a:pt x="16062" y="259"/>
                    <a:pt x="16164" y="259"/>
                  </a:cubicBezTo>
                  <a:close/>
                  <a:moveTo>
                    <a:pt x="17087" y="1490"/>
                  </a:moveTo>
                  <a:cubicBezTo>
                    <a:pt x="17188" y="1490"/>
                    <a:pt x="17273" y="1405"/>
                    <a:pt x="17273" y="1304"/>
                  </a:cubicBezTo>
                  <a:lnTo>
                    <a:pt x="17273" y="1179"/>
                  </a:lnTo>
                  <a:cubicBezTo>
                    <a:pt x="17273" y="1078"/>
                    <a:pt x="17189" y="993"/>
                    <a:pt x="17087" y="993"/>
                  </a:cubicBezTo>
                  <a:cubicBezTo>
                    <a:pt x="16986" y="993"/>
                    <a:pt x="16900" y="1078"/>
                    <a:pt x="16900" y="1179"/>
                  </a:cubicBezTo>
                  <a:lnTo>
                    <a:pt x="16900" y="1304"/>
                  </a:lnTo>
                  <a:cubicBezTo>
                    <a:pt x="16900" y="1408"/>
                    <a:pt x="16985" y="1490"/>
                    <a:pt x="17087" y="1490"/>
                  </a:cubicBezTo>
                  <a:close/>
                  <a:moveTo>
                    <a:pt x="17087" y="259"/>
                  </a:moveTo>
                  <a:cubicBezTo>
                    <a:pt x="17188" y="259"/>
                    <a:pt x="17273" y="175"/>
                    <a:pt x="17273" y="73"/>
                  </a:cubicBezTo>
                  <a:lnTo>
                    <a:pt x="17273" y="0"/>
                  </a:lnTo>
                  <a:lnTo>
                    <a:pt x="16900" y="0"/>
                  </a:lnTo>
                  <a:lnTo>
                    <a:pt x="16900" y="73"/>
                  </a:lnTo>
                  <a:cubicBezTo>
                    <a:pt x="16900" y="175"/>
                    <a:pt x="16985" y="259"/>
                    <a:pt x="17087" y="259"/>
                  </a:cubicBezTo>
                  <a:close/>
                  <a:moveTo>
                    <a:pt x="17273" y="1871"/>
                  </a:moveTo>
                  <a:lnTo>
                    <a:pt x="17273" y="1798"/>
                  </a:lnTo>
                  <a:cubicBezTo>
                    <a:pt x="17273" y="1696"/>
                    <a:pt x="17189" y="1611"/>
                    <a:pt x="17087" y="1611"/>
                  </a:cubicBezTo>
                  <a:cubicBezTo>
                    <a:pt x="16986" y="1611"/>
                    <a:pt x="16900" y="1696"/>
                    <a:pt x="16900" y="1798"/>
                  </a:cubicBezTo>
                  <a:lnTo>
                    <a:pt x="16900" y="1871"/>
                  </a:lnTo>
                  <a:lnTo>
                    <a:pt x="17273" y="1871"/>
                  </a:lnTo>
                  <a:close/>
                  <a:moveTo>
                    <a:pt x="17087" y="875"/>
                  </a:moveTo>
                  <a:cubicBezTo>
                    <a:pt x="17188" y="875"/>
                    <a:pt x="17273" y="790"/>
                    <a:pt x="17273" y="688"/>
                  </a:cubicBezTo>
                  <a:lnTo>
                    <a:pt x="17273" y="564"/>
                  </a:lnTo>
                  <a:cubicBezTo>
                    <a:pt x="17273" y="463"/>
                    <a:pt x="17189" y="378"/>
                    <a:pt x="17087" y="378"/>
                  </a:cubicBezTo>
                  <a:cubicBezTo>
                    <a:pt x="16986" y="378"/>
                    <a:pt x="16900" y="463"/>
                    <a:pt x="16900" y="564"/>
                  </a:cubicBezTo>
                  <a:lnTo>
                    <a:pt x="16900" y="688"/>
                  </a:lnTo>
                  <a:cubicBezTo>
                    <a:pt x="16900" y="790"/>
                    <a:pt x="16985" y="875"/>
                    <a:pt x="17087" y="875"/>
                  </a:cubicBezTo>
                  <a:close/>
                  <a:moveTo>
                    <a:pt x="16627" y="1798"/>
                  </a:moveTo>
                  <a:cubicBezTo>
                    <a:pt x="16728" y="1798"/>
                    <a:pt x="16813" y="1713"/>
                    <a:pt x="16813" y="1611"/>
                  </a:cubicBezTo>
                  <a:lnTo>
                    <a:pt x="16813" y="1487"/>
                  </a:lnTo>
                  <a:cubicBezTo>
                    <a:pt x="16813" y="1385"/>
                    <a:pt x="16729" y="1301"/>
                    <a:pt x="16627" y="1301"/>
                  </a:cubicBezTo>
                  <a:cubicBezTo>
                    <a:pt x="16526" y="1301"/>
                    <a:pt x="16440" y="1385"/>
                    <a:pt x="16440" y="1487"/>
                  </a:cubicBezTo>
                  <a:lnTo>
                    <a:pt x="16440" y="1611"/>
                  </a:lnTo>
                  <a:cubicBezTo>
                    <a:pt x="16440" y="1713"/>
                    <a:pt x="16522" y="1798"/>
                    <a:pt x="16627" y="1798"/>
                  </a:cubicBezTo>
                  <a:close/>
                  <a:moveTo>
                    <a:pt x="16627" y="567"/>
                  </a:moveTo>
                  <a:cubicBezTo>
                    <a:pt x="16728" y="567"/>
                    <a:pt x="16813" y="482"/>
                    <a:pt x="16813" y="381"/>
                  </a:cubicBezTo>
                  <a:lnTo>
                    <a:pt x="16813" y="257"/>
                  </a:lnTo>
                  <a:cubicBezTo>
                    <a:pt x="16813" y="155"/>
                    <a:pt x="16729" y="70"/>
                    <a:pt x="16627" y="70"/>
                  </a:cubicBezTo>
                  <a:cubicBezTo>
                    <a:pt x="16526" y="70"/>
                    <a:pt x="16440" y="155"/>
                    <a:pt x="16440" y="257"/>
                  </a:cubicBezTo>
                  <a:lnTo>
                    <a:pt x="16440" y="381"/>
                  </a:lnTo>
                  <a:cubicBezTo>
                    <a:pt x="16440" y="482"/>
                    <a:pt x="16522" y="567"/>
                    <a:pt x="16627" y="567"/>
                  </a:cubicBezTo>
                  <a:close/>
                  <a:moveTo>
                    <a:pt x="16627" y="1182"/>
                  </a:moveTo>
                  <a:cubicBezTo>
                    <a:pt x="16728" y="1182"/>
                    <a:pt x="16813" y="1098"/>
                    <a:pt x="16813" y="996"/>
                  </a:cubicBezTo>
                  <a:lnTo>
                    <a:pt x="16813" y="872"/>
                  </a:lnTo>
                  <a:cubicBezTo>
                    <a:pt x="16813" y="770"/>
                    <a:pt x="16729" y="686"/>
                    <a:pt x="16627" y="686"/>
                  </a:cubicBezTo>
                  <a:cubicBezTo>
                    <a:pt x="16526" y="686"/>
                    <a:pt x="16440" y="770"/>
                    <a:pt x="16440" y="872"/>
                  </a:cubicBezTo>
                  <a:lnTo>
                    <a:pt x="16440" y="996"/>
                  </a:lnTo>
                  <a:cubicBezTo>
                    <a:pt x="16440" y="1098"/>
                    <a:pt x="16522" y="1182"/>
                    <a:pt x="16627" y="1182"/>
                  </a:cubicBezTo>
                  <a:close/>
                  <a:moveTo>
                    <a:pt x="18472" y="567"/>
                  </a:moveTo>
                  <a:cubicBezTo>
                    <a:pt x="18574" y="567"/>
                    <a:pt x="18659" y="482"/>
                    <a:pt x="18659" y="381"/>
                  </a:cubicBezTo>
                  <a:lnTo>
                    <a:pt x="18659" y="257"/>
                  </a:lnTo>
                  <a:cubicBezTo>
                    <a:pt x="18659" y="155"/>
                    <a:pt x="18574" y="70"/>
                    <a:pt x="18472" y="70"/>
                  </a:cubicBezTo>
                  <a:cubicBezTo>
                    <a:pt x="18371" y="70"/>
                    <a:pt x="18286" y="155"/>
                    <a:pt x="18286" y="257"/>
                  </a:cubicBezTo>
                  <a:lnTo>
                    <a:pt x="18286" y="381"/>
                  </a:lnTo>
                  <a:cubicBezTo>
                    <a:pt x="18286" y="482"/>
                    <a:pt x="18371" y="567"/>
                    <a:pt x="18472" y="567"/>
                  </a:cubicBezTo>
                  <a:close/>
                  <a:moveTo>
                    <a:pt x="2771" y="1182"/>
                  </a:moveTo>
                  <a:cubicBezTo>
                    <a:pt x="2873" y="1182"/>
                    <a:pt x="2958" y="1098"/>
                    <a:pt x="2958" y="996"/>
                  </a:cubicBezTo>
                  <a:lnTo>
                    <a:pt x="2958" y="872"/>
                  </a:lnTo>
                  <a:cubicBezTo>
                    <a:pt x="2958" y="770"/>
                    <a:pt x="2872" y="686"/>
                    <a:pt x="2771" y="686"/>
                  </a:cubicBezTo>
                  <a:cubicBezTo>
                    <a:pt x="2669" y="686"/>
                    <a:pt x="2585" y="770"/>
                    <a:pt x="2585" y="872"/>
                  </a:cubicBezTo>
                  <a:lnTo>
                    <a:pt x="2585" y="996"/>
                  </a:lnTo>
                  <a:cubicBezTo>
                    <a:pt x="2585" y="1098"/>
                    <a:pt x="2667" y="1182"/>
                    <a:pt x="2771" y="1182"/>
                  </a:cubicBezTo>
                  <a:close/>
                  <a:moveTo>
                    <a:pt x="2771" y="1798"/>
                  </a:moveTo>
                  <a:cubicBezTo>
                    <a:pt x="2873" y="1798"/>
                    <a:pt x="2958" y="1713"/>
                    <a:pt x="2958" y="1611"/>
                  </a:cubicBezTo>
                  <a:lnTo>
                    <a:pt x="2958" y="1487"/>
                  </a:lnTo>
                  <a:cubicBezTo>
                    <a:pt x="2958" y="1385"/>
                    <a:pt x="2872" y="1301"/>
                    <a:pt x="2771" y="1301"/>
                  </a:cubicBezTo>
                  <a:cubicBezTo>
                    <a:pt x="2669" y="1301"/>
                    <a:pt x="2585" y="1385"/>
                    <a:pt x="2585" y="1487"/>
                  </a:cubicBezTo>
                  <a:lnTo>
                    <a:pt x="2585" y="1611"/>
                  </a:lnTo>
                  <a:cubicBezTo>
                    <a:pt x="2585" y="1713"/>
                    <a:pt x="2667" y="1798"/>
                    <a:pt x="2771" y="1798"/>
                  </a:cubicBezTo>
                  <a:close/>
                  <a:moveTo>
                    <a:pt x="2771" y="567"/>
                  </a:moveTo>
                  <a:cubicBezTo>
                    <a:pt x="2873" y="567"/>
                    <a:pt x="2958" y="482"/>
                    <a:pt x="2958" y="381"/>
                  </a:cubicBezTo>
                  <a:lnTo>
                    <a:pt x="2958" y="257"/>
                  </a:lnTo>
                  <a:cubicBezTo>
                    <a:pt x="2958" y="155"/>
                    <a:pt x="2872" y="70"/>
                    <a:pt x="2771" y="70"/>
                  </a:cubicBezTo>
                  <a:cubicBezTo>
                    <a:pt x="2669" y="70"/>
                    <a:pt x="2585" y="155"/>
                    <a:pt x="2585" y="257"/>
                  </a:cubicBezTo>
                  <a:lnTo>
                    <a:pt x="2585" y="381"/>
                  </a:lnTo>
                  <a:cubicBezTo>
                    <a:pt x="2585" y="482"/>
                    <a:pt x="2667" y="567"/>
                    <a:pt x="2771" y="567"/>
                  </a:cubicBezTo>
                  <a:close/>
                  <a:moveTo>
                    <a:pt x="3418" y="1871"/>
                  </a:moveTo>
                  <a:lnTo>
                    <a:pt x="3418" y="1798"/>
                  </a:lnTo>
                  <a:cubicBezTo>
                    <a:pt x="3418" y="1696"/>
                    <a:pt x="3332" y="1611"/>
                    <a:pt x="3231" y="1611"/>
                  </a:cubicBezTo>
                  <a:cubicBezTo>
                    <a:pt x="3129" y="1611"/>
                    <a:pt x="3045" y="1696"/>
                    <a:pt x="3045" y="1798"/>
                  </a:cubicBezTo>
                  <a:lnTo>
                    <a:pt x="3045" y="1871"/>
                  </a:lnTo>
                  <a:lnTo>
                    <a:pt x="3418" y="1871"/>
                  </a:lnTo>
                  <a:close/>
                  <a:moveTo>
                    <a:pt x="2495" y="1871"/>
                  </a:moveTo>
                  <a:lnTo>
                    <a:pt x="2495" y="1798"/>
                  </a:lnTo>
                  <a:cubicBezTo>
                    <a:pt x="2495" y="1696"/>
                    <a:pt x="2410" y="1611"/>
                    <a:pt x="2309" y="1611"/>
                  </a:cubicBezTo>
                  <a:lnTo>
                    <a:pt x="2309" y="1611"/>
                  </a:lnTo>
                  <a:cubicBezTo>
                    <a:pt x="2207" y="1611"/>
                    <a:pt x="2122" y="1696"/>
                    <a:pt x="2122" y="1798"/>
                  </a:cubicBezTo>
                  <a:lnTo>
                    <a:pt x="2122" y="1871"/>
                  </a:lnTo>
                  <a:lnTo>
                    <a:pt x="2495" y="1871"/>
                  </a:lnTo>
                  <a:close/>
                  <a:moveTo>
                    <a:pt x="2309" y="1490"/>
                  </a:moveTo>
                  <a:lnTo>
                    <a:pt x="2309" y="1490"/>
                  </a:lnTo>
                  <a:cubicBezTo>
                    <a:pt x="2410" y="1490"/>
                    <a:pt x="2495" y="1405"/>
                    <a:pt x="2495" y="1304"/>
                  </a:cubicBezTo>
                  <a:lnTo>
                    <a:pt x="2495" y="1179"/>
                  </a:lnTo>
                  <a:cubicBezTo>
                    <a:pt x="2495" y="1078"/>
                    <a:pt x="2410" y="993"/>
                    <a:pt x="2309" y="993"/>
                  </a:cubicBezTo>
                  <a:lnTo>
                    <a:pt x="2309" y="993"/>
                  </a:lnTo>
                  <a:cubicBezTo>
                    <a:pt x="2207" y="993"/>
                    <a:pt x="2122" y="1078"/>
                    <a:pt x="2122" y="1179"/>
                  </a:cubicBezTo>
                  <a:lnTo>
                    <a:pt x="2122" y="1304"/>
                  </a:lnTo>
                  <a:cubicBezTo>
                    <a:pt x="2122" y="1408"/>
                    <a:pt x="2207" y="1490"/>
                    <a:pt x="2309" y="1490"/>
                  </a:cubicBezTo>
                  <a:close/>
                  <a:moveTo>
                    <a:pt x="3231" y="1490"/>
                  </a:moveTo>
                  <a:cubicBezTo>
                    <a:pt x="3333" y="1490"/>
                    <a:pt x="3418" y="1405"/>
                    <a:pt x="3418" y="1304"/>
                  </a:cubicBezTo>
                  <a:lnTo>
                    <a:pt x="3418" y="1179"/>
                  </a:lnTo>
                  <a:cubicBezTo>
                    <a:pt x="3418" y="1078"/>
                    <a:pt x="3332" y="993"/>
                    <a:pt x="3231" y="993"/>
                  </a:cubicBezTo>
                  <a:cubicBezTo>
                    <a:pt x="3129" y="993"/>
                    <a:pt x="3045" y="1078"/>
                    <a:pt x="3045" y="1179"/>
                  </a:cubicBezTo>
                  <a:lnTo>
                    <a:pt x="3045" y="1304"/>
                  </a:lnTo>
                  <a:cubicBezTo>
                    <a:pt x="3045" y="1408"/>
                    <a:pt x="3130" y="1490"/>
                    <a:pt x="3231" y="1490"/>
                  </a:cubicBezTo>
                  <a:close/>
                  <a:moveTo>
                    <a:pt x="2309" y="259"/>
                  </a:moveTo>
                  <a:lnTo>
                    <a:pt x="2309" y="259"/>
                  </a:lnTo>
                  <a:cubicBezTo>
                    <a:pt x="2410" y="259"/>
                    <a:pt x="2495" y="175"/>
                    <a:pt x="2495" y="73"/>
                  </a:cubicBezTo>
                  <a:lnTo>
                    <a:pt x="2495" y="0"/>
                  </a:lnTo>
                  <a:lnTo>
                    <a:pt x="2122" y="0"/>
                  </a:lnTo>
                  <a:lnTo>
                    <a:pt x="2122" y="73"/>
                  </a:lnTo>
                  <a:cubicBezTo>
                    <a:pt x="2122" y="175"/>
                    <a:pt x="2207" y="259"/>
                    <a:pt x="2309" y="259"/>
                  </a:cubicBezTo>
                  <a:close/>
                  <a:moveTo>
                    <a:pt x="2309" y="875"/>
                  </a:moveTo>
                  <a:lnTo>
                    <a:pt x="2309" y="875"/>
                  </a:lnTo>
                  <a:cubicBezTo>
                    <a:pt x="2410" y="875"/>
                    <a:pt x="2495" y="790"/>
                    <a:pt x="2495" y="688"/>
                  </a:cubicBezTo>
                  <a:lnTo>
                    <a:pt x="2495" y="564"/>
                  </a:lnTo>
                  <a:cubicBezTo>
                    <a:pt x="2495" y="463"/>
                    <a:pt x="2410" y="378"/>
                    <a:pt x="2309" y="378"/>
                  </a:cubicBezTo>
                  <a:lnTo>
                    <a:pt x="2309" y="378"/>
                  </a:lnTo>
                  <a:cubicBezTo>
                    <a:pt x="2207" y="378"/>
                    <a:pt x="2122" y="463"/>
                    <a:pt x="2122" y="564"/>
                  </a:cubicBezTo>
                  <a:lnTo>
                    <a:pt x="2122" y="688"/>
                  </a:lnTo>
                  <a:cubicBezTo>
                    <a:pt x="2122" y="790"/>
                    <a:pt x="2207" y="875"/>
                    <a:pt x="2309" y="875"/>
                  </a:cubicBezTo>
                  <a:close/>
                  <a:moveTo>
                    <a:pt x="4157" y="875"/>
                  </a:moveTo>
                  <a:cubicBezTo>
                    <a:pt x="4259" y="875"/>
                    <a:pt x="4343" y="790"/>
                    <a:pt x="4343" y="688"/>
                  </a:cubicBezTo>
                  <a:lnTo>
                    <a:pt x="4343" y="564"/>
                  </a:lnTo>
                  <a:cubicBezTo>
                    <a:pt x="4343" y="463"/>
                    <a:pt x="4259" y="378"/>
                    <a:pt x="4157" y="378"/>
                  </a:cubicBezTo>
                  <a:cubicBezTo>
                    <a:pt x="4055" y="378"/>
                    <a:pt x="3971" y="463"/>
                    <a:pt x="3971" y="564"/>
                  </a:cubicBezTo>
                  <a:lnTo>
                    <a:pt x="3971" y="688"/>
                  </a:lnTo>
                  <a:cubicBezTo>
                    <a:pt x="3971" y="790"/>
                    <a:pt x="4053" y="875"/>
                    <a:pt x="4157" y="875"/>
                  </a:cubicBezTo>
                  <a:close/>
                  <a:moveTo>
                    <a:pt x="1846" y="567"/>
                  </a:moveTo>
                  <a:cubicBezTo>
                    <a:pt x="1947" y="567"/>
                    <a:pt x="2032" y="482"/>
                    <a:pt x="2032" y="381"/>
                  </a:cubicBezTo>
                  <a:lnTo>
                    <a:pt x="2032" y="257"/>
                  </a:lnTo>
                  <a:cubicBezTo>
                    <a:pt x="2032" y="155"/>
                    <a:pt x="1947" y="70"/>
                    <a:pt x="1846" y="70"/>
                  </a:cubicBezTo>
                  <a:cubicBezTo>
                    <a:pt x="1744" y="70"/>
                    <a:pt x="1659" y="155"/>
                    <a:pt x="1659" y="257"/>
                  </a:cubicBezTo>
                  <a:lnTo>
                    <a:pt x="1659" y="381"/>
                  </a:lnTo>
                  <a:cubicBezTo>
                    <a:pt x="1659" y="482"/>
                    <a:pt x="1744" y="567"/>
                    <a:pt x="1846" y="567"/>
                  </a:cubicBezTo>
                  <a:close/>
                  <a:moveTo>
                    <a:pt x="4157" y="1490"/>
                  </a:moveTo>
                  <a:cubicBezTo>
                    <a:pt x="4259" y="1490"/>
                    <a:pt x="4343" y="1405"/>
                    <a:pt x="4343" y="1304"/>
                  </a:cubicBezTo>
                  <a:lnTo>
                    <a:pt x="4343" y="1179"/>
                  </a:lnTo>
                  <a:cubicBezTo>
                    <a:pt x="4343" y="1078"/>
                    <a:pt x="4259" y="993"/>
                    <a:pt x="4157" y="993"/>
                  </a:cubicBezTo>
                  <a:cubicBezTo>
                    <a:pt x="4055" y="993"/>
                    <a:pt x="3971" y="1078"/>
                    <a:pt x="3971" y="1179"/>
                  </a:cubicBezTo>
                  <a:lnTo>
                    <a:pt x="3971" y="1304"/>
                  </a:lnTo>
                  <a:cubicBezTo>
                    <a:pt x="3971" y="1408"/>
                    <a:pt x="4053" y="1490"/>
                    <a:pt x="4157" y="1490"/>
                  </a:cubicBezTo>
                  <a:close/>
                  <a:moveTo>
                    <a:pt x="4343" y="1871"/>
                  </a:moveTo>
                  <a:lnTo>
                    <a:pt x="4343" y="1798"/>
                  </a:lnTo>
                  <a:cubicBezTo>
                    <a:pt x="4343" y="1696"/>
                    <a:pt x="4259" y="1611"/>
                    <a:pt x="4157" y="1611"/>
                  </a:cubicBezTo>
                  <a:cubicBezTo>
                    <a:pt x="4055" y="1611"/>
                    <a:pt x="3971" y="1696"/>
                    <a:pt x="3971" y="1798"/>
                  </a:cubicBezTo>
                  <a:lnTo>
                    <a:pt x="3971" y="1871"/>
                  </a:lnTo>
                  <a:lnTo>
                    <a:pt x="4343" y="1871"/>
                  </a:lnTo>
                  <a:close/>
                  <a:moveTo>
                    <a:pt x="4157" y="259"/>
                  </a:moveTo>
                  <a:cubicBezTo>
                    <a:pt x="4259" y="259"/>
                    <a:pt x="4343" y="175"/>
                    <a:pt x="4343" y="73"/>
                  </a:cubicBezTo>
                  <a:lnTo>
                    <a:pt x="4343" y="0"/>
                  </a:lnTo>
                  <a:lnTo>
                    <a:pt x="3971" y="0"/>
                  </a:lnTo>
                  <a:lnTo>
                    <a:pt x="3971" y="73"/>
                  </a:lnTo>
                  <a:cubicBezTo>
                    <a:pt x="3971" y="175"/>
                    <a:pt x="4053" y="259"/>
                    <a:pt x="4157" y="259"/>
                  </a:cubicBezTo>
                  <a:close/>
                  <a:moveTo>
                    <a:pt x="3694" y="567"/>
                  </a:moveTo>
                  <a:cubicBezTo>
                    <a:pt x="3796" y="567"/>
                    <a:pt x="3880" y="482"/>
                    <a:pt x="3880" y="381"/>
                  </a:cubicBezTo>
                  <a:lnTo>
                    <a:pt x="3880" y="257"/>
                  </a:lnTo>
                  <a:cubicBezTo>
                    <a:pt x="3880" y="155"/>
                    <a:pt x="3795" y="70"/>
                    <a:pt x="3694" y="70"/>
                  </a:cubicBezTo>
                  <a:cubicBezTo>
                    <a:pt x="3592" y="70"/>
                    <a:pt x="3508" y="155"/>
                    <a:pt x="3508" y="257"/>
                  </a:cubicBezTo>
                  <a:lnTo>
                    <a:pt x="3508" y="381"/>
                  </a:lnTo>
                  <a:cubicBezTo>
                    <a:pt x="3508" y="482"/>
                    <a:pt x="3593" y="567"/>
                    <a:pt x="3694" y="567"/>
                  </a:cubicBezTo>
                  <a:close/>
                  <a:moveTo>
                    <a:pt x="3694" y="1798"/>
                  </a:moveTo>
                  <a:cubicBezTo>
                    <a:pt x="3796" y="1798"/>
                    <a:pt x="3880" y="1713"/>
                    <a:pt x="3880" y="1611"/>
                  </a:cubicBezTo>
                  <a:lnTo>
                    <a:pt x="3880" y="1487"/>
                  </a:lnTo>
                  <a:cubicBezTo>
                    <a:pt x="3880" y="1385"/>
                    <a:pt x="3795" y="1301"/>
                    <a:pt x="3694" y="1301"/>
                  </a:cubicBezTo>
                  <a:cubicBezTo>
                    <a:pt x="3592" y="1301"/>
                    <a:pt x="3508" y="1385"/>
                    <a:pt x="3508" y="1487"/>
                  </a:cubicBezTo>
                  <a:lnTo>
                    <a:pt x="3508" y="1611"/>
                  </a:lnTo>
                  <a:cubicBezTo>
                    <a:pt x="3508" y="1713"/>
                    <a:pt x="3593" y="1798"/>
                    <a:pt x="3694" y="1798"/>
                  </a:cubicBezTo>
                  <a:close/>
                  <a:moveTo>
                    <a:pt x="3231" y="875"/>
                  </a:moveTo>
                  <a:cubicBezTo>
                    <a:pt x="3333" y="875"/>
                    <a:pt x="3418" y="790"/>
                    <a:pt x="3418" y="688"/>
                  </a:cubicBezTo>
                  <a:lnTo>
                    <a:pt x="3418" y="564"/>
                  </a:lnTo>
                  <a:cubicBezTo>
                    <a:pt x="3418" y="463"/>
                    <a:pt x="3332" y="378"/>
                    <a:pt x="3231" y="378"/>
                  </a:cubicBezTo>
                  <a:cubicBezTo>
                    <a:pt x="3129" y="378"/>
                    <a:pt x="3045" y="463"/>
                    <a:pt x="3045" y="564"/>
                  </a:cubicBezTo>
                  <a:lnTo>
                    <a:pt x="3045" y="688"/>
                  </a:lnTo>
                  <a:cubicBezTo>
                    <a:pt x="3045" y="790"/>
                    <a:pt x="3130" y="875"/>
                    <a:pt x="3231" y="875"/>
                  </a:cubicBezTo>
                  <a:close/>
                  <a:moveTo>
                    <a:pt x="3231" y="259"/>
                  </a:moveTo>
                  <a:cubicBezTo>
                    <a:pt x="3333" y="259"/>
                    <a:pt x="3418" y="175"/>
                    <a:pt x="3418" y="73"/>
                  </a:cubicBezTo>
                  <a:lnTo>
                    <a:pt x="3418" y="0"/>
                  </a:lnTo>
                  <a:lnTo>
                    <a:pt x="3045" y="0"/>
                  </a:lnTo>
                  <a:lnTo>
                    <a:pt x="3045" y="73"/>
                  </a:lnTo>
                  <a:cubicBezTo>
                    <a:pt x="3045" y="175"/>
                    <a:pt x="3130" y="259"/>
                    <a:pt x="3231" y="259"/>
                  </a:cubicBezTo>
                  <a:close/>
                  <a:moveTo>
                    <a:pt x="3694" y="1182"/>
                  </a:moveTo>
                  <a:cubicBezTo>
                    <a:pt x="3796" y="1182"/>
                    <a:pt x="3880" y="1098"/>
                    <a:pt x="3880" y="996"/>
                  </a:cubicBezTo>
                  <a:lnTo>
                    <a:pt x="3880" y="872"/>
                  </a:lnTo>
                  <a:cubicBezTo>
                    <a:pt x="3880" y="770"/>
                    <a:pt x="3795" y="686"/>
                    <a:pt x="3694" y="686"/>
                  </a:cubicBezTo>
                  <a:cubicBezTo>
                    <a:pt x="3592" y="686"/>
                    <a:pt x="3508" y="770"/>
                    <a:pt x="3508" y="872"/>
                  </a:cubicBezTo>
                  <a:lnTo>
                    <a:pt x="3508" y="996"/>
                  </a:lnTo>
                  <a:cubicBezTo>
                    <a:pt x="3508" y="1098"/>
                    <a:pt x="3593" y="1182"/>
                    <a:pt x="3694" y="1182"/>
                  </a:cubicBezTo>
                  <a:close/>
                  <a:moveTo>
                    <a:pt x="20134" y="872"/>
                  </a:moveTo>
                  <a:lnTo>
                    <a:pt x="20134" y="996"/>
                  </a:lnTo>
                  <a:cubicBezTo>
                    <a:pt x="20134" y="1098"/>
                    <a:pt x="20216" y="1179"/>
                    <a:pt x="20318" y="1182"/>
                  </a:cubicBezTo>
                  <a:lnTo>
                    <a:pt x="20318" y="686"/>
                  </a:lnTo>
                  <a:cubicBezTo>
                    <a:pt x="20216" y="686"/>
                    <a:pt x="20134" y="770"/>
                    <a:pt x="20134" y="872"/>
                  </a:cubicBezTo>
                  <a:close/>
                  <a:moveTo>
                    <a:pt x="186" y="996"/>
                  </a:moveTo>
                  <a:lnTo>
                    <a:pt x="186" y="872"/>
                  </a:lnTo>
                  <a:cubicBezTo>
                    <a:pt x="186" y="770"/>
                    <a:pt x="105" y="686"/>
                    <a:pt x="0" y="686"/>
                  </a:cubicBezTo>
                  <a:lnTo>
                    <a:pt x="0" y="1182"/>
                  </a:lnTo>
                  <a:cubicBezTo>
                    <a:pt x="102" y="1182"/>
                    <a:pt x="186" y="1098"/>
                    <a:pt x="186" y="996"/>
                  </a:cubicBezTo>
                  <a:close/>
                  <a:moveTo>
                    <a:pt x="186" y="381"/>
                  </a:moveTo>
                  <a:lnTo>
                    <a:pt x="186" y="257"/>
                  </a:lnTo>
                  <a:cubicBezTo>
                    <a:pt x="186" y="155"/>
                    <a:pt x="105" y="70"/>
                    <a:pt x="0" y="70"/>
                  </a:cubicBezTo>
                  <a:lnTo>
                    <a:pt x="0" y="567"/>
                  </a:lnTo>
                  <a:cubicBezTo>
                    <a:pt x="102" y="564"/>
                    <a:pt x="186" y="482"/>
                    <a:pt x="186" y="381"/>
                  </a:cubicBezTo>
                  <a:close/>
                  <a:moveTo>
                    <a:pt x="646" y="1871"/>
                  </a:moveTo>
                  <a:lnTo>
                    <a:pt x="646" y="1798"/>
                  </a:lnTo>
                  <a:cubicBezTo>
                    <a:pt x="646" y="1696"/>
                    <a:pt x="561" y="1611"/>
                    <a:pt x="460" y="1611"/>
                  </a:cubicBezTo>
                  <a:cubicBezTo>
                    <a:pt x="358" y="1611"/>
                    <a:pt x="274" y="1696"/>
                    <a:pt x="274" y="1798"/>
                  </a:cubicBezTo>
                  <a:lnTo>
                    <a:pt x="274" y="1871"/>
                  </a:lnTo>
                  <a:lnTo>
                    <a:pt x="646" y="1871"/>
                  </a:lnTo>
                  <a:close/>
                  <a:moveTo>
                    <a:pt x="460" y="1490"/>
                  </a:moveTo>
                  <a:cubicBezTo>
                    <a:pt x="562" y="1490"/>
                    <a:pt x="646" y="1405"/>
                    <a:pt x="646" y="1304"/>
                  </a:cubicBezTo>
                  <a:lnTo>
                    <a:pt x="646" y="1179"/>
                  </a:lnTo>
                  <a:cubicBezTo>
                    <a:pt x="646" y="1078"/>
                    <a:pt x="561" y="993"/>
                    <a:pt x="460" y="993"/>
                  </a:cubicBezTo>
                  <a:cubicBezTo>
                    <a:pt x="358" y="993"/>
                    <a:pt x="274" y="1078"/>
                    <a:pt x="274" y="1179"/>
                  </a:cubicBezTo>
                  <a:lnTo>
                    <a:pt x="274" y="1304"/>
                  </a:lnTo>
                  <a:cubicBezTo>
                    <a:pt x="274" y="1408"/>
                    <a:pt x="359" y="1490"/>
                    <a:pt x="460" y="1490"/>
                  </a:cubicBezTo>
                  <a:close/>
                  <a:moveTo>
                    <a:pt x="186" y="1611"/>
                  </a:moveTo>
                  <a:lnTo>
                    <a:pt x="186" y="1487"/>
                  </a:lnTo>
                  <a:cubicBezTo>
                    <a:pt x="186" y="1385"/>
                    <a:pt x="105" y="1301"/>
                    <a:pt x="0" y="1301"/>
                  </a:cubicBezTo>
                  <a:lnTo>
                    <a:pt x="0" y="1798"/>
                  </a:lnTo>
                  <a:cubicBezTo>
                    <a:pt x="102" y="1798"/>
                    <a:pt x="186" y="1713"/>
                    <a:pt x="186" y="1611"/>
                  </a:cubicBezTo>
                  <a:close/>
                  <a:moveTo>
                    <a:pt x="20134" y="257"/>
                  </a:moveTo>
                  <a:lnTo>
                    <a:pt x="20134" y="381"/>
                  </a:lnTo>
                  <a:cubicBezTo>
                    <a:pt x="20134" y="482"/>
                    <a:pt x="20216" y="564"/>
                    <a:pt x="20318" y="567"/>
                  </a:cubicBezTo>
                  <a:lnTo>
                    <a:pt x="20318" y="70"/>
                  </a:lnTo>
                  <a:cubicBezTo>
                    <a:pt x="20216" y="70"/>
                    <a:pt x="20134" y="155"/>
                    <a:pt x="20134" y="257"/>
                  </a:cubicBezTo>
                  <a:close/>
                  <a:moveTo>
                    <a:pt x="460" y="875"/>
                  </a:moveTo>
                  <a:cubicBezTo>
                    <a:pt x="562" y="875"/>
                    <a:pt x="646" y="790"/>
                    <a:pt x="646" y="688"/>
                  </a:cubicBezTo>
                  <a:lnTo>
                    <a:pt x="646" y="564"/>
                  </a:lnTo>
                  <a:cubicBezTo>
                    <a:pt x="646" y="463"/>
                    <a:pt x="561" y="378"/>
                    <a:pt x="460" y="378"/>
                  </a:cubicBezTo>
                  <a:cubicBezTo>
                    <a:pt x="358" y="378"/>
                    <a:pt x="274" y="463"/>
                    <a:pt x="274" y="564"/>
                  </a:cubicBezTo>
                  <a:lnTo>
                    <a:pt x="274" y="688"/>
                  </a:lnTo>
                  <a:cubicBezTo>
                    <a:pt x="274" y="790"/>
                    <a:pt x="359" y="875"/>
                    <a:pt x="460" y="875"/>
                  </a:cubicBezTo>
                  <a:close/>
                  <a:moveTo>
                    <a:pt x="4617" y="1798"/>
                  </a:moveTo>
                  <a:cubicBezTo>
                    <a:pt x="4719" y="1798"/>
                    <a:pt x="4803" y="1713"/>
                    <a:pt x="4803" y="1611"/>
                  </a:cubicBezTo>
                  <a:lnTo>
                    <a:pt x="4803" y="1487"/>
                  </a:lnTo>
                  <a:cubicBezTo>
                    <a:pt x="4803" y="1385"/>
                    <a:pt x="4719" y="1301"/>
                    <a:pt x="4617" y="1301"/>
                  </a:cubicBezTo>
                  <a:cubicBezTo>
                    <a:pt x="4515" y="1301"/>
                    <a:pt x="4431" y="1385"/>
                    <a:pt x="4431" y="1487"/>
                  </a:cubicBezTo>
                  <a:lnTo>
                    <a:pt x="4431" y="1611"/>
                  </a:lnTo>
                  <a:cubicBezTo>
                    <a:pt x="4431" y="1713"/>
                    <a:pt x="4515" y="1798"/>
                    <a:pt x="4617" y="1798"/>
                  </a:cubicBezTo>
                  <a:close/>
                  <a:moveTo>
                    <a:pt x="20134" y="1487"/>
                  </a:moveTo>
                  <a:lnTo>
                    <a:pt x="20134" y="1611"/>
                  </a:lnTo>
                  <a:cubicBezTo>
                    <a:pt x="20134" y="1713"/>
                    <a:pt x="20216" y="1795"/>
                    <a:pt x="20318" y="1798"/>
                  </a:cubicBezTo>
                  <a:lnTo>
                    <a:pt x="20318" y="1301"/>
                  </a:lnTo>
                  <a:cubicBezTo>
                    <a:pt x="20216" y="1304"/>
                    <a:pt x="20134" y="1385"/>
                    <a:pt x="20134" y="1487"/>
                  </a:cubicBezTo>
                  <a:close/>
                  <a:moveTo>
                    <a:pt x="1386" y="1490"/>
                  </a:moveTo>
                  <a:cubicBezTo>
                    <a:pt x="1487" y="1490"/>
                    <a:pt x="1572" y="1405"/>
                    <a:pt x="1572" y="1304"/>
                  </a:cubicBezTo>
                  <a:lnTo>
                    <a:pt x="1572" y="1179"/>
                  </a:lnTo>
                  <a:cubicBezTo>
                    <a:pt x="1572" y="1078"/>
                    <a:pt x="1487" y="993"/>
                    <a:pt x="1386" y="993"/>
                  </a:cubicBezTo>
                  <a:cubicBezTo>
                    <a:pt x="1284" y="993"/>
                    <a:pt x="1199" y="1078"/>
                    <a:pt x="1199" y="1179"/>
                  </a:cubicBezTo>
                  <a:lnTo>
                    <a:pt x="1199" y="1304"/>
                  </a:lnTo>
                  <a:cubicBezTo>
                    <a:pt x="1199" y="1408"/>
                    <a:pt x="1281" y="1490"/>
                    <a:pt x="1386" y="1490"/>
                  </a:cubicBezTo>
                  <a:close/>
                  <a:moveTo>
                    <a:pt x="1386" y="259"/>
                  </a:moveTo>
                  <a:cubicBezTo>
                    <a:pt x="1487" y="259"/>
                    <a:pt x="1572" y="175"/>
                    <a:pt x="1572" y="73"/>
                  </a:cubicBezTo>
                  <a:lnTo>
                    <a:pt x="1572" y="0"/>
                  </a:lnTo>
                  <a:lnTo>
                    <a:pt x="1199" y="0"/>
                  </a:lnTo>
                  <a:lnTo>
                    <a:pt x="1199" y="73"/>
                  </a:lnTo>
                  <a:cubicBezTo>
                    <a:pt x="1199" y="175"/>
                    <a:pt x="1281" y="259"/>
                    <a:pt x="1386" y="259"/>
                  </a:cubicBezTo>
                  <a:close/>
                  <a:moveTo>
                    <a:pt x="1846" y="1182"/>
                  </a:moveTo>
                  <a:cubicBezTo>
                    <a:pt x="1947" y="1182"/>
                    <a:pt x="2032" y="1098"/>
                    <a:pt x="2032" y="996"/>
                  </a:cubicBezTo>
                  <a:lnTo>
                    <a:pt x="2032" y="872"/>
                  </a:lnTo>
                  <a:cubicBezTo>
                    <a:pt x="2032" y="770"/>
                    <a:pt x="1947" y="686"/>
                    <a:pt x="1846" y="686"/>
                  </a:cubicBezTo>
                  <a:cubicBezTo>
                    <a:pt x="1744" y="686"/>
                    <a:pt x="1659" y="770"/>
                    <a:pt x="1659" y="872"/>
                  </a:cubicBezTo>
                  <a:lnTo>
                    <a:pt x="1659" y="996"/>
                  </a:lnTo>
                  <a:cubicBezTo>
                    <a:pt x="1659" y="1098"/>
                    <a:pt x="1744" y="1182"/>
                    <a:pt x="1846" y="1182"/>
                  </a:cubicBezTo>
                  <a:close/>
                  <a:moveTo>
                    <a:pt x="1386" y="875"/>
                  </a:moveTo>
                  <a:cubicBezTo>
                    <a:pt x="1487" y="875"/>
                    <a:pt x="1572" y="790"/>
                    <a:pt x="1572" y="688"/>
                  </a:cubicBezTo>
                  <a:lnTo>
                    <a:pt x="1572" y="564"/>
                  </a:lnTo>
                  <a:cubicBezTo>
                    <a:pt x="1572" y="463"/>
                    <a:pt x="1487" y="378"/>
                    <a:pt x="1386" y="378"/>
                  </a:cubicBezTo>
                  <a:cubicBezTo>
                    <a:pt x="1284" y="378"/>
                    <a:pt x="1199" y="463"/>
                    <a:pt x="1199" y="564"/>
                  </a:cubicBezTo>
                  <a:lnTo>
                    <a:pt x="1199" y="688"/>
                  </a:lnTo>
                  <a:cubicBezTo>
                    <a:pt x="1199" y="790"/>
                    <a:pt x="1281" y="875"/>
                    <a:pt x="1386" y="875"/>
                  </a:cubicBezTo>
                  <a:close/>
                  <a:moveTo>
                    <a:pt x="460" y="259"/>
                  </a:moveTo>
                  <a:cubicBezTo>
                    <a:pt x="562" y="259"/>
                    <a:pt x="646" y="175"/>
                    <a:pt x="646" y="73"/>
                  </a:cubicBezTo>
                  <a:lnTo>
                    <a:pt x="646" y="0"/>
                  </a:lnTo>
                  <a:lnTo>
                    <a:pt x="274" y="0"/>
                  </a:lnTo>
                  <a:lnTo>
                    <a:pt x="274" y="73"/>
                  </a:lnTo>
                  <a:cubicBezTo>
                    <a:pt x="274" y="175"/>
                    <a:pt x="359" y="259"/>
                    <a:pt x="460" y="259"/>
                  </a:cubicBezTo>
                  <a:close/>
                  <a:moveTo>
                    <a:pt x="1846" y="1798"/>
                  </a:moveTo>
                  <a:cubicBezTo>
                    <a:pt x="1947" y="1798"/>
                    <a:pt x="2032" y="1713"/>
                    <a:pt x="2032" y="1611"/>
                  </a:cubicBezTo>
                  <a:lnTo>
                    <a:pt x="2032" y="1487"/>
                  </a:lnTo>
                  <a:cubicBezTo>
                    <a:pt x="2032" y="1385"/>
                    <a:pt x="1947" y="1301"/>
                    <a:pt x="1846" y="1301"/>
                  </a:cubicBezTo>
                  <a:cubicBezTo>
                    <a:pt x="1744" y="1301"/>
                    <a:pt x="1659" y="1385"/>
                    <a:pt x="1659" y="1487"/>
                  </a:cubicBezTo>
                  <a:lnTo>
                    <a:pt x="1659" y="1611"/>
                  </a:lnTo>
                  <a:cubicBezTo>
                    <a:pt x="1659" y="1713"/>
                    <a:pt x="1744" y="1798"/>
                    <a:pt x="1846" y="1798"/>
                  </a:cubicBezTo>
                  <a:close/>
                  <a:moveTo>
                    <a:pt x="1572" y="1871"/>
                  </a:moveTo>
                  <a:lnTo>
                    <a:pt x="1572" y="1798"/>
                  </a:lnTo>
                  <a:cubicBezTo>
                    <a:pt x="1572" y="1696"/>
                    <a:pt x="1487" y="1611"/>
                    <a:pt x="1386" y="1611"/>
                  </a:cubicBezTo>
                  <a:cubicBezTo>
                    <a:pt x="1284" y="1611"/>
                    <a:pt x="1199" y="1696"/>
                    <a:pt x="1199" y="1798"/>
                  </a:cubicBezTo>
                  <a:lnTo>
                    <a:pt x="1199" y="1871"/>
                  </a:lnTo>
                  <a:lnTo>
                    <a:pt x="1572" y="1871"/>
                  </a:lnTo>
                  <a:close/>
                  <a:moveTo>
                    <a:pt x="923" y="1798"/>
                  </a:moveTo>
                  <a:cubicBezTo>
                    <a:pt x="1025" y="1798"/>
                    <a:pt x="1109" y="1713"/>
                    <a:pt x="1109" y="1611"/>
                  </a:cubicBezTo>
                  <a:lnTo>
                    <a:pt x="1109" y="1487"/>
                  </a:lnTo>
                  <a:cubicBezTo>
                    <a:pt x="1109" y="1385"/>
                    <a:pt x="1025" y="1301"/>
                    <a:pt x="923" y="1301"/>
                  </a:cubicBezTo>
                  <a:cubicBezTo>
                    <a:pt x="821" y="1301"/>
                    <a:pt x="737" y="1385"/>
                    <a:pt x="737" y="1487"/>
                  </a:cubicBezTo>
                  <a:lnTo>
                    <a:pt x="737" y="1611"/>
                  </a:lnTo>
                  <a:cubicBezTo>
                    <a:pt x="737" y="1713"/>
                    <a:pt x="821" y="1798"/>
                    <a:pt x="923" y="1798"/>
                  </a:cubicBezTo>
                  <a:close/>
                  <a:moveTo>
                    <a:pt x="923" y="1182"/>
                  </a:moveTo>
                  <a:cubicBezTo>
                    <a:pt x="1025" y="1182"/>
                    <a:pt x="1109" y="1098"/>
                    <a:pt x="1109" y="996"/>
                  </a:cubicBezTo>
                  <a:lnTo>
                    <a:pt x="1109" y="872"/>
                  </a:lnTo>
                  <a:cubicBezTo>
                    <a:pt x="1109" y="770"/>
                    <a:pt x="1025" y="686"/>
                    <a:pt x="923" y="686"/>
                  </a:cubicBezTo>
                  <a:cubicBezTo>
                    <a:pt x="821" y="686"/>
                    <a:pt x="737" y="770"/>
                    <a:pt x="737" y="872"/>
                  </a:cubicBezTo>
                  <a:lnTo>
                    <a:pt x="737" y="996"/>
                  </a:lnTo>
                  <a:cubicBezTo>
                    <a:pt x="737" y="1098"/>
                    <a:pt x="821" y="1182"/>
                    <a:pt x="923" y="1182"/>
                  </a:cubicBezTo>
                  <a:close/>
                  <a:moveTo>
                    <a:pt x="923" y="567"/>
                  </a:moveTo>
                  <a:cubicBezTo>
                    <a:pt x="1025" y="567"/>
                    <a:pt x="1109" y="482"/>
                    <a:pt x="1109" y="381"/>
                  </a:cubicBezTo>
                  <a:lnTo>
                    <a:pt x="1109" y="257"/>
                  </a:lnTo>
                  <a:cubicBezTo>
                    <a:pt x="1109" y="155"/>
                    <a:pt x="1025" y="70"/>
                    <a:pt x="923" y="70"/>
                  </a:cubicBezTo>
                  <a:cubicBezTo>
                    <a:pt x="821" y="70"/>
                    <a:pt x="737" y="155"/>
                    <a:pt x="737" y="257"/>
                  </a:cubicBezTo>
                  <a:lnTo>
                    <a:pt x="737" y="381"/>
                  </a:lnTo>
                  <a:cubicBezTo>
                    <a:pt x="737" y="482"/>
                    <a:pt x="821" y="567"/>
                    <a:pt x="923" y="567"/>
                  </a:cubicBezTo>
                  <a:close/>
                  <a:moveTo>
                    <a:pt x="7388" y="567"/>
                  </a:moveTo>
                  <a:cubicBezTo>
                    <a:pt x="7490" y="567"/>
                    <a:pt x="7574" y="482"/>
                    <a:pt x="7574" y="381"/>
                  </a:cubicBezTo>
                  <a:lnTo>
                    <a:pt x="7574" y="257"/>
                  </a:lnTo>
                  <a:cubicBezTo>
                    <a:pt x="7574" y="155"/>
                    <a:pt x="7489" y="70"/>
                    <a:pt x="7388" y="70"/>
                  </a:cubicBezTo>
                  <a:cubicBezTo>
                    <a:pt x="7286" y="70"/>
                    <a:pt x="7202" y="155"/>
                    <a:pt x="7202" y="257"/>
                  </a:cubicBezTo>
                  <a:lnTo>
                    <a:pt x="7202" y="381"/>
                  </a:lnTo>
                  <a:cubicBezTo>
                    <a:pt x="7202" y="482"/>
                    <a:pt x="7287" y="567"/>
                    <a:pt x="7388" y="567"/>
                  </a:cubicBezTo>
                  <a:close/>
                  <a:moveTo>
                    <a:pt x="7851" y="1490"/>
                  </a:moveTo>
                  <a:cubicBezTo>
                    <a:pt x="7953" y="1490"/>
                    <a:pt x="8037" y="1405"/>
                    <a:pt x="8037" y="1304"/>
                  </a:cubicBezTo>
                  <a:lnTo>
                    <a:pt x="8037" y="1179"/>
                  </a:lnTo>
                  <a:cubicBezTo>
                    <a:pt x="8037" y="1078"/>
                    <a:pt x="7953" y="993"/>
                    <a:pt x="7851" y="993"/>
                  </a:cubicBezTo>
                  <a:cubicBezTo>
                    <a:pt x="7749" y="993"/>
                    <a:pt x="7665" y="1078"/>
                    <a:pt x="7665" y="1179"/>
                  </a:cubicBezTo>
                  <a:lnTo>
                    <a:pt x="7665" y="1304"/>
                  </a:lnTo>
                  <a:cubicBezTo>
                    <a:pt x="7665" y="1408"/>
                    <a:pt x="7749" y="1490"/>
                    <a:pt x="7851" y="1490"/>
                  </a:cubicBezTo>
                  <a:close/>
                  <a:moveTo>
                    <a:pt x="8314" y="1182"/>
                  </a:moveTo>
                  <a:cubicBezTo>
                    <a:pt x="8415" y="1182"/>
                    <a:pt x="8500" y="1098"/>
                    <a:pt x="8500" y="996"/>
                  </a:cubicBezTo>
                  <a:lnTo>
                    <a:pt x="8500" y="872"/>
                  </a:lnTo>
                  <a:cubicBezTo>
                    <a:pt x="8500" y="770"/>
                    <a:pt x="8415" y="686"/>
                    <a:pt x="8314" y="686"/>
                  </a:cubicBezTo>
                  <a:cubicBezTo>
                    <a:pt x="8212" y="686"/>
                    <a:pt x="8128" y="770"/>
                    <a:pt x="8128" y="872"/>
                  </a:cubicBezTo>
                  <a:lnTo>
                    <a:pt x="8128" y="996"/>
                  </a:lnTo>
                  <a:cubicBezTo>
                    <a:pt x="8128" y="1098"/>
                    <a:pt x="8209" y="1182"/>
                    <a:pt x="8314" y="1182"/>
                  </a:cubicBezTo>
                  <a:close/>
                  <a:moveTo>
                    <a:pt x="7851" y="259"/>
                  </a:moveTo>
                  <a:cubicBezTo>
                    <a:pt x="7953" y="259"/>
                    <a:pt x="8037" y="175"/>
                    <a:pt x="8037" y="73"/>
                  </a:cubicBezTo>
                  <a:lnTo>
                    <a:pt x="8037" y="0"/>
                  </a:lnTo>
                  <a:lnTo>
                    <a:pt x="7665" y="0"/>
                  </a:lnTo>
                  <a:lnTo>
                    <a:pt x="7665" y="73"/>
                  </a:lnTo>
                  <a:cubicBezTo>
                    <a:pt x="7665" y="175"/>
                    <a:pt x="7749" y="259"/>
                    <a:pt x="7851" y="259"/>
                  </a:cubicBezTo>
                  <a:close/>
                  <a:moveTo>
                    <a:pt x="8314" y="1798"/>
                  </a:moveTo>
                  <a:cubicBezTo>
                    <a:pt x="8415" y="1798"/>
                    <a:pt x="8500" y="1713"/>
                    <a:pt x="8500" y="1611"/>
                  </a:cubicBezTo>
                  <a:lnTo>
                    <a:pt x="8500" y="1487"/>
                  </a:lnTo>
                  <a:cubicBezTo>
                    <a:pt x="8500" y="1385"/>
                    <a:pt x="8415" y="1301"/>
                    <a:pt x="8314" y="1301"/>
                  </a:cubicBezTo>
                  <a:cubicBezTo>
                    <a:pt x="8212" y="1301"/>
                    <a:pt x="8128" y="1385"/>
                    <a:pt x="8128" y="1487"/>
                  </a:cubicBezTo>
                  <a:lnTo>
                    <a:pt x="8128" y="1611"/>
                  </a:lnTo>
                  <a:cubicBezTo>
                    <a:pt x="8128" y="1713"/>
                    <a:pt x="8209" y="1798"/>
                    <a:pt x="8314" y="1798"/>
                  </a:cubicBezTo>
                  <a:close/>
                  <a:moveTo>
                    <a:pt x="7851" y="875"/>
                  </a:moveTo>
                  <a:cubicBezTo>
                    <a:pt x="7953" y="875"/>
                    <a:pt x="8037" y="790"/>
                    <a:pt x="8037" y="688"/>
                  </a:cubicBezTo>
                  <a:lnTo>
                    <a:pt x="8037" y="564"/>
                  </a:lnTo>
                  <a:cubicBezTo>
                    <a:pt x="8037" y="463"/>
                    <a:pt x="7953" y="378"/>
                    <a:pt x="7851" y="378"/>
                  </a:cubicBezTo>
                  <a:cubicBezTo>
                    <a:pt x="7749" y="378"/>
                    <a:pt x="7665" y="463"/>
                    <a:pt x="7665" y="564"/>
                  </a:cubicBezTo>
                  <a:lnTo>
                    <a:pt x="7665" y="688"/>
                  </a:lnTo>
                  <a:cubicBezTo>
                    <a:pt x="7665" y="790"/>
                    <a:pt x="7749" y="875"/>
                    <a:pt x="7851" y="875"/>
                  </a:cubicBezTo>
                  <a:close/>
                  <a:moveTo>
                    <a:pt x="7388" y="1798"/>
                  </a:moveTo>
                  <a:cubicBezTo>
                    <a:pt x="7490" y="1798"/>
                    <a:pt x="7574" y="1713"/>
                    <a:pt x="7574" y="1611"/>
                  </a:cubicBezTo>
                  <a:lnTo>
                    <a:pt x="7574" y="1487"/>
                  </a:lnTo>
                  <a:cubicBezTo>
                    <a:pt x="7574" y="1385"/>
                    <a:pt x="7489" y="1301"/>
                    <a:pt x="7388" y="1301"/>
                  </a:cubicBezTo>
                  <a:cubicBezTo>
                    <a:pt x="7286" y="1301"/>
                    <a:pt x="7202" y="1385"/>
                    <a:pt x="7202" y="1487"/>
                  </a:cubicBezTo>
                  <a:lnTo>
                    <a:pt x="7202" y="1611"/>
                  </a:lnTo>
                  <a:cubicBezTo>
                    <a:pt x="7202" y="1713"/>
                    <a:pt x="7287" y="1798"/>
                    <a:pt x="7388" y="1798"/>
                  </a:cubicBezTo>
                  <a:close/>
                  <a:moveTo>
                    <a:pt x="8037" y="1871"/>
                  </a:moveTo>
                  <a:lnTo>
                    <a:pt x="8037" y="1798"/>
                  </a:lnTo>
                  <a:cubicBezTo>
                    <a:pt x="8037" y="1696"/>
                    <a:pt x="7953" y="1611"/>
                    <a:pt x="7851" y="1611"/>
                  </a:cubicBezTo>
                  <a:cubicBezTo>
                    <a:pt x="7749" y="1611"/>
                    <a:pt x="7665" y="1696"/>
                    <a:pt x="7665" y="1798"/>
                  </a:cubicBezTo>
                  <a:lnTo>
                    <a:pt x="7665" y="1871"/>
                  </a:lnTo>
                  <a:lnTo>
                    <a:pt x="8037" y="1871"/>
                  </a:lnTo>
                  <a:close/>
                  <a:moveTo>
                    <a:pt x="6928" y="259"/>
                  </a:moveTo>
                  <a:cubicBezTo>
                    <a:pt x="7030" y="259"/>
                    <a:pt x="7115" y="175"/>
                    <a:pt x="7115" y="73"/>
                  </a:cubicBezTo>
                  <a:lnTo>
                    <a:pt x="7115" y="0"/>
                  </a:lnTo>
                  <a:lnTo>
                    <a:pt x="6742" y="0"/>
                  </a:lnTo>
                  <a:lnTo>
                    <a:pt x="6742" y="73"/>
                  </a:lnTo>
                  <a:cubicBezTo>
                    <a:pt x="6742" y="175"/>
                    <a:pt x="6824" y="259"/>
                    <a:pt x="6928" y="259"/>
                  </a:cubicBezTo>
                  <a:close/>
                  <a:moveTo>
                    <a:pt x="9700" y="1490"/>
                  </a:moveTo>
                  <a:lnTo>
                    <a:pt x="9700" y="1490"/>
                  </a:lnTo>
                  <a:cubicBezTo>
                    <a:pt x="9801" y="1490"/>
                    <a:pt x="9886" y="1405"/>
                    <a:pt x="9886" y="1304"/>
                  </a:cubicBezTo>
                  <a:lnTo>
                    <a:pt x="9886" y="1179"/>
                  </a:lnTo>
                  <a:cubicBezTo>
                    <a:pt x="9886" y="1078"/>
                    <a:pt x="9801" y="993"/>
                    <a:pt x="9700" y="993"/>
                  </a:cubicBezTo>
                  <a:lnTo>
                    <a:pt x="9700" y="993"/>
                  </a:lnTo>
                  <a:cubicBezTo>
                    <a:pt x="9598" y="993"/>
                    <a:pt x="9513" y="1078"/>
                    <a:pt x="9513" y="1179"/>
                  </a:cubicBezTo>
                  <a:lnTo>
                    <a:pt x="9513" y="1304"/>
                  </a:lnTo>
                  <a:cubicBezTo>
                    <a:pt x="9513" y="1408"/>
                    <a:pt x="9595" y="1490"/>
                    <a:pt x="9700" y="1490"/>
                  </a:cubicBezTo>
                  <a:close/>
                  <a:moveTo>
                    <a:pt x="7388" y="1182"/>
                  </a:moveTo>
                  <a:cubicBezTo>
                    <a:pt x="7490" y="1182"/>
                    <a:pt x="7574" y="1098"/>
                    <a:pt x="7574" y="996"/>
                  </a:cubicBezTo>
                  <a:lnTo>
                    <a:pt x="7574" y="872"/>
                  </a:lnTo>
                  <a:cubicBezTo>
                    <a:pt x="7574" y="770"/>
                    <a:pt x="7489" y="686"/>
                    <a:pt x="7388" y="686"/>
                  </a:cubicBezTo>
                  <a:cubicBezTo>
                    <a:pt x="7286" y="686"/>
                    <a:pt x="7202" y="770"/>
                    <a:pt x="7202" y="872"/>
                  </a:cubicBezTo>
                  <a:lnTo>
                    <a:pt x="7202" y="996"/>
                  </a:lnTo>
                  <a:cubicBezTo>
                    <a:pt x="7202" y="1098"/>
                    <a:pt x="7287" y="1182"/>
                    <a:pt x="7388" y="1182"/>
                  </a:cubicBezTo>
                  <a:close/>
                  <a:moveTo>
                    <a:pt x="4617" y="1182"/>
                  </a:moveTo>
                  <a:cubicBezTo>
                    <a:pt x="4719" y="1182"/>
                    <a:pt x="4803" y="1098"/>
                    <a:pt x="4803" y="996"/>
                  </a:cubicBezTo>
                  <a:lnTo>
                    <a:pt x="4803" y="872"/>
                  </a:lnTo>
                  <a:cubicBezTo>
                    <a:pt x="4803" y="770"/>
                    <a:pt x="4719" y="686"/>
                    <a:pt x="4617" y="686"/>
                  </a:cubicBezTo>
                  <a:cubicBezTo>
                    <a:pt x="4515" y="686"/>
                    <a:pt x="4431" y="770"/>
                    <a:pt x="4431" y="872"/>
                  </a:cubicBezTo>
                  <a:lnTo>
                    <a:pt x="4431" y="996"/>
                  </a:lnTo>
                  <a:cubicBezTo>
                    <a:pt x="4431" y="1098"/>
                    <a:pt x="4515" y="1182"/>
                    <a:pt x="4617" y="1182"/>
                  </a:cubicBezTo>
                  <a:close/>
                  <a:moveTo>
                    <a:pt x="9237" y="1798"/>
                  </a:moveTo>
                  <a:cubicBezTo>
                    <a:pt x="9338" y="1798"/>
                    <a:pt x="9423" y="1713"/>
                    <a:pt x="9423" y="1611"/>
                  </a:cubicBezTo>
                  <a:lnTo>
                    <a:pt x="9423" y="1487"/>
                  </a:lnTo>
                  <a:cubicBezTo>
                    <a:pt x="9423" y="1385"/>
                    <a:pt x="9338" y="1301"/>
                    <a:pt x="9237" y="1301"/>
                  </a:cubicBezTo>
                  <a:cubicBezTo>
                    <a:pt x="9135" y="1301"/>
                    <a:pt x="9050" y="1385"/>
                    <a:pt x="9050" y="1487"/>
                  </a:cubicBezTo>
                  <a:lnTo>
                    <a:pt x="9050" y="1611"/>
                  </a:lnTo>
                  <a:cubicBezTo>
                    <a:pt x="9050" y="1713"/>
                    <a:pt x="9135" y="1798"/>
                    <a:pt x="9237" y="1798"/>
                  </a:cubicBezTo>
                  <a:close/>
                  <a:moveTo>
                    <a:pt x="9237" y="1182"/>
                  </a:moveTo>
                  <a:cubicBezTo>
                    <a:pt x="9338" y="1182"/>
                    <a:pt x="9423" y="1098"/>
                    <a:pt x="9423" y="996"/>
                  </a:cubicBezTo>
                  <a:lnTo>
                    <a:pt x="9423" y="872"/>
                  </a:lnTo>
                  <a:cubicBezTo>
                    <a:pt x="9423" y="770"/>
                    <a:pt x="9338" y="686"/>
                    <a:pt x="9237" y="686"/>
                  </a:cubicBezTo>
                  <a:cubicBezTo>
                    <a:pt x="9135" y="686"/>
                    <a:pt x="9050" y="770"/>
                    <a:pt x="9050" y="872"/>
                  </a:cubicBezTo>
                  <a:lnTo>
                    <a:pt x="9050" y="996"/>
                  </a:lnTo>
                  <a:cubicBezTo>
                    <a:pt x="9050" y="1098"/>
                    <a:pt x="9135" y="1182"/>
                    <a:pt x="9237" y="1182"/>
                  </a:cubicBezTo>
                  <a:close/>
                  <a:moveTo>
                    <a:pt x="9886" y="1871"/>
                  </a:moveTo>
                  <a:lnTo>
                    <a:pt x="9886" y="1798"/>
                  </a:lnTo>
                  <a:cubicBezTo>
                    <a:pt x="9886" y="1696"/>
                    <a:pt x="9801" y="1611"/>
                    <a:pt x="9700" y="1611"/>
                  </a:cubicBezTo>
                  <a:lnTo>
                    <a:pt x="9700" y="1611"/>
                  </a:lnTo>
                  <a:cubicBezTo>
                    <a:pt x="9598" y="1611"/>
                    <a:pt x="9513" y="1696"/>
                    <a:pt x="9513" y="1798"/>
                  </a:cubicBezTo>
                  <a:lnTo>
                    <a:pt x="9513" y="1871"/>
                  </a:lnTo>
                  <a:lnTo>
                    <a:pt x="9886" y="1871"/>
                  </a:lnTo>
                  <a:close/>
                  <a:moveTo>
                    <a:pt x="8774" y="875"/>
                  </a:moveTo>
                  <a:cubicBezTo>
                    <a:pt x="8875" y="875"/>
                    <a:pt x="8960" y="790"/>
                    <a:pt x="8960" y="688"/>
                  </a:cubicBezTo>
                  <a:lnTo>
                    <a:pt x="8960" y="564"/>
                  </a:lnTo>
                  <a:cubicBezTo>
                    <a:pt x="8960" y="463"/>
                    <a:pt x="8875" y="378"/>
                    <a:pt x="8774" y="378"/>
                  </a:cubicBezTo>
                  <a:cubicBezTo>
                    <a:pt x="8672" y="378"/>
                    <a:pt x="8588" y="463"/>
                    <a:pt x="8588" y="564"/>
                  </a:cubicBezTo>
                  <a:lnTo>
                    <a:pt x="8588" y="688"/>
                  </a:lnTo>
                  <a:cubicBezTo>
                    <a:pt x="8588" y="790"/>
                    <a:pt x="8672" y="875"/>
                    <a:pt x="8774" y="875"/>
                  </a:cubicBezTo>
                  <a:close/>
                  <a:moveTo>
                    <a:pt x="8774" y="1490"/>
                  </a:moveTo>
                  <a:cubicBezTo>
                    <a:pt x="8875" y="1490"/>
                    <a:pt x="8960" y="1405"/>
                    <a:pt x="8960" y="1304"/>
                  </a:cubicBezTo>
                  <a:lnTo>
                    <a:pt x="8960" y="1179"/>
                  </a:lnTo>
                  <a:cubicBezTo>
                    <a:pt x="8960" y="1078"/>
                    <a:pt x="8875" y="993"/>
                    <a:pt x="8774" y="993"/>
                  </a:cubicBezTo>
                  <a:cubicBezTo>
                    <a:pt x="8672" y="993"/>
                    <a:pt x="8588" y="1078"/>
                    <a:pt x="8588" y="1179"/>
                  </a:cubicBezTo>
                  <a:lnTo>
                    <a:pt x="8588" y="1304"/>
                  </a:lnTo>
                  <a:cubicBezTo>
                    <a:pt x="8588" y="1408"/>
                    <a:pt x="8672" y="1490"/>
                    <a:pt x="8774" y="1490"/>
                  </a:cubicBezTo>
                  <a:close/>
                  <a:moveTo>
                    <a:pt x="8774" y="259"/>
                  </a:moveTo>
                  <a:cubicBezTo>
                    <a:pt x="8875" y="259"/>
                    <a:pt x="8960" y="175"/>
                    <a:pt x="8960" y="73"/>
                  </a:cubicBezTo>
                  <a:lnTo>
                    <a:pt x="8960" y="0"/>
                  </a:lnTo>
                  <a:lnTo>
                    <a:pt x="8588" y="0"/>
                  </a:lnTo>
                  <a:lnTo>
                    <a:pt x="8588" y="73"/>
                  </a:lnTo>
                  <a:cubicBezTo>
                    <a:pt x="8588" y="175"/>
                    <a:pt x="8672" y="259"/>
                    <a:pt x="8774" y="259"/>
                  </a:cubicBezTo>
                  <a:close/>
                  <a:moveTo>
                    <a:pt x="8960" y="1871"/>
                  </a:moveTo>
                  <a:lnTo>
                    <a:pt x="8960" y="1798"/>
                  </a:lnTo>
                  <a:cubicBezTo>
                    <a:pt x="8960" y="1696"/>
                    <a:pt x="8875" y="1611"/>
                    <a:pt x="8774" y="1611"/>
                  </a:cubicBezTo>
                  <a:cubicBezTo>
                    <a:pt x="8672" y="1611"/>
                    <a:pt x="8588" y="1696"/>
                    <a:pt x="8588" y="1798"/>
                  </a:cubicBezTo>
                  <a:lnTo>
                    <a:pt x="8588" y="1871"/>
                  </a:lnTo>
                  <a:lnTo>
                    <a:pt x="8960" y="1871"/>
                  </a:lnTo>
                  <a:close/>
                  <a:moveTo>
                    <a:pt x="8314" y="567"/>
                  </a:moveTo>
                  <a:cubicBezTo>
                    <a:pt x="8415" y="567"/>
                    <a:pt x="8500" y="482"/>
                    <a:pt x="8500" y="381"/>
                  </a:cubicBezTo>
                  <a:lnTo>
                    <a:pt x="8500" y="257"/>
                  </a:lnTo>
                  <a:cubicBezTo>
                    <a:pt x="8500" y="155"/>
                    <a:pt x="8415" y="70"/>
                    <a:pt x="8314" y="70"/>
                  </a:cubicBezTo>
                  <a:cubicBezTo>
                    <a:pt x="8212" y="70"/>
                    <a:pt x="8128" y="155"/>
                    <a:pt x="8128" y="257"/>
                  </a:cubicBezTo>
                  <a:lnTo>
                    <a:pt x="8128" y="381"/>
                  </a:lnTo>
                  <a:cubicBezTo>
                    <a:pt x="8128" y="482"/>
                    <a:pt x="8209" y="567"/>
                    <a:pt x="8314" y="567"/>
                  </a:cubicBezTo>
                  <a:close/>
                  <a:moveTo>
                    <a:pt x="9237" y="567"/>
                  </a:moveTo>
                  <a:cubicBezTo>
                    <a:pt x="9338" y="567"/>
                    <a:pt x="9423" y="482"/>
                    <a:pt x="9423" y="381"/>
                  </a:cubicBezTo>
                  <a:lnTo>
                    <a:pt x="9423" y="257"/>
                  </a:lnTo>
                  <a:cubicBezTo>
                    <a:pt x="9423" y="155"/>
                    <a:pt x="9338" y="70"/>
                    <a:pt x="9237" y="70"/>
                  </a:cubicBezTo>
                  <a:cubicBezTo>
                    <a:pt x="9135" y="70"/>
                    <a:pt x="9050" y="155"/>
                    <a:pt x="9050" y="257"/>
                  </a:cubicBezTo>
                  <a:lnTo>
                    <a:pt x="9050" y="381"/>
                  </a:lnTo>
                  <a:cubicBezTo>
                    <a:pt x="9050" y="482"/>
                    <a:pt x="9135" y="567"/>
                    <a:pt x="9237" y="567"/>
                  </a:cubicBezTo>
                  <a:close/>
                  <a:moveTo>
                    <a:pt x="5543" y="1182"/>
                  </a:moveTo>
                  <a:cubicBezTo>
                    <a:pt x="5644" y="1182"/>
                    <a:pt x="5729" y="1098"/>
                    <a:pt x="5729" y="996"/>
                  </a:cubicBezTo>
                  <a:lnTo>
                    <a:pt x="5729" y="872"/>
                  </a:lnTo>
                  <a:cubicBezTo>
                    <a:pt x="5729" y="770"/>
                    <a:pt x="5644" y="686"/>
                    <a:pt x="5543" y="686"/>
                  </a:cubicBezTo>
                  <a:cubicBezTo>
                    <a:pt x="5441" y="686"/>
                    <a:pt x="5356" y="770"/>
                    <a:pt x="5356" y="872"/>
                  </a:cubicBezTo>
                  <a:lnTo>
                    <a:pt x="5356" y="996"/>
                  </a:lnTo>
                  <a:cubicBezTo>
                    <a:pt x="5356" y="1098"/>
                    <a:pt x="5438" y="1182"/>
                    <a:pt x="5543" y="1182"/>
                  </a:cubicBezTo>
                  <a:close/>
                  <a:moveTo>
                    <a:pt x="6189" y="1871"/>
                  </a:moveTo>
                  <a:lnTo>
                    <a:pt x="6189" y="1798"/>
                  </a:lnTo>
                  <a:cubicBezTo>
                    <a:pt x="6189" y="1696"/>
                    <a:pt x="6104" y="1611"/>
                    <a:pt x="6003" y="1611"/>
                  </a:cubicBezTo>
                  <a:lnTo>
                    <a:pt x="6003" y="1611"/>
                  </a:lnTo>
                  <a:cubicBezTo>
                    <a:pt x="5901" y="1611"/>
                    <a:pt x="5816" y="1696"/>
                    <a:pt x="5816" y="1798"/>
                  </a:cubicBezTo>
                  <a:lnTo>
                    <a:pt x="5816" y="1871"/>
                  </a:lnTo>
                  <a:lnTo>
                    <a:pt x="6189" y="1871"/>
                  </a:lnTo>
                  <a:close/>
                  <a:moveTo>
                    <a:pt x="5080" y="259"/>
                  </a:moveTo>
                  <a:cubicBezTo>
                    <a:pt x="5181" y="259"/>
                    <a:pt x="5266" y="175"/>
                    <a:pt x="5266" y="73"/>
                  </a:cubicBezTo>
                  <a:lnTo>
                    <a:pt x="5266" y="0"/>
                  </a:lnTo>
                  <a:lnTo>
                    <a:pt x="4894" y="0"/>
                  </a:lnTo>
                  <a:lnTo>
                    <a:pt x="4894" y="73"/>
                  </a:lnTo>
                  <a:cubicBezTo>
                    <a:pt x="4894" y="175"/>
                    <a:pt x="4978" y="259"/>
                    <a:pt x="5080" y="259"/>
                  </a:cubicBezTo>
                  <a:close/>
                  <a:moveTo>
                    <a:pt x="5543" y="567"/>
                  </a:moveTo>
                  <a:cubicBezTo>
                    <a:pt x="5644" y="567"/>
                    <a:pt x="5729" y="482"/>
                    <a:pt x="5729" y="381"/>
                  </a:cubicBezTo>
                  <a:lnTo>
                    <a:pt x="5729" y="257"/>
                  </a:lnTo>
                  <a:cubicBezTo>
                    <a:pt x="5729" y="155"/>
                    <a:pt x="5644" y="70"/>
                    <a:pt x="5543" y="70"/>
                  </a:cubicBezTo>
                  <a:cubicBezTo>
                    <a:pt x="5441" y="70"/>
                    <a:pt x="5356" y="155"/>
                    <a:pt x="5356" y="257"/>
                  </a:cubicBezTo>
                  <a:lnTo>
                    <a:pt x="5356" y="381"/>
                  </a:lnTo>
                  <a:cubicBezTo>
                    <a:pt x="5356" y="482"/>
                    <a:pt x="5438" y="567"/>
                    <a:pt x="5543" y="567"/>
                  </a:cubicBezTo>
                  <a:close/>
                  <a:moveTo>
                    <a:pt x="5543" y="1798"/>
                  </a:moveTo>
                  <a:cubicBezTo>
                    <a:pt x="5644" y="1798"/>
                    <a:pt x="5729" y="1713"/>
                    <a:pt x="5729" y="1611"/>
                  </a:cubicBezTo>
                  <a:lnTo>
                    <a:pt x="5729" y="1487"/>
                  </a:lnTo>
                  <a:cubicBezTo>
                    <a:pt x="5729" y="1385"/>
                    <a:pt x="5644" y="1301"/>
                    <a:pt x="5543" y="1301"/>
                  </a:cubicBezTo>
                  <a:cubicBezTo>
                    <a:pt x="5441" y="1301"/>
                    <a:pt x="5356" y="1385"/>
                    <a:pt x="5356" y="1487"/>
                  </a:cubicBezTo>
                  <a:lnTo>
                    <a:pt x="5356" y="1611"/>
                  </a:lnTo>
                  <a:cubicBezTo>
                    <a:pt x="5356" y="1713"/>
                    <a:pt x="5438" y="1798"/>
                    <a:pt x="5543" y="1798"/>
                  </a:cubicBezTo>
                  <a:close/>
                  <a:moveTo>
                    <a:pt x="5266" y="1871"/>
                  </a:moveTo>
                  <a:lnTo>
                    <a:pt x="5266" y="1798"/>
                  </a:lnTo>
                  <a:cubicBezTo>
                    <a:pt x="5266" y="1696"/>
                    <a:pt x="5181" y="1611"/>
                    <a:pt x="5080" y="1611"/>
                  </a:cubicBezTo>
                  <a:cubicBezTo>
                    <a:pt x="4978" y="1611"/>
                    <a:pt x="4894" y="1696"/>
                    <a:pt x="4894" y="1798"/>
                  </a:cubicBezTo>
                  <a:lnTo>
                    <a:pt x="4894" y="1871"/>
                  </a:lnTo>
                  <a:lnTo>
                    <a:pt x="5266" y="1871"/>
                  </a:lnTo>
                  <a:close/>
                  <a:moveTo>
                    <a:pt x="4617" y="567"/>
                  </a:moveTo>
                  <a:cubicBezTo>
                    <a:pt x="4719" y="567"/>
                    <a:pt x="4803" y="482"/>
                    <a:pt x="4803" y="381"/>
                  </a:cubicBezTo>
                  <a:lnTo>
                    <a:pt x="4803" y="257"/>
                  </a:lnTo>
                  <a:cubicBezTo>
                    <a:pt x="4803" y="155"/>
                    <a:pt x="4719" y="70"/>
                    <a:pt x="4617" y="70"/>
                  </a:cubicBezTo>
                  <a:cubicBezTo>
                    <a:pt x="4515" y="70"/>
                    <a:pt x="4431" y="155"/>
                    <a:pt x="4431" y="257"/>
                  </a:cubicBezTo>
                  <a:lnTo>
                    <a:pt x="4431" y="381"/>
                  </a:lnTo>
                  <a:cubicBezTo>
                    <a:pt x="4431" y="482"/>
                    <a:pt x="4515" y="567"/>
                    <a:pt x="4617" y="567"/>
                  </a:cubicBezTo>
                  <a:close/>
                  <a:moveTo>
                    <a:pt x="5080" y="1490"/>
                  </a:moveTo>
                  <a:cubicBezTo>
                    <a:pt x="5181" y="1490"/>
                    <a:pt x="5266" y="1405"/>
                    <a:pt x="5266" y="1304"/>
                  </a:cubicBezTo>
                  <a:lnTo>
                    <a:pt x="5266" y="1179"/>
                  </a:lnTo>
                  <a:cubicBezTo>
                    <a:pt x="5266" y="1078"/>
                    <a:pt x="5181" y="993"/>
                    <a:pt x="5080" y="993"/>
                  </a:cubicBezTo>
                  <a:cubicBezTo>
                    <a:pt x="4978" y="993"/>
                    <a:pt x="4894" y="1078"/>
                    <a:pt x="4894" y="1179"/>
                  </a:cubicBezTo>
                  <a:lnTo>
                    <a:pt x="4894" y="1304"/>
                  </a:lnTo>
                  <a:cubicBezTo>
                    <a:pt x="4894" y="1408"/>
                    <a:pt x="4978" y="1490"/>
                    <a:pt x="5080" y="1490"/>
                  </a:cubicBezTo>
                  <a:close/>
                  <a:moveTo>
                    <a:pt x="5080" y="875"/>
                  </a:moveTo>
                  <a:cubicBezTo>
                    <a:pt x="5181" y="875"/>
                    <a:pt x="5266" y="790"/>
                    <a:pt x="5266" y="688"/>
                  </a:cubicBezTo>
                  <a:lnTo>
                    <a:pt x="5266" y="564"/>
                  </a:lnTo>
                  <a:cubicBezTo>
                    <a:pt x="5266" y="463"/>
                    <a:pt x="5181" y="378"/>
                    <a:pt x="5080" y="378"/>
                  </a:cubicBezTo>
                  <a:cubicBezTo>
                    <a:pt x="4978" y="378"/>
                    <a:pt x="4894" y="463"/>
                    <a:pt x="4894" y="564"/>
                  </a:cubicBezTo>
                  <a:lnTo>
                    <a:pt x="4894" y="688"/>
                  </a:lnTo>
                  <a:cubicBezTo>
                    <a:pt x="4894" y="790"/>
                    <a:pt x="4978" y="875"/>
                    <a:pt x="5080" y="875"/>
                  </a:cubicBezTo>
                  <a:close/>
                  <a:moveTo>
                    <a:pt x="6465" y="1182"/>
                  </a:moveTo>
                  <a:lnTo>
                    <a:pt x="6465" y="1182"/>
                  </a:lnTo>
                  <a:cubicBezTo>
                    <a:pt x="6567" y="1182"/>
                    <a:pt x="6652" y="1098"/>
                    <a:pt x="6652" y="996"/>
                  </a:cubicBezTo>
                  <a:lnTo>
                    <a:pt x="6652" y="872"/>
                  </a:lnTo>
                  <a:cubicBezTo>
                    <a:pt x="6652" y="770"/>
                    <a:pt x="6567" y="686"/>
                    <a:pt x="6465" y="686"/>
                  </a:cubicBezTo>
                  <a:lnTo>
                    <a:pt x="6465" y="686"/>
                  </a:lnTo>
                  <a:cubicBezTo>
                    <a:pt x="6364" y="686"/>
                    <a:pt x="6279" y="770"/>
                    <a:pt x="6279" y="872"/>
                  </a:cubicBezTo>
                  <a:lnTo>
                    <a:pt x="6279" y="996"/>
                  </a:lnTo>
                  <a:cubicBezTo>
                    <a:pt x="6279" y="1098"/>
                    <a:pt x="6364" y="1182"/>
                    <a:pt x="6465" y="1182"/>
                  </a:cubicBezTo>
                  <a:close/>
                  <a:moveTo>
                    <a:pt x="6465" y="567"/>
                  </a:moveTo>
                  <a:lnTo>
                    <a:pt x="6465" y="567"/>
                  </a:lnTo>
                  <a:cubicBezTo>
                    <a:pt x="6567" y="567"/>
                    <a:pt x="6652" y="482"/>
                    <a:pt x="6652" y="381"/>
                  </a:cubicBezTo>
                  <a:lnTo>
                    <a:pt x="6652" y="257"/>
                  </a:lnTo>
                  <a:cubicBezTo>
                    <a:pt x="6652" y="155"/>
                    <a:pt x="6567" y="70"/>
                    <a:pt x="6465" y="70"/>
                  </a:cubicBezTo>
                  <a:lnTo>
                    <a:pt x="6465" y="70"/>
                  </a:lnTo>
                  <a:cubicBezTo>
                    <a:pt x="6364" y="70"/>
                    <a:pt x="6279" y="155"/>
                    <a:pt x="6279" y="257"/>
                  </a:cubicBezTo>
                  <a:lnTo>
                    <a:pt x="6279" y="381"/>
                  </a:lnTo>
                  <a:cubicBezTo>
                    <a:pt x="6279" y="482"/>
                    <a:pt x="6364" y="567"/>
                    <a:pt x="6465" y="567"/>
                  </a:cubicBezTo>
                  <a:close/>
                  <a:moveTo>
                    <a:pt x="7115" y="1871"/>
                  </a:moveTo>
                  <a:lnTo>
                    <a:pt x="7115" y="1798"/>
                  </a:lnTo>
                  <a:cubicBezTo>
                    <a:pt x="7115" y="1696"/>
                    <a:pt x="7029" y="1611"/>
                    <a:pt x="6928" y="1611"/>
                  </a:cubicBezTo>
                  <a:cubicBezTo>
                    <a:pt x="6826" y="1611"/>
                    <a:pt x="6742" y="1696"/>
                    <a:pt x="6742" y="1798"/>
                  </a:cubicBezTo>
                  <a:lnTo>
                    <a:pt x="6742" y="1871"/>
                  </a:lnTo>
                  <a:lnTo>
                    <a:pt x="7115" y="1871"/>
                  </a:lnTo>
                  <a:close/>
                  <a:moveTo>
                    <a:pt x="6928" y="875"/>
                  </a:moveTo>
                  <a:cubicBezTo>
                    <a:pt x="7030" y="875"/>
                    <a:pt x="7115" y="790"/>
                    <a:pt x="7115" y="688"/>
                  </a:cubicBezTo>
                  <a:lnTo>
                    <a:pt x="7115" y="564"/>
                  </a:lnTo>
                  <a:cubicBezTo>
                    <a:pt x="7115" y="463"/>
                    <a:pt x="7029" y="378"/>
                    <a:pt x="6928" y="378"/>
                  </a:cubicBezTo>
                  <a:cubicBezTo>
                    <a:pt x="6826" y="378"/>
                    <a:pt x="6742" y="463"/>
                    <a:pt x="6742" y="564"/>
                  </a:cubicBezTo>
                  <a:lnTo>
                    <a:pt x="6742" y="688"/>
                  </a:lnTo>
                  <a:cubicBezTo>
                    <a:pt x="6742" y="790"/>
                    <a:pt x="6824" y="875"/>
                    <a:pt x="6928" y="875"/>
                  </a:cubicBezTo>
                  <a:close/>
                  <a:moveTo>
                    <a:pt x="6928" y="1490"/>
                  </a:moveTo>
                  <a:cubicBezTo>
                    <a:pt x="7030" y="1490"/>
                    <a:pt x="7115" y="1405"/>
                    <a:pt x="7115" y="1304"/>
                  </a:cubicBezTo>
                  <a:lnTo>
                    <a:pt x="7115" y="1179"/>
                  </a:lnTo>
                  <a:cubicBezTo>
                    <a:pt x="7115" y="1078"/>
                    <a:pt x="7029" y="993"/>
                    <a:pt x="6928" y="993"/>
                  </a:cubicBezTo>
                  <a:cubicBezTo>
                    <a:pt x="6826" y="993"/>
                    <a:pt x="6742" y="1078"/>
                    <a:pt x="6742" y="1179"/>
                  </a:cubicBezTo>
                  <a:lnTo>
                    <a:pt x="6742" y="1304"/>
                  </a:lnTo>
                  <a:cubicBezTo>
                    <a:pt x="6742" y="1408"/>
                    <a:pt x="6824" y="1490"/>
                    <a:pt x="6928" y="1490"/>
                  </a:cubicBezTo>
                  <a:close/>
                  <a:moveTo>
                    <a:pt x="6465" y="1798"/>
                  </a:moveTo>
                  <a:lnTo>
                    <a:pt x="6465" y="1798"/>
                  </a:lnTo>
                  <a:cubicBezTo>
                    <a:pt x="6567" y="1798"/>
                    <a:pt x="6652" y="1713"/>
                    <a:pt x="6652" y="1611"/>
                  </a:cubicBezTo>
                  <a:lnTo>
                    <a:pt x="6652" y="1487"/>
                  </a:lnTo>
                  <a:cubicBezTo>
                    <a:pt x="6652" y="1385"/>
                    <a:pt x="6567" y="1301"/>
                    <a:pt x="6465" y="1301"/>
                  </a:cubicBezTo>
                  <a:lnTo>
                    <a:pt x="6465" y="1301"/>
                  </a:lnTo>
                  <a:cubicBezTo>
                    <a:pt x="6364" y="1301"/>
                    <a:pt x="6279" y="1385"/>
                    <a:pt x="6279" y="1487"/>
                  </a:cubicBezTo>
                  <a:lnTo>
                    <a:pt x="6279" y="1611"/>
                  </a:lnTo>
                  <a:cubicBezTo>
                    <a:pt x="6279" y="1713"/>
                    <a:pt x="6364" y="1798"/>
                    <a:pt x="6465" y="1798"/>
                  </a:cubicBezTo>
                  <a:close/>
                  <a:moveTo>
                    <a:pt x="6003" y="875"/>
                  </a:moveTo>
                  <a:lnTo>
                    <a:pt x="6003" y="875"/>
                  </a:lnTo>
                  <a:cubicBezTo>
                    <a:pt x="6104" y="875"/>
                    <a:pt x="6189" y="790"/>
                    <a:pt x="6189" y="688"/>
                  </a:cubicBezTo>
                  <a:lnTo>
                    <a:pt x="6189" y="564"/>
                  </a:lnTo>
                  <a:cubicBezTo>
                    <a:pt x="6189" y="463"/>
                    <a:pt x="6104" y="378"/>
                    <a:pt x="6003" y="378"/>
                  </a:cubicBezTo>
                  <a:lnTo>
                    <a:pt x="6003" y="378"/>
                  </a:lnTo>
                  <a:cubicBezTo>
                    <a:pt x="5901" y="378"/>
                    <a:pt x="5816" y="463"/>
                    <a:pt x="5816" y="564"/>
                  </a:cubicBezTo>
                  <a:lnTo>
                    <a:pt x="5816" y="688"/>
                  </a:lnTo>
                  <a:cubicBezTo>
                    <a:pt x="5816" y="790"/>
                    <a:pt x="5901" y="875"/>
                    <a:pt x="6003" y="875"/>
                  </a:cubicBezTo>
                  <a:close/>
                  <a:moveTo>
                    <a:pt x="6003" y="259"/>
                  </a:moveTo>
                  <a:lnTo>
                    <a:pt x="6003" y="259"/>
                  </a:lnTo>
                  <a:cubicBezTo>
                    <a:pt x="6104" y="259"/>
                    <a:pt x="6189" y="175"/>
                    <a:pt x="6189" y="73"/>
                  </a:cubicBezTo>
                  <a:lnTo>
                    <a:pt x="6189" y="0"/>
                  </a:lnTo>
                  <a:lnTo>
                    <a:pt x="5816" y="0"/>
                  </a:lnTo>
                  <a:lnTo>
                    <a:pt x="5816" y="73"/>
                  </a:lnTo>
                  <a:cubicBezTo>
                    <a:pt x="5816" y="175"/>
                    <a:pt x="5901" y="259"/>
                    <a:pt x="6003" y="259"/>
                  </a:cubicBezTo>
                  <a:close/>
                  <a:moveTo>
                    <a:pt x="6003" y="1490"/>
                  </a:moveTo>
                  <a:lnTo>
                    <a:pt x="6003" y="1490"/>
                  </a:lnTo>
                  <a:cubicBezTo>
                    <a:pt x="6104" y="1490"/>
                    <a:pt x="6189" y="1405"/>
                    <a:pt x="6189" y="1304"/>
                  </a:cubicBezTo>
                  <a:lnTo>
                    <a:pt x="6189" y="1179"/>
                  </a:lnTo>
                  <a:cubicBezTo>
                    <a:pt x="6189" y="1078"/>
                    <a:pt x="6104" y="993"/>
                    <a:pt x="6003" y="993"/>
                  </a:cubicBezTo>
                  <a:lnTo>
                    <a:pt x="6003" y="993"/>
                  </a:lnTo>
                  <a:cubicBezTo>
                    <a:pt x="5901" y="993"/>
                    <a:pt x="5816" y="1078"/>
                    <a:pt x="5816" y="1179"/>
                  </a:cubicBezTo>
                  <a:lnTo>
                    <a:pt x="5816" y="1304"/>
                  </a:lnTo>
                  <a:cubicBezTo>
                    <a:pt x="5816" y="1408"/>
                    <a:pt x="5901" y="1490"/>
                    <a:pt x="6003" y="1490"/>
                  </a:cubicBezTo>
                  <a:close/>
                </a:path>
              </a:pathLst>
            </a:custGeom>
            <a:solidFill>
              <a:srgbClr val="2BB4E6"/>
            </a:solidFill>
            <a:ln w="9525" cap="flat">
              <a:noFill/>
              <a:bevel/>
              <a:headEnd/>
              <a:tailEnd/>
            </a:ln>
            <a:effectLst/>
          </p:spPr>
          <p:txBody>
            <a:bodyPr wrap="none" anchor="ctr"/>
            <a:lstStyle/>
            <a:p>
              <a:endParaRPr lang="en-US"/>
            </a:p>
          </p:txBody>
        </p:sp>
      </p:grpSp>
      <p:sp>
        <p:nvSpPr>
          <p:cNvPr id="5" name="Content Placeholder 4"/>
          <p:cNvSpPr>
            <a:spLocks noGrp="1"/>
          </p:cNvSpPr>
          <p:nvPr>
            <p:ph sz="quarter" idx="11" hasCustomPrompt="1"/>
          </p:nvPr>
        </p:nvSpPr>
        <p:spPr>
          <a:xfrm>
            <a:off x="436564" y="1205898"/>
            <a:ext cx="8266112" cy="2743200"/>
          </a:xfrm>
          <a:prstGeom prst="rect">
            <a:avLst/>
          </a:prstGeom>
        </p:spPr>
        <p:txBody>
          <a:bodyPr/>
          <a:lstStyle>
            <a:lvl1pPr>
              <a:spcBef>
                <a:spcPts val="1110"/>
              </a:spcBef>
              <a:buClr>
                <a:schemeClr val="tx1"/>
              </a:buClr>
              <a:buSzPct val="80000"/>
              <a:defRPr lang="en-US" sz="16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1pPr>
            <a:lvl2pPr marL="341313" indent="-171450">
              <a:spcBef>
                <a:spcPts val="600"/>
              </a:spcBef>
              <a:buClr>
                <a:schemeClr val="tx1"/>
              </a:buClr>
              <a:buSzPct val="80000"/>
              <a:defRPr lang="en-US" sz="12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2pPr>
            <a:lvl3pPr>
              <a:defRPr lang="en-US" sz="20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3pPr>
            <a:lvl4pPr>
              <a:defRPr lang="en-US" sz="20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4pPr>
          </a:lstStyle>
          <a:p>
            <a:pPr lvl="0"/>
            <a:r>
              <a:rPr lang="en-US"/>
              <a:t>Click to edit Master text styles</a:t>
            </a:r>
          </a:p>
          <a:p>
            <a:pPr lvl="1"/>
            <a:r>
              <a:rPr lang="en-US"/>
              <a:t>Second level</a:t>
            </a:r>
          </a:p>
        </p:txBody>
      </p:sp>
      <p:sp>
        <p:nvSpPr>
          <p:cNvPr id="104" name="Slide Number Placeholder 1"/>
          <p:cNvSpPr>
            <a:spLocks noGrp="1"/>
          </p:cNvSpPr>
          <p:nvPr>
            <p:ph type="sldNum" sz="quarter" idx="4"/>
          </p:nvPr>
        </p:nvSpPr>
        <p:spPr bwMode="white">
          <a:xfrm>
            <a:off x="8370150" y="4880892"/>
            <a:ext cx="359666" cy="274637"/>
          </a:xfrm>
          <a:prstGeom prst="rect">
            <a:avLst/>
          </a:prstGeom>
        </p:spPr>
        <p:txBody>
          <a:bodyPr vert="horz" lIns="91440" tIns="45720" rIns="91440" bIns="45720" rtlCol="0" anchor="ctr"/>
          <a:lstStyle>
            <a:lvl1pPr algn="r">
              <a:defRPr lang="en-US" sz="6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4" name="Title 18"/>
          <p:cNvSpPr>
            <a:spLocks noGrp="1"/>
          </p:cNvSpPr>
          <p:nvPr>
            <p:ph type="title"/>
          </p:nvPr>
        </p:nvSpPr>
        <p:spPr>
          <a:xfrm>
            <a:off x="448056" y="192024"/>
            <a:ext cx="6126480" cy="731837"/>
          </a:xfrm>
        </p:spPr>
        <p:txBody>
          <a:bodyPr anchor="t"/>
          <a:lstStyle>
            <a:lvl1pPr>
              <a:defRPr>
                <a:latin typeface="CiscoSansTT Light" panose="020B0503020201020303" pitchFamily="34" charset="0"/>
              </a:defRPr>
            </a:lvl1pPr>
          </a:lstStyle>
          <a:p>
            <a:r>
              <a:rPr lang="en-US">
                <a:solidFill>
                  <a:srgbClr val="005073"/>
                </a:solidFill>
              </a:rPr>
              <a:t>Agenda</a:t>
            </a:r>
            <a:endParaRPr lang="en-US"/>
          </a:p>
        </p:txBody>
      </p:sp>
      <p:pic>
        <p:nvPicPr>
          <p:cNvPr id="13" name="Picture 12">
            <a:extLst>
              <a:ext uri="{FF2B5EF4-FFF2-40B4-BE49-F238E27FC236}">
                <a16:creationId xmlns:a16="http://schemas.microsoft.com/office/drawing/2014/main" id="{F1733D5B-03AB-A742-BFE1-E05966D1BDB5}"/>
              </a:ext>
            </a:extLst>
          </p:cNvPr>
          <p:cNvPicPr>
            <a:picLocks noChangeAspect="1"/>
          </p:cNvPicPr>
          <p:nvPr userDrawn="1"/>
        </p:nvPicPr>
        <p:blipFill rotWithShape="1">
          <a:blip r:embed="rId2"/>
          <a:srcRect b="25357"/>
          <a:stretch/>
        </p:blipFill>
        <p:spPr>
          <a:xfrm>
            <a:off x="535208" y="4713094"/>
            <a:ext cx="1108685" cy="371377"/>
          </a:xfrm>
          <a:prstGeom prst="rect">
            <a:avLst/>
          </a:prstGeom>
        </p:spPr>
      </p:pic>
      <p:sp>
        <p:nvSpPr>
          <p:cNvPr id="12" name="Footer Placeholder 2">
            <a:extLst>
              <a:ext uri="{FF2B5EF4-FFF2-40B4-BE49-F238E27FC236}">
                <a16:creationId xmlns:a16="http://schemas.microsoft.com/office/drawing/2014/main" id="{0ADFF7C8-F8CB-9D4E-A2F7-E0D2B160D326}"/>
              </a:ext>
            </a:extLst>
          </p:cNvPr>
          <p:cNvSpPr>
            <a:spLocks noGrp="1"/>
          </p:cNvSpPr>
          <p:nvPr>
            <p:ph type="ftr" sz="quarter" idx="3"/>
          </p:nvPr>
        </p:nvSpPr>
        <p:spPr>
          <a:xfrm>
            <a:off x="4843616"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2"/>
                </a:solidFill>
                <a:latin typeface="CiscoSansTT Light" panose="020B0503020201020303" pitchFamily="34" charset="0"/>
                <a:cs typeface="CiscoSansTT Light" panose="020B0503020201020303" pitchFamily="34" charset="0"/>
              </a:defRPr>
            </a:lvl1pPr>
          </a:lstStyle>
          <a:p>
            <a:pPr defTabSz="610744"/>
            <a:r>
              <a:rPr lang="en-GB"/>
              <a:t>Presentation</a:t>
            </a:r>
          </a:p>
        </p:txBody>
      </p:sp>
      <p:sp>
        <p:nvSpPr>
          <p:cNvPr id="17" name="Rectangle 4">
            <a:extLst>
              <a:ext uri="{FF2B5EF4-FFF2-40B4-BE49-F238E27FC236}">
                <a16:creationId xmlns:a16="http://schemas.microsoft.com/office/drawing/2014/main" id="{53CBF04F-413F-B647-A1B6-CFC574C466C6}"/>
              </a:ext>
            </a:extLst>
          </p:cNvPr>
          <p:cNvSpPr>
            <a:spLocks noChangeArrowheads="1"/>
          </p:cNvSpPr>
          <p:nvPr userDrawn="1"/>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Tree>
    <p:extLst>
      <p:ext uri="{BB962C8B-B14F-4D97-AF65-F5344CB8AC3E}">
        <p14:creationId xmlns:p14="http://schemas.microsoft.com/office/powerpoint/2010/main" val="367363875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p:cSld name="1_Segue">
    <p:bg>
      <p:bgPr>
        <a:solidFill>
          <a:srgbClr val="00263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6756E2-16C2-D34A-9E78-A81C82FC1C17}"/>
              </a:ext>
            </a:extLst>
          </p:cNvPr>
          <p:cNvPicPr>
            <a:picLocks noChangeAspect="1"/>
          </p:cNvPicPr>
          <p:nvPr/>
        </p:nvPicPr>
        <p:blipFill>
          <a:blip r:embed="rId2"/>
          <a:srcRect/>
          <a:stretch/>
        </p:blipFill>
        <p:spPr>
          <a:xfrm>
            <a:off x="0" y="0"/>
            <a:ext cx="9144000" cy="5143500"/>
          </a:xfrm>
          <a:prstGeom prst="rect">
            <a:avLst/>
          </a:prstGeom>
        </p:spPr>
      </p:pic>
      <p:sp>
        <p:nvSpPr>
          <p:cNvPr id="8" name="Title 7"/>
          <p:cNvSpPr>
            <a:spLocks noGrp="1"/>
          </p:cNvSpPr>
          <p:nvPr>
            <p:ph type="title" hasCustomPrompt="1"/>
          </p:nvPr>
        </p:nvSpPr>
        <p:spPr bwMode="white">
          <a:xfrm>
            <a:off x="420010" y="1291590"/>
            <a:ext cx="3749040" cy="2560320"/>
          </a:xfrm>
        </p:spPr>
        <p:txBody>
          <a:bodyPr anchor="ctr"/>
          <a:lstStyle>
            <a:lvl1pPr marL="6251" indent="-6251" algn="l" defTabSz="914400" rtl="0" eaLnBrk="0" fontAlgn="base" latinLnBrk="0" hangingPunct="0">
              <a:lnSpc>
                <a:spcPct val="90000"/>
              </a:lnSpc>
              <a:spcBef>
                <a:spcPct val="0"/>
              </a:spcBef>
              <a:spcAft>
                <a:spcPct val="0"/>
              </a:spcAft>
              <a:defRPr lang="en-US" sz="3200"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a:t>Segue</a:t>
            </a:r>
          </a:p>
        </p:txBody>
      </p:sp>
      <p:pic>
        <p:nvPicPr>
          <p:cNvPr id="7" name="Picture 6">
            <a:extLst>
              <a:ext uri="{FF2B5EF4-FFF2-40B4-BE49-F238E27FC236}">
                <a16:creationId xmlns:a16="http://schemas.microsoft.com/office/drawing/2014/main" id="{5CB14FB2-7443-6540-8B93-80AD9CCCEE1C}"/>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5" name="Picture 4">
            <a:extLst>
              <a:ext uri="{FF2B5EF4-FFF2-40B4-BE49-F238E27FC236}">
                <a16:creationId xmlns:a16="http://schemas.microsoft.com/office/drawing/2014/main" id="{4C7F439A-A27A-6E4F-AE69-997C6361392A}"/>
              </a:ext>
            </a:extLst>
          </p:cNvPr>
          <p:cNvPicPr>
            <a:picLocks noChangeAspect="1"/>
          </p:cNvPicPr>
          <p:nvPr/>
        </p:nvPicPr>
        <p:blipFill>
          <a:blip r:embed="rId2"/>
          <a:srcRect/>
          <a:stretch/>
        </p:blipFill>
        <p:spPr>
          <a:xfrm>
            <a:off x="0" y="0"/>
            <a:ext cx="9144000" cy="5143500"/>
          </a:xfrm>
          <a:prstGeom prst="rect">
            <a:avLst/>
          </a:prstGeom>
        </p:spPr>
      </p:pic>
      <p:pic>
        <p:nvPicPr>
          <p:cNvPr id="6" name="Picture 5">
            <a:extLst>
              <a:ext uri="{FF2B5EF4-FFF2-40B4-BE49-F238E27FC236}">
                <a16:creationId xmlns:a16="http://schemas.microsoft.com/office/drawing/2014/main" id="{8C0A1FF4-B2A2-BD45-A777-688C98157532}"/>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5654012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219015298"/>
      </p:ext>
    </p:extLst>
  </p:cSld>
  <p:clrMapOvr>
    <a:masterClrMapping/>
  </p:clrMapOvr>
  <p:extLst>
    <p:ext uri="{DCECCB84-F9BA-43D5-87BE-67443E8EF086}">
      <p15:sldGuideLst xmlns:p15="http://schemas.microsoft.com/office/powerpoint/2012/main">
        <p15:guide id="1" orient="horz" pos="783" userDrawn="1">
          <p15:clr>
            <a:srgbClr val="FBAE40"/>
          </p15:clr>
        </p15:guide>
        <p15:guide id="3" orient="horz" pos="1647" userDrawn="1">
          <p15:clr>
            <a:srgbClr val="FBAE40"/>
          </p15:clr>
        </p15:guide>
        <p15:guide id="4" pos="2006" userDrawn="1">
          <p15:clr>
            <a:srgbClr val="FBAE40"/>
          </p15:clr>
        </p15:guide>
        <p15:guide id="7" pos="2405"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p:cSld name="1_Segue 2">
    <p:bg>
      <p:bgPr>
        <a:solidFill>
          <a:srgbClr val="00263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8FE1BDB-E4EC-F842-B072-A532D157BF21}"/>
              </a:ext>
            </a:extLst>
          </p:cNvPr>
          <p:cNvPicPr>
            <a:picLocks noChangeAspect="1"/>
          </p:cNvPicPr>
          <p:nvPr/>
        </p:nvPicPr>
        <p:blipFill>
          <a:blip r:embed="rId2"/>
          <a:srcRect/>
          <a:stretch/>
        </p:blipFill>
        <p:spPr>
          <a:xfrm>
            <a:off x="0" y="0"/>
            <a:ext cx="9144000" cy="5143500"/>
          </a:xfrm>
          <a:prstGeom prst="rect">
            <a:avLst/>
          </a:prstGeom>
        </p:spPr>
      </p:pic>
      <p:sp>
        <p:nvSpPr>
          <p:cNvPr id="42" name="Title 7"/>
          <p:cNvSpPr>
            <a:spLocks noGrp="1"/>
          </p:cNvSpPr>
          <p:nvPr>
            <p:ph type="title" hasCustomPrompt="1"/>
          </p:nvPr>
        </p:nvSpPr>
        <p:spPr bwMode="white">
          <a:xfrm>
            <a:off x="420010" y="1291590"/>
            <a:ext cx="3749040" cy="2560320"/>
          </a:xfrm>
        </p:spPr>
        <p:txBody>
          <a:bodyPr anchor="ctr"/>
          <a:lstStyle>
            <a:lvl1pPr marL="6251" indent="-6251" algn="l" defTabSz="914400" rtl="0" eaLnBrk="0" fontAlgn="base" latinLnBrk="0" hangingPunct="0">
              <a:lnSpc>
                <a:spcPct val="90000"/>
              </a:lnSpc>
              <a:spcBef>
                <a:spcPct val="0"/>
              </a:spcBef>
              <a:spcAft>
                <a:spcPct val="0"/>
              </a:spcAft>
              <a:defRPr lang="en-US" sz="3200"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a:t>Segue</a:t>
            </a:r>
          </a:p>
        </p:txBody>
      </p:sp>
      <p:pic>
        <p:nvPicPr>
          <p:cNvPr id="5" name="Picture 4">
            <a:extLst>
              <a:ext uri="{FF2B5EF4-FFF2-40B4-BE49-F238E27FC236}">
                <a16:creationId xmlns:a16="http://schemas.microsoft.com/office/drawing/2014/main" id="{C59E0E51-37BB-DA4E-A995-8179ACC61CC1}"/>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6" name="Picture 5">
            <a:extLst>
              <a:ext uri="{FF2B5EF4-FFF2-40B4-BE49-F238E27FC236}">
                <a16:creationId xmlns:a16="http://schemas.microsoft.com/office/drawing/2014/main" id="{45B58798-7D4B-4541-9E94-D3AC34A670A0}"/>
              </a:ext>
            </a:extLst>
          </p:cNvPr>
          <p:cNvPicPr>
            <a:picLocks noChangeAspect="1"/>
          </p:cNvPicPr>
          <p:nvPr/>
        </p:nvPicPr>
        <p:blipFill>
          <a:blip r:embed="rId2"/>
          <a:srcRect/>
          <a:stretch/>
        </p:blipFill>
        <p:spPr>
          <a:xfrm>
            <a:off x="0" y="0"/>
            <a:ext cx="9144000" cy="5143500"/>
          </a:xfrm>
          <a:prstGeom prst="rect">
            <a:avLst/>
          </a:prstGeom>
        </p:spPr>
      </p:pic>
      <p:pic>
        <p:nvPicPr>
          <p:cNvPr id="7" name="Picture 6">
            <a:extLst>
              <a:ext uri="{FF2B5EF4-FFF2-40B4-BE49-F238E27FC236}">
                <a16:creationId xmlns:a16="http://schemas.microsoft.com/office/drawing/2014/main" id="{581C3066-970C-6B4B-A964-490D708A5186}"/>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407658902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p:cSld name="1_Segue 3">
    <p:bg>
      <p:bgPr>
        <a:solidFill>
          <a:srgbClr val="00263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889597D-BD7B-4D42-BE87-EEA5FA116066}"/>
              </a:ext>
            </a:extLst>
          </p:cNvPr>
          <p:cNvPicPr>
            <a:picLocks noChangeAspect="1"/>
          </p:cNvPicPr>
          <p:nvPr/>
        </p:nvPicPr>
        <p:blipFill>
          <a:blip r:embed="rId2"/>
          <a:srcRect/>
          <a:stretch/>
        </p:blipFill>
        <p:spPr>
          <a:xfrm>
            <a:off x="0" y="0"/>
            <a:ext cx="9144000" cy="5143500"/>
          </a:xfrm>
          <a:prstGeom prst="rect">
            <a:avLst/>
          </a:prstGeom>
        </p:spPr>
      </p:pic>
      <p:sp>
        <p:nvSpPr>
          <p:cNvPr id="42" name="Title 7"/>
          <p:cNvSpPr>
            <a:spLocks noGrp="1"/>
          </p:cNvSpPr>
          <p:nvPr>
            <p:ph type="title" hasCustomPrompt="1"/>
          </p:nvPr>
        </p:nvSpPr>
        <p:spPr bwMode="white">
          <a:xfrm>
            <a:off x="420010" y="1291590"/>
            <a:ext cx="3749040" cy="2560320"/>
          </a:xfrm>
        </p:spPr>
        <p:txBody>
          <a:bodyPr anchor="ctr"/>
          <a:lstStyle>
            <a:lvl1pPr marL="6251" indent="-6251" algn="l" defTabSz="914400" rtl="0" eaLnBrk="0" fontAlgn="base" latinLnBrk="0" hangingPunct="0">
              <a:lnSpc>
                <a:spcPct val="90000"/>
              </a:lnSpc>
              <a:spcBef>
                <a:spcPct val="0"/>
              </a:spcBef>
              <a:spcAft>
                <a:spcPct val="0"/>
              </a:spcAft>
              <a:defRPr lang="en-US" sz="3200"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a:t>Segue</a:t>
            </a:r>
          </a:p>
        </p:txBody>
      </p:sp>
      <p:pic>
        <p:nvPicPr>
          <p:cNvPr id="5" name="Picture 4">
            <a:extLst>
              <a:ext uri="{FF2B5EF4-FFF2-40B4-BE49-F238E27FC236}">
                <a16:creationId xmlns:a16="http://schemas.microsoft.com/office/drawing/2014/main" id="{2225A115-D322-B44E-A4D1-7E0F6599EE34}"/>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6" name="Picture 5">
            <a:extLst>
              <a:ext uri="{FF2B5EF4-FFF2-40B4-BE49-F238E27FC236}">
                <a16:creationId xmlns:a16="http://schemas.microsoft.com/office/drawing/2014/main" id="{6755D6F5-98AD-1047-BF43-0AEA67CCE095}"/>
              </a:ext>
            </a:extLst>
          </p:cNvPr>
          <p:cNvPicPr>
            <a:picLocks noChangeAspect="1"/>
          </p:cNvPicPr>
          <p:nvPr/>
        </p:nvPicPr>
        <p:blipFill>
          <a:blip r:embed="rId2"/>
          <a:srcRect/>
          <a:stretch/>
        </p:blipFill>
        <p:spPr>
          <a:xfrm>
            <a:off x="0" y="0"/>
            <a:ext cx="9144000" cy="5143500"/>
          </a:xfrm>
          <a:prstGeom prst="rect">
            <a:avLst/>
          </a:prstGeom>
        </p:spPr>
      </p:pic>
      <p:pic>
        <p:nvPicPr>
          <p:cNvPr id="7" name="Picture 6">
            <a:extLst>
              <a:ext uri="{FF2B5EF4-FFF2-40B4-BE49-F238E27FC236}">
                <a16:creationId xmlns:a16="http://schemas.microsoft.com/office/drawing/2014/main" id="{3DF3016A-ABBD-E349-9CB8-2B71DE46B462}"/>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219934634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1_Segue 4">
    <p:bg>
      <p:bgPr>
        <a:solidFill>
          <a:srgbClr val="00263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16837DA-FA39-4A47-A4E1-E31F469A2161}"/>
              </a:ext>
            </a:extLst>
          </p:cNvPr>
          <p:cNvPicPr>
            <a:picLocks noChangeAspect="1"/>
          </p:cNvPicPr>
          <p:nvPr/>
        </p:nvPicPr>
        <p:blipFill>
          <a:blip r:embed="rId2"/>
          <a:srcRect/>
          <a:stretch/>
        </p:blipFill>
        <p:spPr>
          <a:xfrm>
            <a:off x="0" y="0"/>
            <a:ext cx="9144000" cy="5143500"/>
          </a:xfrm>
          <a:prstGeom prst="rect">
            <a:avLst/>
          </a:prstGeom>
        </p:spPr>
      </p:pic>
      <p:sp>
        <p:nvSpPr>
          <p:cNvPr id="42" name="Title 7"/>
          <p:cNvSpPr>
            <a:spLocks noGrp="1"/>
          </p:cNvSpPr>
          <p:nvPr>
            <p:ph type="title" hasCustomPrompt="1"/>
          </p:nvPr>
        </p:nvSpPr>
        <p:spPr bwMode="white">
          <a:xfrm>
            <a:off x="420010" y="1291590"/>
            <a:ext cx="3749040" cy="2560320"/>
          </a:xfrm>
        </p:spPr>
        <p:txBody>
          <a:bodyPr anchor="ctr"/>
          <a:lstStyle>
            <a:lvl1pPr marL="6251" indent="-6251" algn="l" defTabSz="914400" rtl="0" eaLnBrk="0" fontAlgn="base" latinLnBrk="0" hangingPunct="0">
              <a:lnSpc>
                <a:spcPct val="90000"/>
              </a:lnSpc>
              <a:spcBef>
                <a:spcPct val="0"/>
              </a:spcBef>
              <a:spcAft>
                <a:spcPct val="0"/>
              </a:spcAft>
              <a:defRPr lang="en-US" sz="3200"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a:t>Segue</a:t>
            </a:r>
          </a:p>
        </p:txBody>
      </p:sp>
      <p:pic>
        <p:nvPicPr>
          <p:cNvPr id="5" name="Picture 4">
            <a:extLst>
              <a:ext uri="{FF2B5EF4-FFF2-40B4-BE49-F238E27FC236}">
                <a16:creationId xmlns:a16="http://schemas.microsoft.com/office/drawing/2014/main" id="{89735FE1-F61C-004B-9F9F-CC2C449B204A}"/>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6" name="Picture 5">
            <a:extLst>
              <a:ext uri="{FF2B5EF4-FFF2-40B4-BE49-F238E27FC236}">
                <a16:creationId xmlns:a16="http://schemas.microsoft.com/office/drawing/2014/main" id="{44114F1D-A29C-B543-958D-71A577F22F85}"/>
              </a:ext>
            </a:extLst>
          </p:cNvPr>
          <p:cNvPicPr>
            <a:picLocks noChangeAspect="1"/>
          </p:cNvPicPr>
          <p:nvPr/>
        </p:nvPicPr>
        <p:blipFill>
          <a:blip r:embed="rId2"/>
          <a:srcRect/>
          <a:stretch/>
        </p:blipFill>
        <p:spPr>
          <a:xfrm>
            <a:off x="0" y="0"/>
            <a:ext cx="9144000" cy="5143500"/>
          </a:xfrm>
          <a:prstGeom prst="rect">
            <a:avLst/>
          </a:prstGeom>
        </p:spPr>
      </p:pic>
      <p:pic>
        <p:nvPicPr>
          <p:cNvPr id="7" name="Picture 6">
            <a:extLst>
              <a:ext uri="{FF2B5EF4-FFF2-40B4-BE49-F238E27FC236}">
                <a16:creationId xmlns:a16="http://schemas.microsoft.com/office/drawing/2014/main" id="{40FBAECE-D613-0542-8CF0-402A37E857D2}"/>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248578396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p:cSld name="1_Segue 5">
    <p:bg>
      <p:bgPr>
        <a:solidFill>
          <a:srgbClr val="00263A"/>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A17DCFE-9A18-B540-B183-AADAC491CB17}"/>
              </a:ext>
            </a:extLst>
          </p:cNvPr>
          <p:cNvPicPr>
            <a:picLocks noChangeAspect="1"/>
          </p:cNvPicPr>
          <p:nvPr/>
        </p:nvPicPr>
        <p:blipFill>
          <a:blip r:embed="rId2"/>
          <a:srcRect/>
          <a:stretch/>
        </p:blipFill>
        <p:spPr>
          <a:xfrm>
            <a:off x="0" y="0"/>
            <a:ext cx="9144000" cy="5143500"/>
          </a:xfrm>
          <a:prstGeom prst="rect">
            <a:avLst/>
          </a:prstGeom>
        </p:spPr>
      </p:pic>
      <p:sp>
        <p:nvSpPr>
          <p:cNvPr id="42" name="Title 7"/>
          <p:cNvSpPr>
            <a:spLocks noGrp="1"/>
          </p:cNvSpPr>
          <p:nvPr>
            <p:ph type="title" hasCustomPrompt="1"/>
          </p:nvPr>
        </p:nvSpPr>
        <p:spPr bwMode="white">
          <a:xfrm>
            <a:off x="420010" y="1291590"/>
            <a:ext cx="3749040" cy="2560320"/>
          </a:xfrm>
        </p:spPr>
        <p:txBody>
          <a:bodyPr anchor="ctr"/>
          <a:lstStyle>
            <a:lvl1pPr marL="6251" indent="-6251" algn="l" defTabSz="914400" rtl="0" eaLnBrk="0" fontAlgn="base" latinLnBrk="0" hangingPunct="0">
              <a:lnSpc>
                <a:spcPct val="90000"/>
              </a:lnSpc>
              <a:spcBef>
                <a:spcPct val="0"/>
              </a:spcBef>
              <a:spcAft>
                <a:spcPct val="0"/>
              </a:spcAft>
              <a:defRPr lang="en-US" sz="3200"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a:t>Segue</a:t>
            </a:r>
          </a:p>
        </p:txBody>
      </p:sp>
      <p:pic>
        <p:nvPicPr>
          <p:cNvPr id="5" name="Picture 4">
            <a:extLst>
              <a:ext uri="{FF2B5EF4-FFF2-40B4-BE49-F238E27FC236}">
                <a16:creationId xmlns:a16="http://schemas.microsoft.com/office/drawing/2014/main" id="{3C2EF167-305B-7148-88AA-052D7D72182D}"/>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6" name="Picture 5">
            <a:extLst>
              <a:ext uri="{FF2B5EF4-FFF2-40B4-BE49-F238E27FC236}">
                <a16:creationId xmlns:a16="http://schemas.microsoft.com/office/drawing/2014/main" id="{C283FD10-D73D-8846-82FB-26A1551E87E8}"/>
              </a:ext>
            </a:extLst>
          </p:cNvPr>
          <p:cNvPicPr>
            <a:picLocks noChangeAspect="1"/>
          </p:cNvPicPr>
          <p:nvPr/>
        </p:nvPicPr>
        <p:blipFill>
          <a:blip r:embed="rId2"/>
          <a:srcRect/>
          <a:stretch/>
        </p:blipFill>
        <p:spPr>
          <a:xfrm>
            <a:off x="0" y="0"/>
            <a:ext cx="9144000" cy="5143500"/>
          </a:xfrm>
          <a:prstGeom prst="rect">
            <a:avLst/>
          </a:prstGeom>
        </p:spPr>
      </p:pic>
      <p:pic>
        <p:nvPicPr>
          <p:cNvPr id="7" name="Picture 6">
            <a:extLst>
              <a:ext uri="{FF2B5EF4-FFF2-40B4-BE49-F238E27FC236}">
                <a16:creationId xmlns:a16="http://schemas.microsoft.com/office/drawing/2014/main" id="{E13CC4D7-0F48-E341-89DE-7843813042BF}"/>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3471372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p:cSld name="Segue Video ">
    <p:bg>
      <p:bgPr>
        <a:solidFill>
          <a:srgbClr val="005073"/>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730BAA7-BFAD-E143-BA98-585B4E909614}"/>
              </a:ext>
            </a:extLst>
          </p:cNvPr>
          <p:cNvPicPr>
            <a:picLocks noChangeAspect="1"/>
          </p:cNvPicPr>
          <p:nvPr/>
        </p:nvPicPr>
        <p:blipFill>
          <a:blip r:embed="rId2"/>
          <a:stretch>
            <a:fillRect/>
          </a:stretch>
        </p:blipFill>
        <p:spPr>
          <a:xfrm>
            <a:off x="0" y="0"/>
            <a:ext cx="9144000" cy="5143500"/>
          </a:xfrm>
          <a:prstGeom prst="rect">
            <a:avLst/>
          </a:prstGeom>
        </p:spPr>
      </p:pic>
      <p:sp>
        <p:nvSpPr>
          <p:cNvPr id="8" name="Title 7"/>
          <p:cNvSpPr>
            <a:spLocks noGrp="1"/>
          </p:cNvSpPr>
          <p:nvPr>
            <p:ph type="title" hasCustomPrompt="1"/>
          </p:nvPr>
        </p:nvSpPr>
        <p:spPr bwMode="black">
          <a:xfrm>
            <a:off x="445411" y="2836507"/>
            <a:ext cx="8257032" cy="960120"/>
          </a:xfrm>
        </p:spPr>
        <p:txBody>
          <a:bodyPr anchor="t" anchorCtr="0"/>
          <a:lstStyle>
            <a:lvl1pPr marL="0" indent="0" algn="l" defTabSz="684213" rtl="0" eaLnBrk="1" fontAlgn="base" latinLnBrk="0" hangingPunct="1">
              <a:lnSpc>
                <a:spcPct val="90000"/>
              </a:lnSpc>
              <a:spcBef>
                <a:spcPct val="0"/>
              </a:spcBef>
              <a:spcAft>
                <a:spcPct val="0"/>
              </a:spcAft>
              <a:buFont typeface="Arial" panose="020B0604020202020204" pitchFamily="34" charset="0"/>
              <a:buNone/>
              <a:defRPr lang="en-US" sz="3200" b="0" i="0" u="none" kern="1200" spc="0" baseline="0" dirty="0">
                <a:solidFill>
                  <a:schemeClr val="bg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Video</a:t>
            </a:r>
            <a:br>
              <a:rPr lang="en-US"/>
            </a:br>
            <a:endParaRPr lang="en-US"/>
          </a:p>
        </p:txBody>
      </p:sp>
      <p:pic>
        <p:nvPicPr>
          <p:cNvPr id="7" name="Picture 6">
            <a:extLst>
              <a:ext uri="{FF2B5EF4-FFF2-40B4-BE49-F238E27FC236}">
                <a16:creationId xmlns:a16="http://schemas.microsoft.com/office/drawing/2014/main" id="{5760B487-FBC4-8546-ADF5-2102EBD3516A}"/>
              </a:ext>
            </a:extLst>
          </p:cNvPr>
          <p:cNvPicPr>
            <a:picLocks noChangeAspect="1"/>
          </p:cNvPicPr>
          <p:nvPr/>
        </p:nvPicPr>
        <p:blipFill rotWithShape="1">
          <a:blip r:embed="rId3"/>
          <a:srcRect b="25357"/>
          <a:stretch/>
        </p:blipFill>
        <p:spPr>
          <a:xfrm>
            <a:off x="535208" y="4713094"/>
            <a:ext cx="1108685" cy="371377"/>
          </a:xfrm>
          <a:prstGeom prst="rect">
            <a:avLst/>
          </a:prstGeom>
        </p:spPr>
      </p:pic>
      <p:pic>
        <p:nvPicPr>
          <p:cNvPr id="5" name="Picture 4">
            <a:extLst>
              <a:ext uri="{FF2B5EF4-FFF2-40B4-BE49-F238E27FC236}">
                <a16:creationId xmlns:a16="http://schemas.microsoft.com/office/drawing/2014/main" id="{56C7B481-CE08-6B40-8DE3-725D0FE2C57A}"/>
              </a:ext>
            </a:extLst>
          </p:cNvPr>
          <p:cNvPicPr>
            <a:picLocks noChangeAspect="1"/>
          </p:cNvPicPr>
          <p:nvPr/>
        </p:nvPicPr>
        <p:blipFill>
          <a:blip r:embed="rId2"/>
          <a:stretch>
            <a:fillRect/>
          </a:stretch>
        </p:blipFill>
        <p:spPr>
          <a:xfrm>
            <a:off x="0" y="0"/>
            <a:ext cx="9144000" cy="5143500"/>
          </a:xfrm>
          <a:prstGeom prst="rect">
            <a:avLst/>
          </a:prstGeom>
        </p:spPr>
      </p:pic>
      <p:pic>
        <p:nvPicPr>
          <p:cNvPr id="6" name="Picture 5">
            <a:extLst>
              <a:ext uri="{FF2B5EF4-FFF2-40B4-BE49-F238E27FC236}">
                <a16:creationId xmlns:a16="http://schemas.microsoft.com/office/drawing/2014/main" id="{6A283FA2-BE5B-1A46-B900-B43ECD83D2B2}"/>
              </a:ext>
            </a:extLst>
          </p:cNvPr>
          <p:cNvPicPr>
            <a:picLocks noChangeAspect="1"/>
          </p:cNvPicPr>
          <p:nvPr/>
        </p:nvPicPr>
        <p:blipFill rotWithShape="1">
          <a:blip r:embed="rId3"/>
          <a:srcRect b="25357"/>
          <a:stretch/>
        </p:blipFill>
        <p:spPr>
          <a:xfrm>
            <a:off x="535208" y="4713094"/>
            <a:ext cx="1108685" cy="371377"/>
          </a:xfrm>
          <a:prstGeom prst="rect">
            <a:avLst/>
          </a:prstGeom>
        </p:spPr>
      </p:pic>
    </p:spTree>
    <p:extLst>
      <p:ext uri="{BB962C8B-B14F-4D97-AF65-F5344CB8AC3E}">
        <p14:creationId xmlns:p14="http://schemas.microsoft.com/office/powerpoint/2010/main" val="20574724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p:cSld name="Segue Video 2">
    <p:bg>
      <p:bgPr>
        <a:solidFill>
          <a:schemeClr val="accent5"/>
        </a:solidFill>
        <a:effectLst/>
      </p:bgPr>
    </p:bg>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3B1980C0-8F31-4AF5-A48E-C95BAC7D156D}"/>
              </a:ext>
            </a:extLst>
          </p:cNvPr>
          <p:cNvGrpSpPr>
            <a:grpSpLocks noChangeAspect="1"/>
          </p:cNvGrpSpPr>
          <p:nvPr/>
        </p:nvGrpSpPr>
        <p:grpSpPr>
          <a:xfrm>
            <a:off x="0" y="0"/>
            <a:ext cx="9144000" cy="5143500"/>
            <a:chOff x="0" y="0"/>
            <a:chExt cx="9144000" cy="5143500"/>
          </a:xfrm>
        </p:grpSpPr>
        <p:sp>
          <p:nvSpPr>
            <p:cNvPr id="13" name="Rectangle 12">
              <a:extLst>
                <a:ext uri="{FF2B5EF4-FFF2-40B4-BE49-F238E27FC236}">
                  <a16:creationId xmlns:a16="http://schemas.microsoft.com/office/drawing/2014/main" id="{ADA0280F-F329-40F6-AEC5-0D22CF1711D4}"/>
                </a:ext>
              </a:extLst>
            </p:cNvPr>
            <p:cNvSpPr/>
            <p:nvPr/>
          </p:nvSpPr>
          <p:spPr>
            <a:xfrm>
              <a:off x="0" y="0"/>
              <a:ext cx="9144000" cy="51435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
              <a:extLst>
                <a:ext uri="{FF2B5EF4-FFF2-40B4-BE49-F238E27FC236}">
                  <a16:creationId xmlns:a16="http://schemas.microsoft.com/office/drawing/2014/main" id="{0F83D0B6-7260-465D-A144-CE2C097957B3}"/>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FF8300"/>
            </a:solidFill>
            <a:ln w="9525" cap="flat">
              <a:noFill/>
              <a:bevel/>
              <a:headEnd/>
              <a:tailEnd/>
            </a:ln>
            <a:effectLst/>
          </p:spPr>
          <p:txBody>
            <a:bodyPr wrap="none" anchor="ctr"/>
            <a:lstStyle/>
            <a:p>
              <a:endParaRPr lang="en-US"/>
            </a:p>
          </p:txBody>
        </p:sp>
      </p:grpSp>
      <p:sp>
        <p:nvSpPr>
          <p:cNvPr id="8" name="Title 7"/>
          <p:cNvSpPr>
            <a:spLocks noGrp="1"/>
          </p:cNvSpPr>
          <p:nvPr>
            <p:ph type="title" hasCustomPrompt="1"/>
          </p:nvPr>
        </p:nvSpPr>
        <p:spPr bwMode="white">
          <a:xfrm>
            <a:off x="443997" y="2836507"/>
            <a:ext cx="8257032" cy="960120"/>
          </a:xfrm>
        </p:spPr>
        <p:txBody>
          <a:bodyPr anchor="t" anchorCtr="0"/>
          <a:lstStyle>
            <a:lvl1pPr marL="0" indent="0" algn="l" defTabSz="684213" rtl="0" eaLnBrk="1" fontAlgn="base" latinLnBrk="0" hangingPunct="1">
              <a:lnSpc>
                <a:spcPct val="90000"/>
              </a:lnSpc>
              <a:spcBef>
                <a:spcPct val="0"/>
              </a:spcBef>
              <a:spcAft>
                <a:spcPct val="0"/>
              </a:spcAft>
              <a:buFont typeface="Arial" panose="020B0604020202020204" pitchFamily="34" charset="0"/>
              <a:buNone/>
              <a:defRPr lang="en-US" sz="3200" b="0" i="0" u="none" kern="1200" spc="0" baseline="0" dirty="0">
                <a:solidFill>
                  <a:schemeClr val="bg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Video</a:t>
            </a:r>
          </a:p>
        </p:txBody>
      </p:sp>
      <p:pic>
        <p:nvPicPr>
          <p:cNvPr id="7" name="Picture 6">
            <a:extLst>
              <a:ext uri="{FF2B5EF4-FFF2-40B4-BE49-F238E27FC236}">
                <a16:creationId xmlns:a16="http://schemas.microsoft.com/office/drawing/2014/main" id="{42B0DEEA-5CA7-E948-B245-9C0FF158BE87}"/>
              </a:ext>
            </a:extLst>
          </p:cNvPr>
          <p:cNvPicPr>
            <a:picLocks noChangeAspect="1"/>
          </p:cNvPicPr>
          <p:nvPr/>
        </p:nvPicPr>
        <p:blipFill rotWithShape="1">
          <a:blip r:embed="rId2"/>
          <a:srcRect b="25357"/>
          <a:stretch/>
        </p:blipFill>
        <p:spPr>
          <a:xfrm>
            <a:off x="535208" y="4713094"/>
            <a:ext cx="1108685" cy="371377"/>
          </a:xfrm>
          <a:prstGeom prst="rect">
            <a:avLst/>
          </a:prstGeom>
        </p:spPr>
      </p:pic>
      <p:grpSp>
        <p:nvGrpSpPr>
          <p:cNvPr id="9" name="Group 8">
            <a:extLst>
              <a:ext uri="{FF2B5EF4-FFF2-40B4-BE49-F238E27FC236}">
                <a16:creationId xmlns:a16="http://schemas.microsoft.com/office/drawing/2014/main" id="{4A3AED62-32D3-084A-9052-0A9A481CD637}"/>
              </a:ext>
            </a:extLst>
          </p:cNvPr>
          <p:cNvGrpSpPr>
            <a:grpSpLocks noChangeAspect="1"/>
          </p:cNvGrpSpPr>
          <p:nvPr/>
        </p:nvGrpSpPr>
        <p:grpSpPr>
          <a:xfrm>
            <a:off x="0" y="0"/>
            <a:ext cx="9144000" cy="5143500"/>
            <a:chOff x="0" y="0"/>
            <a:chExt cx="9144000" cy="5143500"/>
          </a:xfrm>
        </p:grpSpPr>
        <p:sp>
          <p:nvSpPr>
            <p:cNvPr id="10" name="Rectangle 9">
              <a:extLst>
                <a:ext uri="{FF2B5EF4-FFF2-40B4-BE49-F238E27FC236}">
                  <a16:creationId xmlns:a16="http://schemas.microsoft.com/office/drawing/2014/main" id="{E151C1EE-C14F-CE4D-ADCB-4190FD5D0C38}"/>
                </a:ext>
              </a:extLst>
            </p:cNvPr>
            <p:cNvSpPr/>
            <p:nvPr/>
          </p:nvSpPr>
          <p:spPr>
            <a:xfrm>
              <a:off x="0" y="0"/>
              <a:ext cx="9144000" cy="51435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
              <a:extLst>
                <a:ext uri="{FF2B5EF4-FFF2-40B4-BE49-F238E27FC236}">
                  <a16:creationId xmlns:a16="http://schemas.microsoft.com/office/drawing/2014/main" id="{538D988D-C459-4042-9B04-0DE978258D2B}"/>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FF8300"/>
            </a:solidFill>
            <a:ln w="9525" cap="flat">
              <a:noFill/>
              <a:bevel/>
              <a:headEnd/>
              <a:tailEnd/>
            </a:ln>
            <a:effectLst/>
          </p:spPr>
          <p:txBody>
            <a:bodyPr wrap="none" anchor="ctr"/>
            <a:lstStyle/>
            <a:p>
              <a:endParaRPr lang="en-US"/>
            </a:p>
          </p:txBody>
        </p:sp>
      </p:grpSp>
      <p:pic>
        <p:nvPicPr>
          <p:cNvPr id="15" name="Picture 14">
            <a:extLst>
              <a:ext uri="{FF2B5EF4-FFF2-40B4-BE49-F238E27FC236}">
                <a16:creationId xmlns:a16="http://schemas.microsoft.com/office/drawing/2014/main" id="{143B36D6-6564-5B43-A8BA-C1FED0706639}"/>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241933058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p:cSld name="Segue Demo">
    <p:bg>
      <p:bgPr>
        <a:solidFill>
          <a:schemeClr val="accent6"/>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193CA75-78CD-4746-B2CF-E2F409A9C0B0}"/>
              </a:ext>
            </a:extLst>
          </p:cNvPr>
          <p:cNvGrpSpPr>
            <a:grpSpLocks noChangeAspect="1"/>
          </p:cNvGrpSpPr>
          <p:nvPr/>
        </p:nvGrpSpPr>
        <p:grpSpPr>
          <a:xfrm>
            <a:off x="0" y="0"/>
            <a:ext cx="9144000" cy="5143500"/>
            <a:chOff x="0" y="0"/>
            <a:chExt cx="9144000" cy="5143500"/>
          </a:xfrm>
        </p:grpSpPr>
        <p:sp>
          <p:nvSpPr>
            <p:cNvPr id="10" name="Rectangle 9">
              <a:extLst>
                <a:ext uri="{FF2B5EF4-FFF2-40B4-BE49-F238E27FC236}">
                  <a16:creationId xmlns:a16="http://schemas.microsoft.com/office/drawing/2014/main" id="{864C2A52-6447-4868-BE2A-E55975F572BF}"/>
                </a:ext>
              </a:extLst>
            </p:cNvPr>
            <p:cNvSpPr/>
            <p:nvPr/>
          </p:nvSpPr>
          <p:spPr>
            <a:xfrm>
              <a:off x="0" y="0"/>
              <a:ext cx="9144000" cy="5143500"/>
            </a:xfrm>
            <a:prstGeom prst="rect">
              <a:avLst/>
            </a:prstGeom>
            <a:solidFill>
              <a:srgbClr val="E324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
              <a:extLst>
                <a:ext uri="{FF2B5EF4-FFF2-40B4-BE49-F238E27FC236}">
                  <a16:creationId xmlns:a16="http://schemas.microsoft.com/office/drawing/2014/main" id="{DD3372D0-54E1-4F69-AEA0-2100F28B3FC9}"/>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B2292E"/>
            </a:solidFill>
            <a:ln w="9525" cap="flat">
              <a:noFill/>
              <a:bevel/>
              <a:headEnd/>
              <a:tailEnd/>
            </a:ln>
            <a:effectLst/>
          </p:spPr>
          <p:txBody>
            <a:bodyPr wrap="none" anchor="ctr"/>
            <a:lstStyle/>
            <a:p>
              <a:endParaRPr lang="en-US"/>
            </a:p>
          </p:txBody>
        </p:sp>
      </p:grpSp>
      <p:sp>
        <p:nvSpPr>
          <p:cNvPr id="45" name="Title 7"/>
          <p:cNvSpPr>
            <a:spLocks noGrp="1"/>
          </p:cNvSpPr>
          <p:nvPr>
            <p:ph type="title" hasCustomPrompt="1"/>
          </p:nvPr>
        </p:nvSpPr>
        <p:spPr bwMode="black">
          <a:xfrm>
            <a:off x="443997" y="2836507"/>
            <a:ext cx="8257032" cy="960120"/>
          </a:xfrm>
        </p:spPr>
        <p:txBody>
          <a:bodyPr anchor="t" anchorCtr="0"/>
          <a:lstStyle>
            <a:lvl1pPr marL="0" indent="0" algn="l" defTabSz="684213" rtl="0" eaLnBrk="1" fontAlgn="base" latinLnBrk="0" hangingPunct="1">
              <a:lnSpc>
                <a:spcPct val="90000"/>
              </a:lnSpc>
              <a:spcBef>
                <a:spcPct val="0"/>
              </a:spcBef>
              <a:spcAft>
                <a:spcPct val="0"/>
              </a:spcAft>
              <a:buFont typeface="Arial" panose="020B0604020202020204" pitchFamily="34" charset="0"/>
              <a:buNone/>
              <a:defRPr lang="en-US" sz="3200" b="0" i="0" u="none" kern="1200" spc="0" baseline="0" dirty="0">
                <a:solidFill>
                  <a:schemeClr val="bg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Demo</a:t>
            </a:r>
          </a:p>
        </p:txBody>
      </p:sp>
      <p:pic>
        <p:nvPicPr>
          <p:cNvPr id="7" name="Picture 6">
            <a:extLst>
              <a:ext uri="{FF2B5EF4-FFF2-40B4-BE49-F238E27FC236}">
                <a16:creationId xmlns:a16="http://schemas.microsoft.com/office/drawing/2014/main" id="{DBC4BBB3-5853-A64C-AEE6-96E7A350B58E}"/>
              </a:ext>
            </a:extLst>
          </p:cNvPr>
          <p:cNvPicPr>
            <a:picLocks noChangeAspect="1"/>
          </p:cNvPicPr>
          <p:nvPr/>
        </p:nvPicPr>
        <p:blipFill rotWithShape="1">
          <a:blip r:embed="rId2"/>
          <a:srcRect b="25357"/>
          <a:stretch/>
        </p:blipFill>
        <p:spPr>
          <a:xfrm>
            <a:off x="535208" y="4713094"/>
            <a:ext cx="1108685" cy="371377"/>
          </a:xfrm>
          <a:prstGeom prst="rect">
            <a:avLst/>
          </a:prstGeom>
        </p:spPr>
      </p:pic>
      <p:grpSp>
        <p:nvGrpSpPr>
          <p:cNvPr id="8" name="Group 7">
            <a:extLst>
              <a:ext uri="{FF2B5EF4-FFF2-40B4-BE49-F238E27FC236}">
                <a16:creationId xmlns:a16="http://schemas.microsoft.com/office/drawing/2014/main" id="{C521C621-4E5D-DA45-8BE9-E7E8760CCC5D}"/>
              </a:ext>
            </a:extLst>
          </p:cNvPr>
          <p:cNvGrpSpPr>
            <a:grpSpLocks noChangeAspect="1"/>
          </p:cNvGrpSpPr>
          <p:nvPr/>
        </p:nvGrpSpPr>
        <p:grpSpPr>
          <a:xfrm>
            <a:off x="0" y="0"/>
            <a:ext cx="9144000" cy="5143500"/>
            <a:chOff x="0" y="0"/>
            <a:chExt cx="9144000" cy="5143500"/>
          </a:xfrm>
        </p:grpSpPr>
        <p:sp>
          <p:nvSpPr>
            <p:cNvPr id="12" name="Rectangle 11">
              <a:extLst>
                <a:ext uri="{FF2B5EF4-FFF2-40B4-BE49-F238E27FC236}">
                  <a16:creationId xmlns:a16="http://schemas.microsoft.com/office/drawing/2014/main" id="{8430CFFB-A583-2C43-A276-5D5DDD6489EC}"/>
                </a:ext>
              </a:extLst>
            </p:cNvPr>
            <p:cNvSpPr/>
            <p:nvPr/>
          </p:nvSpPr>
          <p:spPr>
            <a:xfrm>
              <a:off x="0" y="0"/>
              <a:ext cx="9144000" cy="5143500"/>
            </a:xfrm>
            <a:prstGeom prst="rect">
              <a:avLst/>
            </a:prstGeom>
            <a:solidFill>
              <a:srgbClr val="E3241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
              <a:extLst>
                <a:ext uri="{FF2B5EF4-FFF2-40B4-BE49-F238E27FC236}">
                  <a16:creationId xmlns:a16="http://schemas.microsoft.com/office/drawing/2014/main" id="{9E17EB91-79F2-1748-B502-96FD4698DC27}"/>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B2292E"/>
            </a:solidFill>
            <a:ln w="9525" cap="flat">
              <a:noFill/>
              <a:bevel/>
              <a:headEnd/>
              <a:tailEnd/>
            </a:ln>
            <a:effectLst/>
          </p:spPr>
          <p:txBody>
            <a:bodyPr wrap="none" anchor="ctr"/>
            <a:lstStyle/>
            <a:p>
              <a:endParaRPr lang="en-US"/>
            </a:p>
          </p:txBody>
        </p:sp>
      </p:grpSp>
      <p:pic>
        <p:nvPicPr>
          <p:cNvPr id="14" name="Picture 13">
            <a:extLst>
              <a:ext uri="{FF2B5EF4-FFF2-40B4-BE49-F238E27FC236}">
                <a16:creationId xmlns:a16="http://schemas.microsoft.com/office/drawing/2014/main" id="{699A5203-B074-F74F-A3C6-828A9FEF11BB}"/>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270497778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Segue Demo 2">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9C9EE57-1387-4AD0-9C9F-15F2B39B4228}"/>
              </a:ext>
            </a:extLst>
          </p:cNvPr>
          <p:cNvGrpSpPr>
            <a:grpSpLocks noChangeAspect="1"/>
          </p:cNvGrpSpPr>
          <p:nvPr/>
        </p:nvGrpSpPr>
        <p:grpSpPr>
          <a:xfrm>
            <a:off x="0" y="0"/>
            <a:ext cx="9144000" cy="5143500"/>
            <a:chOff x="0" y="0"/>
            <a:chExt cx="9144000" cy="5143500"/>
          </a:xfrm>
        </p:grpSpPr>
        <p:sp>
          <p:nvSpPr>
            <p:cNvPr id="10" name="Rectangle 9">
              <a:extLst>
                <a:ext uri="{FF2B5EF4-FFF2-40B4-BE49-F238E27FC236}">
                  <a16:creationId xmlns:a16="http://schemas.microsoft.com/office/drawing/2014/main" id="{18DB12BF-C24E-4D99-BB02-359C403E200C}"/>
                </a:ext>
              </a:extLst>
            </p:cNvPr>
            <p:cNvSpPr/>
            <p:nvPr/>
          </p:nvSpPr>
          <p:spPr>
            <a:xfrm>
              <a:off x="0" y="0"/>
              <a:ext cx="9144000" cy="51435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
              <a:extLst>
                <a:ext uri="{FF2B5EF4-FFF2-40B4-BE49-F238E27FC236}">
                  <a16:creationId xmlns:a16="http://schemas.microsoft.com/office/drawing/2014/main" id="{F9A4A714-2D5D-4418-ABBF-16A2233488BA}"/>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1D8649"/>
            </a:solidFill>
            <a:ln w="9525" cap="flat">
              <a:noFill/>
              <a:bevel/>
              <a:headEnd/>
              <a:tailEnd/>
            </a:ln>
            <a:effectLst/>
          </p:spPr>
          <p:txBody>
            <a:bodyPr wrap="none" anchor="ctr"/>
            <a:lstStyle/>
            <a:p>
              <a:endParaRPr lang="en-US"/>
            </a:p>
          </p:txBody>
        </p:sp>
      </p:grpSp>
      <p:sp>
        <p:nvSpPr>
          <p:cNvPr id="46" name="Title 7"/>
          <p:cNvSpPr>
            <a:spLocks noGrp="1"/>
          </p:cNvSpPr>
          <p:nvPr>
            <p:ph type="title" hasCustomPrompt="1"/>
          </p:nvPr>
        </p:nvSpPr>
        <p:spPr bwMode="white">
          <a:xfrm>
            <a:off x="443997" y="2836507"/>
            <a:ext cx="8257032" cy="960120"/>
          </a:xfrm>
        </p:spPr>
        <p:txBody>
          <a:bodyPr anchor="t" anchorCtr="0"/>
          <a:lstStyle>
            <a:lvl1pPr marL="0" indent="0" algn="l" defTabSz="684213" rtl="0" eaLnBrk="1" fontAlgn="base" latinLnBrk="0" hangingPunct="1">
              <a:lnSpc>
                <a:spcPct val="90000"/>
              </a:lnSpc>
              <a:spcBef>
                <a:spcPct val="0"/>
              </a:spcBef>
              <a:spcAft>
                <a:spcPct val="0"/>
              </a:spcAft>
              <a:buFont typeface="Arial" panose="020B0604020202020204" pitchFamily="34" charset="0"/>
              <a:buNone/>
              <a:defRPr lang="en-US" sz="3200" b="0" i="0" u="none" kern="1200" spc="0" baseline="0" dirty="0">
                <a:solidFill>
                  <a:schemeClr val="bg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Demo</a:t>
            </a:r>
          </a:p>
        </p:txBody>
      </p:sp>
      <p:pic>
        <p:nvPicPr>
          <p:cNvPr id="7" name="Picture 6">
            <a:extLst>
              <a:ext uri="{FF2B5EF4-FFF2-40B4-BE49-F238E27FC236}">
                <a16:creationId xmlns:a16="http://schemas.microsoft.com/office/drawing/2014/main" id="{A3CC2215-982F-A547-8C09-D66A1CDEBC16}"/>
              </a:ext>
            </a:extLst>
          </p:cNvPr>
          <p:cNvPicPr>
            <a:picLocks noChangeAspect="1"/>
          </p:cNvPicPr>
          <p:nvPr/>
        </p:nvPicPr>
        <p:blipFill rotWithShape="1">
          <a:blip r:embed="rId2"/>
          <a:srcRect b="25357"/>
          <a:stretch/>
        </p:blipFill>
        <p:spPr>
          <a:xfrm>
            <a:off x="535208" y="4713094"/>
            <a:ext cx="1108685" cy="371377"/>
          </a:xfrm>
          <a:prstGeom prst="rect">
            <a:avLst/>
          </a:prstGeom>
        </p:spPr>
      </p:pic>
      <p:grpSp>
        <p:nvGrpSpPr>
          <p:cNvPr id="8" name="Group 7">
            <a:extLst>
              <a:ext uri="{FF2B5EF4-FFF2-40B4-BE49-F238E27FC236}">
                <a16:creationId xmlns:a16="http://schemas.microsoft.com/office/drawing/2014/main" id="{EA61D503-1430-124A-A381-888B48EB4749}"/>
              </a:ext>
            </a:extLst>
          </p:cNvPr>
          <p:cNvGrpSpPr>
            <a:grpSpLocks noChangeAspect="1"/>
          </p:cNvGrpSpPr>
          <p:nvPr/>
        </p:nvGrpSpPr>
        <p:grpSpPr>
          <a:xfrm>
            <a:off x="0" y="0"/>
            <a:ext cx="9144000" cy="5143500"/>
            <a:chOff x="0" y="0"/>
            <a:chExt cx="9144000" cy="5143500"/>
          </a:xfrm>
        </p:grpSpPr>
        <p:sp>
          <p:nvSpPr>
            <p:cNvPr id="12" name="Rectangle 11">
              <a:extLst>
                <a:ext uri="{FF2B5EF4-FFF2-40B4-BE49-F238E27FC236}">
                  <a16:creationId xmlns:a16="http://schemas.microsoft.com/office/drawing/2014/main" id="{5C0A49C7-64C4-434E-BB73-7CD3B102542A}"/>
                </a:ext>
              </a:extLst>
            </p:cNvPr>
            <p:cNvSpPr/>
            <p:nvPr/>
          </p:nvSpPr>
          <p:spPr>
            <a:xfrm>
              <a:off x="0" y="0"/>
              <a:ext cx="9144000" cy="51435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1">
              <a:extLst>
                <a:ext uri="{FF2B5EF4-FFF2-40B4-BE49-F238E27FC236}">
                  <a16:creationId xmlns:a16="http://schemas.microsoft.com/office/drawing/2014/main" id="{C1F9EB06-2F93-824B-9E6C-6CF4E4A9AEF9}"/>
                </a:ext>
              </a:extLst>
            </p:cNvPr>
            <p:cNvSpPr>
              <a:spLocks noChangeAspect="1" noChangeArrowheads="1"/>
            </p:cNvSpPr>
            <p:nvPr/>
          </p:nvSpPr>
          <p:spPr bwMode="auto">
            <a:xfrm>
              <a:off x="59436" y="435452"/>
              <a:ext cx="9025128" cy="2065952"/>
            </a:xfrm>
            <a:custGeom>
              <a:avLst/>
              <a:gdLst>
                <a:gd name="T0" fmla="*/ 4524 w 20074"/>
                <a:gd name="T1" fmla="*/ 3731 h 4595"/>
                <a:gd name="T2" fmla="*/ 706 w 20074"/>
                <a:gd name="T3" fmla="*/ 1349 h 4595"/>
                <a:gd name="T4" fmla="*/ 709 w 20074"/>
                <a:gd name="T5" fmla="*/ 691 h 4595"/>
                <a:gd name="T6" fmla="*/ 3 w 20074"/>
                <a:gd name="T7" fmla="*/ 2232 h 4595"/>
                <a:gd name="T8" fmla="*/ 6409 w 20074"/>
                <a:gd name="T9" fmla="*/ 2055 h 4595"/>
                <a:gd name="T10" fmla="*/ 1047 w 20074"/>
                <a:gd name="T11" fmla="*/ 2994 h 4595"/>
                <a:gd name="T12" fmla="*/ 1237 w 20074"/>
                <a:gd name="T13" fmla="*/ 3928 h 4595"/>
                <a:gd name="T14" fmla="*/ 1555 w 20074"/>
                <a:gd name="T15" fmla="*/ 1538 h 4595"/>
                <a:gd name="T16" fmla="*/ 1555 w 20074"/>
                <a:gd name="T17" fmla="*/ 2921 h 4595"/>
                <a:gd name="T18" fmla="*/ 2777 w 20074"/>
                <a:gd name="T19" fmla="*/ 2732 h 4595"/>
                <a:gd name="T20" fmla="*/ 3486 w 20074"/>
                <a:gd name="T21" fmla="*/ 3615 h 4595"/>
                <a:gd name="T22" fmla="*/ 3822 w 20074"/>
                <a:gd name="T23" fmla="*/ 2489 h 4595"/>
                <a:gd name="T24" fmla="*/ 3824 w 20074"/>
                <a:gd name="T25" fmla="*/ 1205 h 4595"/>
                <a:gd name="T26" fmla="*/ 4660 w 20074"/>
                <a:gd name="T27" fmla="*/ 4374 h 4595"/>
                <a:gd name="T28" fmla="*/ 4662 w 20074"/>
                <a:gd name="T29" fmla="*/ 3051 h 4595"/>
                <a:gd name="T30" fmla="*/ 5376 w 20074"/>
                <a:gd name="T31" fmla="*/ 11 h 4595"/>
                <a:gd name="T32" fmla="*/ 5374 w 20074"/>
                <a:gd name="T33" fmla="*/ 3435 h 4595"/>
                <a:gd name="T34" fmla="*/ 6079 w 20074"/>
                <a:gd name="T35" fmla="*/ 4369 h 4595"/>
                <a:gd name="T36" fmla="*/ 6082 w 20074"/>
                <a:gd name="T37" fmla="*/ 3045 h 4595"/>
                <a:gd name="T38" fmla="*/ 8667 w 20074"/>
                <a:gd name="T39" fmla="*/ 2249 h 4595"/>
                <a:gd name="T40" fmla="*/ 10740 w 20074"/>
                <a:gd name="T41" fmla="*/ 2241 h 4595"/>
                <a:gd name="T42" fmla="*/ 6728 w 20074"/>
                <a:gd name="T43" fmla="*/ 1552 h 4595"/>
                <a:gd name="T44" fmla="*/ 6731 w 20074"/>
                <a:gd name="T45" fmla="*/ 895 h 4595"/>
                <a:gd name="T46" fmla="*/ 12428 w 20074"/>
                <a:gd name="T47" fmla="*/ 3762 h 4595"/>
                <a:gd name="T48" fmla="*/ 7643 w 20074"/>
                <a:gd name="T49" fmla="*/ 3011 h 4595"/>
                <a:gd name="T50" fmla="*/ 7645 w 20074"/>
                <a:gd name="T51" fmla="*/ 1679 h 4595"/>
                <a:gd name="T52" fmla="*/ 7767 w 20074"/>
                <a:gd name="T53" fmla="*/ 4383 h 4595"/>
                <a:gd name="T54" fmla="*/ 7959 w 20074"/>
                <a:gd name="T55" fmla="*/ 3254 h 4595"/>
                <a:gd name="T56" fmla="*/ 8800 w 20074"/>
                <a:gd name="T57" fmla="*/ 3062 h 4595"/>
                <a:gd name="T58" fmla="*/ 9319 w 20074"/>
                <a:gd name="T59" fmla="*/ 3626 h 4595"/>
                <a:gd name="T60" fmla="*/ 10227 w 20074"/>
                <a:gd name="T61" fmla="*/ 1558 h 4595"/>
                <a:gd name="T62" fmla="*/ 10229 w 20074"/>
                <a:gd name="T63" fmla="*/ 903 h 4595"/>
                <a:gd name="T64" fmla="*/ 11065 w 20074"/>
                <a:gd name="T65" fmla="*/ 2506 h 4595"/>
                <a:gd name="T66" fmla="*/ 11068 w 20074"/>
                <a:gd name="T67" fmla="*/ 1219 h 4595"/>
                <a:gd name="T68" fmla="*/ 11398 w 20074"/>
                <a:gd name="T69" fmla="*/ 971 h 4595"/>
                <a:gd name="T70" fmla="*/ 11395 w 20074"/>
                <a:gd name="T71" fmla="*/ 3765 h 4595"/>
                <a:gd name="T72" fmla="*/ 12103 w 20074"/>
                <a:gd name="T73" fmla="*/ 3435 h 4595"/>
                <a:gd name="T74" fmla="*/ 12106 w 20074"/>
                <a:gd name="T75" fmla="*/ 2740 h 4595"/>
                <a:gd name="T76" fmla="*/ 14499 w 20074"/>
                <a:gd name="T77" fmla="*/ 2252 h 4595"/>
                <a:gd name="T78" fmla="*/ 13128 w 20074"/>
                <a:gd name="T79" fmla="*/ 4580 h 4595"/>
                <a:gd name="T80" fmla="*/ 13130 w 20074"/>
                <a:gd name="T81" fmla="*/ 3260 h 4595"/>
                <a:gd name="T82" fmla="*/ 13133 w 20074"/>
                <a:gd name="T83" fmla="*/ 1222 h 4595"/>
                <a:gd name="T84" fmla="*/ 18837 w 20074"/>
                <a:gd name="T85" fmla="*/ 2074 h 4595"/>
                <a:gd name="T86" fmla="*/ 13859 w 20074"/>
                <a:gd name="T87" fmla="*/ 217 h 4595"/>
                <a:gd name="T88" fmla="*/ 13856 w 20074"/>
                <a:gd name="T89" fmla="*/ 3635 h 4595"/>
                <a:gd name="T90" fmla="*/ 14172 w 20074"/>
                <a:gd name="T91" fmla="*/ 2509 h 4595"/>
                <a:gd name="T92" fmla="*/ 14172 w 20074"/>
                <a:gd name="T93" fmla="*/ 3260 h 4595"/>
                <a:gd name="T94" fmla="*/ 15013 w 20074"/>
                <a:gd name="T95" fmla="*/ 2317 h 4595"/>
                <a:gd name="T96" fmla="*/ 15532 w 20074"/>
                <a:gd name="T97" fmla="*/ 2261 h 4595"/>
                <a:gd name="T98" fmla="*/ 15535 w 20074"/>
                <a:gd name="T99" fmla="*/ 1561 h 4595"/>
                <a:gd name="T100" fmla="*/ 16252 w 20074"/>
                <a:gd name="T101" fmla="*/ 2754 h 4595"/>
                <a:gd name="T102" fmla="*/ 17468 w 20074"/>
                <a:gd name="T103" fmla="*/ 4397 h 4595"/>
                <a:gd name="T104" fmla="*/ 17471 w 20074"/>
                <a:gd name="T105" fmla="*/ 3076 h 4595"/>
                <a:gd name="T106" fmla="*/ 17612 w 20074"/>
                <a:gd name="T107" fmla="*/ 976 h 4595"/>
                <a:gd name="T108" fmla="*/ 17609 w 20074"/>
                <a:gd name="T109" fmla="*/ 3022 h 4595"/>
                <a:gd name="T110" fmla="*/ 17612 w 20074"/>
                <a:gd name="T111" fmla="*/ 1699 h 4595"/>
                <a:gd name="T112" fmla="*/ 18320 w 20074"/>
                <a:gd name="T113" fmla="*/ 1366 h 4595"/>
                <a:gd name="T114" fmla="*/ 18323 w 20074"/>
                <a:gd name="T115" fmla="*/ 711 h 4595"/>
                <a:gd name="T116" fmla="*/ 19537 w 20074"/>
                <a:gd name="T117" fmla="*/ 2331 h 4595"/>
                <a:gd name="T118" fmla="*/ 19539 w 20074"/>
                <a:gd name="T119" fmla="*/ 1047 h 4595"/>
                <a:gd name="T120" fmla="*/ 19689 w 20074"/>
                <a:gd name="T121" fmla="*/ 3028 h 4595"/>
                <a:gd name="T122" fmla="*/ 19878 w 20074"/>
                <a:gd name="T123" fmla="*/ 3965 h 4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074" h="4595">
                  <a:moveTo>
                    <a:pt x="2450" y="3739"/>
                  </a:moveTo>
                  <a:cubicBezTo>
                    <a:pt x="2450" y="3844"/>
                    <a:pt x="2365" y="3928"/>
                    <a:pt x="2258" y="3928"/>
                  </a:cubicBezTo>
                  <a:cubicBezTo>
                    <a:pt x="2154" y="3928"/>
                    <a:pt x="2069" y="3844"/>
                    <a:pt x="2069" y="3736"/>
                  </a:cubicBezTo>
                  <a:lnTo>
                    <a:pt x="2072" y="2232"/>
                  </a:lnTo>
                  <a:cubicBezTo>
                    <a:pt x="2072" y="2128"/>
                    <a:pt x="2157" y="2043"/>
                    <a:pt x="2264" y="2043"/>
                  </a:cubicBezTo>
                  <a:cubicBezTo>
                    <a:pt x="2368" y="2043"/>
                    <a:pt x="2453" y="2128"/>
                    <a:pt x="2453" y="2235"/>
                  </a:cubicBezTo>
                  <a:lnTo>
                    <a:pt x="2450" y="3739"/>
                  </a:lnTo>
                  <a:close/>
                  <a:moveTo>
                    <a:pt x="4527" y="2227"/>
                  </a:moveTo>
                  <a:cubicBezTo>
                    <a:pt x="4527" y="2122"/>
                    <a:pt x="4442" y="2038"/>
                    <a:pt x="4338" y="2035"/>
                  </a:cubicBezTo>
                  <a:cubicBezTo>
                    <a:pt x="4234" y="2035"/>
                    <a:pt x="4149" y="2119"/>
                    <a:pt x="4146" y="2224"/>
                  </a:cubicBezTo>
                  <a:lnTo>
                    <a:pt x="4143" y="3728"/>
                  </a:lnTo>
                  <a:cubicBezTo>
                    <a:pt x="4143" y="3832"/>
                    <a:pt x="4228" y="3917"/>
                    <a:pt x="4332" y="3920"/>
                  </a:cubicBezTo>
                  <a:cubicBezTo>
                    <a:pt x="4437" y="3920"/>
                    <a:pt x="4521" y="3835"/>
                    <a:pt x="4524" y="3731"/>
                  </a:cubicBezTo>
                  <a:lnTo>
                    <a:pt x="4527" y="2227"/>
                  </a:lnTo>
                  <a:close/>
                  <a:moveTo>
                    <a:pt x="511" y="4366"/>
                  </a:moveTo>
                  <a:cubicBezTo>
                    <a:pt x="511" y="4470"/>
                    <a:pt x="596" y="4555"/>
                    <a:pt x="700" y="4558"/>
                  </a:cubicBezTo>
                  <a:cubicBezTo>
                    <a:pt x="805" y="4558"/>
                    <a:pt x="889" y="4473"/>
                    <a:pt x="892" y="4369"/>
                  </a:cubicBezTo>
                  <a:lnTo>
                    <a:pt x="892" y="3612"/>
                  </a:lnTo>
                  <a:cubicBezTo>
                    <a:pt x="892" y="3508"/>
                    <a:pt x="808" y="3423"/>
                    <a:pt x="703" y="3420"/>
                  </a:cubicBezTo>
                  <a:cubicBezTo>
                    <a:pt x="599" y="3420"/>
                    <a:pt x="514" y="3505"/>
                    <a:pt x="511" y="3609"/>
                  </a:cubicBezTo>
                  <a:lnTo>
                    <a:pt x="511" y="4366"/>
                  </a:lnTo>
                  <a:close/>
                  <a:moveTo>
                    <a:pt x="514" y="2294"/>
                  </a:moveTo>
                  <a:cubicBezTo>
                    <a:pt x="514" y="2399"/>
                    <a:pt x="599" y="2483"/>
                    <a:pt x="703" y="2486"/>
                  </a:cubicBezTo>
                  <a:cubicBezTo>
                    <a:pt x="808" y="2486"/>
                    <a:pt x="892" y="2402"/>
                    <a:pt x="895" y="2297"/>
                  </a:cubicBezTo>
                  <a:lnTo>
                    <a:pt x="895" y="1541"/>
                  </a:lnTo>
                  <a:cubicBezTo>
                    <a:pt x="895" y="1436"/>
                    <a:pt x="810" y="1352"/>
                    <a:pt x="706" y="1349"/>
                  </a:cubicBezTo>
                  <a:cubicBezTo>
                    <a:pt x="602" y="1349"/>
                    <a:pt x="517" y="1434"/>
                    <a:pt x="514" y="1538"/>
                  </a:cubicBezTo>
                  <a:lnTo>
                    <a:pt x="514" y="2294"/>
                  </a:lnTo>
                  <a:close/>
                  <a:moveTo>
                    <a:pt x="703" y="3237"/>
                  </a:moveTo>
                  <a:cubicBezTo>
                    <a:pt x="808" y="3237"/>
                    <a:pt x="892" y="3152"/>
                    <a:pt x="895" y="3048"/>
                  </a:cubicBezTo>
                  <a:lnTo>
                    <a:pt x="895" y="2921"/>
                  </a:lnTo>
                  <a:cubicBezTo>
                    <a:pt x="895" y="2816"/>
                    <a:pt x="810" y="2732"/>
                    <a:pt x="706" y="2729"/>
                  </a:cubicBezTo>
                  <a:cubicBezTo>
                    <a:pt x="602" y="2729"/>
                    <a:pt x="517" y="2814"/>
                    <a:pt x="514" y="2918"/>
                  </a:cubicBezTo>
                  <a:lnTo>
                    <a:pt x="514" y="3045"/>
                  </a:lnTo>
                  <a:cubicBezTo>
                    <a:pt x="511" y="3152"/>
                    <a:pt x="596" y="3237"/>
                    <a:pt x="703" y="3237"/>
                  </a:cubicBezTo>
                  <a:close/>
                  <a:moveTo>
                    <a:pt x="706" y="1199"/>
                  </a:moveTo>
                  <a:cubicBezTo>
                    <a:pt x="810" y="1199"/>
                    <a:pt x="895" y="1115"/>
                    <a:pt x="898" y="1010"/>
                  </a:cubicBezTo>
                  <a:lnTo>
                    <a:pt x="898" y="883"/>
                  </a:lnTo>
                  <a:cubicBezTo>
                    <a:pt x="898" y="779"/>
                    <a:pt x="813" y="694"/>
                    <a:pt x="709" y="691"/>
                  </a:cubicBezTo>
                  <a:cubicBezTo>
                    <a:pt x="604" y="691"/>
                    <a:pt x="520" y="776"/>
                    <a:pt x="517" y="881"/>
                  </a:cubicBezTo>
                  <a:lnTo>
                    <a:pt x="517" y="1008"/>
                  </a:lnTo>
                  <a:cubicBezTo>
                    <a:pt x="514" y="1115"/>
                    <a:pt x="602" y="1199"/>
                    <a:pt x="706" y="1199"/>
                  </a:cubicBezTo>
                  <a:close/>
                  <a:moveTo>
                    <a:pt x="387" y="192"/>
                  </a:moveTo>
                  <a:cubicBezTo>
                    <a:pt x="387" y="88"/>
                    <a:pt x="302" y="3"/>
                    <a:pt x="198" y="0"/>
                  </a:cubicBezTo>
                  <a:cubicBezTo>
                    <a:pt x="94" y="0"/>
                    <a:pt x="9" y="85"/>
                    <a:pt x="6" y="189"/>
                  </a:cubicBezTo>
                  <a:lnTo>
                    <a:pt x="6" y="1696"/>
                  </a:lnTo>
                  <a:cubicBezTo>
                    <a:pt x="6" y="1801"/>
                    <a:pt x="91" y="1885"/>
                    <a:pt x="195" y="1888"/>
                  </a:cubicBezTo>
                  <a:cubicBezTo>
                    <a:pt x="300" y="1888"/>
                    <a:pt x="384" y="1803"/>
                    <a:pt x="387" y="1699"/>
                  </a:cubicBezTo>
                  <a:lnTo>
                    <a:pt x="387" y="192"/>
                  </a:lnTo>
                  <a:close/>
                  <a:moveTo>
                    <a:pt x="384" y="2235"/>
                  </a:moveTo>
                  <a:cubicBezTo>
                    <a:pt x="384" y="2131"/>
                    <a:pt x="300" y="2046"/>
                    <a:pt x="195" y="2043"/>
                  </a:cubicBezTo>
                  <a:cubicBezTo>
                    <a:pt x="91" y="2043"/>
                    <a:pt x="6" y="2128"/>
                    <a:pt x="3" y="2232"/>
                  </a:cubicBezTo>
                  <a:lnTo>
                    <a:pt x="0" y="3736"/>
                  </a:lnTo>
                  <a:cubicBezTo>
                    <a:pt x="0" y="3841"/>
                    <a:pt x="85" y="3926"/>
                    <a:pt x="190" y="3928"/>
                  </a:cubicBezTo>
                  <a:cubicBezTo>
                    <a:pt x="294" y="3928"/>
                    <a:pt x="379" y="3844"/>
                    <a:pt x="381" y="3739"/>
                  </a:cubicBezTo>
                  <a:lnTo>
                    <a:pt x="384" y="2235"/>
                  </a:lnTo>
                  <a:close/>
                  <a:moveTo>
                    <a:pt x="6601" y="200"/>
                  </a:moveTo>
                  <a:cubicBezTo>
                    <a:pt x="6601" y="96"/>
                    <a:pt x="6517" y="11"/>
                    <a:pt x="6412" y="8"/>
                  </a:cubicBezTo>
                  <a:cubicBezTo>
                    <a:pt x="6308" y="8"/>
                    <a:pt x="6223" y="93"/>
                    <a:pt x="6220" y="198"/>
                  </a:cubicBezTo>
                  <a:lnTo>
                    <a:pt x="6217" y="1702"/>
                  </a:lnTo>
                  <a:cubicBezTo>
                    <a:pt x="6217" y="1806"/>
                    <a:pt x="6302" y="1891"/>
                    <a:pt x="6407" y="1894"/>
                  </a:cubicBezTo>
                  <a:cubicBezTo>
                    <a:pt x="6511" y="1894"/>
                    <a:pt x="6596" y="1809"/>
                    <a:pt x="6598" y="1705"/>
                  </a:cubicBezTo>
                  <a:lnTo>
                    <a:pt x="6601" y="200"/>
                  </a:lnTo>
                  <a:close/>
                  <a:moveTo>
                    <a:pt x="6598" y="2246"/>
                  </a:moveTo>
                  <a:cubicBezTo>
                    <a:pt x="6598" y="2142"/>
                    <a:pt x="6514" y="2057"/>
                    <a:pt x="6409" y="2055"/>
                  </a:cubicBezTo>
                  <a:cubicBezTo>
                    <a:pt x="6305" y="2055"/>
                    <a:pt x="6220" y="2139"/>
                    <a:pt x="6217" y="2244"/>
                  </a:cubicBezTo>
                  <a:lnTo>
                    <a:pt x="6215" y="3748"/>
                  </a:lnTo>
                  <a:cubicBezTo>
                    <a:pt x="6215" y="3852"/>
                    <a:pt x="6299" y="3937"/>
                    <a:pt x="6404" y="3940"/>
                  </a:cubicBezTo>
                  <a:cubicBezTo>
                    <a:pt x="6508" y="3940"/>
                    <a:pt x="6593" y="3855"/>
                    <a:pt x="6596" y="3751"/>
                  </a:cubicBezTo>
                  <a:lnTo>
                    <a:pt x="6598" y="2246"/>
                  </a:lnTo>
                  <a:close/>
                  <a:moveTo>
                    <a:pt x="1050" y="951"/>
                  </a:moveTo>
                  <a:cubicBezTo>
                    <a:pt x="1050" y="1055"/>
                    <a:pt x="1135" y="1140"/>
                    <a:pt x="1239" y="1143"/>
                  </a:cubicBezTo>
                  <a:cubicBezTo>
                    <a:pt x="1344" y="1143"/>
                    <a:pt x="1428" y="1058"/>
                    <a:pt x="1431" y="954"/>
                  </a:cubicBezTo>
                  <a:lnTo>
                    <a:pt x="1431" y="198"/>
                  </a:lnTo>
                  <a:cubicBezTo>
                    <a:pt x="1431" y="93"/>
                    <a:pt x="1347" y="8"/>
                    <a:pt x="1242" y="6"/>
                  </a:cubicBezTo>
                  <a:cubicBezTo>
                    <a:pt x="1138" y="6"/>
                    <a:pt x="1053" y="90"/>
                    <a:pt x="1050" y="195"/>
                  </a:cubicBezTo>
                  <a:lnTo>
                    <a:pt x="1050" y="951"/>
                  </a:lnTo>
                  <a:close/>
                  <a:moveTo>
                    <a:pt x="1047" y="2994"/>
                  </a:moveTo>
                  <a:cubicBezTo>
                    <a:pt x="1047" y="3099"/>
                    <a:pt x="1132" y="3183"/>
                    <a:pt x="1237" y="3186"/>
                  </a:cubicBezTo>
                  <a:cubicBezTo>
                    <a:pt x="1341" y="3186"/>
                    <a:pt x="1426" y="3102"/>
                    <a:pt x="1428" y="2997"/>
                  </a:cubicBezTo>
                  <a:lnTo>
                    <a:pt x="1428" y="2241"/>
                  </a:lnTo>
                  <a:cubicBezTo>
                    <a:pt x="1428" y="2136"/>
                    <a:pt x="1344" y="2052"/>
                    <a:pt x="1239" y="2049"/>
                  </a:cubicBezTo>
                  <a:cubicBezTo>
                    <a:pt x="1135" y="2049"/>
                    <a:pt x="1050" y="2134"/>
                    <a:pt x="1047" y="2238"/>
                  </a:cubicBezTo>
                  <a:lnTo>
                    <a:pt x="1047" y="2994"/>
                  </a:lnTo>
                  <a:close/>
                  <a:moveTo>
                    <a:pt x="1237" y="3928"/>
                  </a:moveTo>
                  <a:cubicBezTo>
                    <a:pt x="1341" y="3928"/>
                    <a:pt x="1426" y="3844"/>
                    <a:pt x="1428" y="3739"/>
                  </a:cubicBezTo>
                  <a:lnTo>
                    <a:pt x="1428" y="3612"/>
                  </a:lnTo>
                  <a:cubicBezTo>
                    <a:pt x="1428" y="3508"/>
                    <a:pt x="1344" y="3423"/>
                    <a:pt x="1239" y="3420"/>
                  </a:cubicBezTo>
                  <a:cubicBezTo>
                    <a:pt x="1135" y="3420"/>
                    <a:pt x="1050" y="3505"/>
                    <a:pt x="1047" y="3609"/>
                  </a:cubicBezTo>
                  <a:lnTo>
                    <a:pt x="1047" y="3736"/>
                  </a:lnTo>
                  <a:cubicBezTo>
                    <a:pt x="1047" y="3844"/>
                    <a:pt x="1132" y="3928"/>
                    <a:pt x="1237" y="3928"/>
                  </a:cubicBezTo>
                  <a:close/>
                  <a:moveTo>
                    <a:pt x="1239" y="1854"/>
                  </a:moveTo>
                  <a:cubicBezTo>
                    <a:pt x="1343" y="1854"/>
                    <a:pt x="1428" y="1769"/>
                    <a:pt x="1431" y="1665"/>
                  </a:cubicBezTo>
                  <a:lnTo>
                    <a:pt x="1431" y="1538"/>
                  </a:lnTo>
                  <a:cubicBezTo>
                    <a:pt x="1431" y="1434"/>
                    <a:pt x="1347" y="1349"/>
                    <a:pt x="1242" y="1346"/>
                  </a:cubicBezTo>
                  <a:cubicBezTo>
                    <a:pt x="1138" y="1346"/>
                    <a:pt x="1053" y="1431"/>
                    <a:pt x="1050" y="1535"/>
                  </a:cubicBezTo>
                  <a:lnTo>
                    <a:pt x="1050" y="1662"/>
                  </a:lnTo>
                  <a:cubicBezTo>
                    <a:pt x="1050" y="1769"/>
                    <a:pt x="1134" y="1854"/>
                    <a:pt x="1239" y="1854"/>
                  </a:cubicBezTo>
                  <a:close/>
                  <a:moveTo>
                    <a:pt x="1555" y="2294"/>
                  </a:moveTo>
                  <a:cubicBezTo>
                    <a:pt x="1555" y="2399"/>
                    <a:pt x="1640" y="2483"/>
                    <a:pt x="1744" y="2486"/>
                  </a:cubicBezTo>
                  <a:cubicBezTo>
                    <a:pt x="1849" y="2486"/>
                    <a:pt x="1934" y="2402"/>
                    <a:pt x="1936" y="2297"/>
                  </a:cubicBezTo>
                  <a:lnTo>
                    <a:pt x="1936" y="1541"/>
                  </a:lnTo>
                  <a:cubicBezTo>
                    <a:pt x="1936" y="1436"/>
                    <a:pt x="1852" y="1352"/>
                    <a:pt x="1747" y="1349"/>
                  </a:cubicBezTo>
                  <a:cubicBezTo>
                    <a:pt x="1643" y="1349"/>
                    <a:pt x="1558" y="1434"/>
                    <a:pt x="1555" y="1538"/>
                  </a:cubicBezTo>
                  <a:lnTo>
                    <a:pt x="1555" y="2294"/>
                  </a:lnTo>
                  <a:close/>
                  <a:moveTo>
                    <a:pt x="1553" y="4369"/>
                  </a:moveTo>
                  <a:cubicBezTo>
                    <a:pt x="1553" y="4473"/>
                    <a:pt x="1637" y="4558"/>
                    <a:pt x="1742" y="4561"/>
                  </a:cubicBezTo>
                  <a:cubicBezTo>
                    <a:pt x="1846" y="4561"/>
                    <a:pt x="1931" y="4476"/>
                    <a:pt x="1934" y="4371"/>
                  </a:cubicBezTo>
                  <a:lnTo>
                    <a:pt x="1934" y="3615"/>
                  </a:lnTo>
                  <a:cubicBezTo>
                    <a:pt x="1934" y="3511"/>
                    <a:pt x="1849" y="3426"/>
                    <a:pt x="1744" y="3423"/>
                  </a:cubicBezTo>
                  <a:cubicBezTo>
                    <a:pt x="1640" y="3423"/>
                    <a:pt x="1555" y="3508"/>
                    <a:pt x="1553" y="3612"/>
                  </a:cubicBezTo>
                  <a:lnTo>
                    <a:pt x="1553" y="4369"/>
                  </a:lnTo>
                  <a:close/>
                  <a:moveTo>
                    <a:pt x="1744" y="3240"/>
                  </a:moveTo>
                  <a:cubicBezTo>
                    <a:pt x="1848" y="3240"/>
                    <a:pt x="1934" y="3155"/>
                    <a:pt x="1936" y="3051"/>
                  </a:cubicBezTo>
                  <a:lnTo>
                    <a:pt x="1936" y="2924"/>
                  </a:lnTo>
                  <a:cubicBezTo>
                    <a:pt x="1936" y="2819"/>
                    <a:pt x="1852" y="2735"/>
                    <a:pt x="1747" y="2732"/>
                  </a:cubicBezTo>
                  <a:cubicBezTo>
                    <a:pt x="1643" y="2732"/>
                    <a:pt x="1558" y="2816"/>
                    <a:pt x="1555" y="2921"/>
                  </a:cubicBezTo>
                  <a:lnTo>
                    <a:pt x="1555" y="3048"/>
                  </a:lnTo>
                  <a:cubicBezTo>
                    <a:pt x="1555" y="3152"/>
                    <a:pt x="1639" y="3240"/>
                    <a:pt x="1744" y="3240"/>
                  </a:cubicBezTo>
                  <a:close/>
                  <a:moveTo>
                    <a:pt x="2585" y="2297"/>
                  </a:moveTo>
                  <a:cubicBezTo>
                    <a:pt x="2585" y="2402"/>
                    <a:pt x="2670" y="2486"/>
                    <a:pt x="2775" y="2489"/>
                  </a:cubicBezTo>
                  <a:cubicBezTo>
                    <a:pt x="2879" y="2489"/>
                    <a:pt x="2964" y="2404"/>
                    <a:pt x="2966" y="2300"/>
                  </a:cubicBezTo>
                  <a:lnTo>
                    <a:pt x="2966" y="1544"/>
                  </a:lnTo>
                  <a:cubicBezTo>
                    <a:pt x="2966" y="1439"/>
                    <a:pt x="2882" y="1355"/>
                    <a:pt x="2777" y="1352"/>
                  </a:cubicBezTo>
                  <a:cubicBezTo>
                    <a:pt x="2673" y="1352"/>
                    <a:pt x="2588" y="1436"/>
                    <a:pt x="2585" y="1541"/>
                  </a:cubicBezTo>
                  <a:lnTo>
                    <a:pt x="2585" y="2297"/>
                  </a:lnTo>
                  <a:close/>
                  <a:moveTo>
                    <a:pt x="2775" y="3240"/>
                  </a:moveTo>
                  <a:cubicBezTo>
                    <a:pt x="2879" y="3240"/>
                    <a:pt x="2964" y="3155"/>
                    <a:pt x="2966" y="3051"/>
                  </a:cubicBezTo>
                  <a:lnTo>
                    <a:pt x="2966" y="2924"/>
                  </a:lnTo>
                  <a:cubicBezTo>
                    <a:pt x="2966" y="2819"/>
                    <a:pt x="2882" y="2735"/>
                    <a:pt x="2777" y="2732"/>
                  </a:cubicBezTo>
                  <a:cubicBezTo>
                    <a:pt x="2673" y="2732"/>
                    <a:pt x="2588" y="2816"/>
                    <a:pt x="2585" y="2921"/>
                  </a:cubicBezTo>
                  <a:lnTo>
                    <a:pt x="2585" y="3048"/>
                  </a:lnTo>
                  <a:cubicBezTo>
                    <a:pt x="2585" y="3155"/>
                    <a:pt x="2670" y="3240"/>
                    <a:pt x="2775" y="3240"/>
                  </a:cubicBezTo>
                  <a:close/>
                  <a:moveTo>
                    <a:pt x="3105" y="2997"/>
                  </a:moveTo>
                  <a:cubicBezTo>
                    <a:pt x="3105" y="3102"/>
                    <a:pt x="3189" y="3186"/>
                    <a:pt x="3294" y="3189"/>
                  </a:cubicBezTo>
                  <a:cubicBezTo>
                    <a:pt x="3398" y="3189"/>
                    <a:pt x="3483" y="3104"/>
                    <a:pt x="3486" y="3000"/>
                  </a:cubicBezTo>
                  <a:lnTo>
                    <a:pt x="3486" y="2244"/>
                  </a:lnTo>
                  <a:cubicBezTo>
                    <a:pt x="3486" y="2139"/>
                    <a:pt x="3401" y="2055"/>
                    <a:pt x="3297" y="2052"/>
                  </a:cubicBezTo>
                  <a:cubicBezTo>
                    <a:pt x="3192" y="2052"/>
                    <a:pt x="3108" y="2136"/>
                    <a:pt x="3105" y="2241"/>
                  </a:cubicBezTo>
                  <a:lnTo>
                    <a:pt x="3105" y="2997"/>
                  </a:lnTo>
                  <a:close/>
                  <a:moveTo>
                    <a:pt x="3294" y="3931"/>
                  </a:moveTo>
                  <a:cubicBezTo>
                    <a:pt x="3398" y="3931"/>
                    <a:pt x="3483" y="3847"/>
                    <a:pt x="3486" y="3742"/>
                  </a:cubicBezTo>
                  <a:lnTo>
                    <a:pt x="3486" y="3615"/>
                  </a:lnTo>
                  <a:cubicBezTo>
                    <a:pt x="3486" y="3511"/>
                    <a:pt x="3401" y="3426"/>
                    <a:pt x="3297" y="3423"/>
                  </a:cubicBezTo>
                  <a:cubicBezTo>
                    <a:pt x="3192" y="3423"/>
                    <a:pt x="3108" y="3508"/>
                    <a:pt x="3105" y="3612"/>
                  </a:cubicBezTo>
                  <a:lnTo>
                    <a:pt x="3105" y="3739"/>
                  </a:lnTo>
                  <a:cubicBezTo>
                    <a:pt x="3105" y="3847"/>
                    <a:pt x="3189" y="3931"/>
                    <a:pt x="3294" y="3931"/>
                  </a:cubicBezTo>
                  <a:close/>
                  <a:moveTo>
                    <a:pt x="3297" y="1860"/>
                  </a:moveTo>
                  <a:cubicBezTo>
                    <a:pt x="3401" y="1860"/>
                    <a:pt x="3486" y="1775"/>
                    <a:pt x="3489" y="1671"/>
                  </a:cubicBezTo>
                  <a:lnTo>
                    <a:pt x="3489" y="1544"/>
                  </a:lnTo>
                  <a:cubicBezTo>
                    <a:pt x="3489" y="1439"/>
                    <a:pt x="3404" y="1355"/>
                    <a:pt x="3299" y="1352"/>
                  </a:cubicBezTo>
                  <a:cubicBezTo>
                    <a:pt x="3195" y="1352"/>
                    <a:pt x="3110" y="1436"/>
                    <a:pt x="3108" y="1541"/>
                  </a:cubicBezTo>
                  <a:lnTo>
                    <a:pt x="3108" y="1668"/>
                  </a:lnTo>
                  <a:cubicBezTo>
                    <a:pt x="3108" y="1772"/>
                    <a:pt x="3192" y="1857"/>
                    <a:pt x="3297" y="1860"/>
                  </a:cubicBezTo>
                  <a:close/>
                  <a:moveTo>
                    <a:pt x="3632" y="2297"/>
                  </a:moveTo>
                  <a:cubicBezTo>
                    <a:pt x="3632" y="2402"/>
                    <a:pt x="3717" y="2486"/>
                    <a:pt x="3822" y="2489"/>
                  </a:cubicBezTo>
                  <a:cubicBezTo>
                    <a:pt x="3926" y="2489"/>
                    <a:pt x="4011" y="2404"/>
                    <a:pt x="4013" y="2300"/>
                  </a:cubicBezTo>
                  <a:lnTo>
                    <a:pt x="4013" y="1544"/>
                  </a:lnTo>
                  <a:cubicBezTo>
                    <a:pt x="4013" y="1439"/>
                    <a:pt x="3929" y="1355"/>
                    <a:pt x="3824" y="1352"/>
                  </a:cubicBezTo>
                  <a:cubicBezTo>
                    <a:pt x="3720" y="1352"/>
                    <a:pt x="3635" y="1436"/>
                    <a:pt x="3632" y="1541"/>
                  </a:cubicBezTo>
                  <a:lnTo>
                    <a:pt x="3632" y="2297"/>
                  </a:lnTo>
                  <a:close/>
                  <a:moveTo>
                    <a:pt x="3822" y="3243"/>
                  </a:moveTo>
                  <a:cubicBezTo>
                    <a:pt x="3926" y="3243"/>
                    <a:pt x="4011" y="3158"/>
                    <a:pt x="4013" y="3054"/>
                  </a:cubicBezTo>
                  <a:lnTo>
                    <a:pt x="4013" y="2927"/>
                  </a:lnTo>
                  <a:cubicBezTo>
                    <a:pt x="4013" y="2822"/>
                    <a:pt x="3929" y="2737"/>
                    <a:pt x="3824" y="2735"/>
                  </a:cubicBezTo>
                  <a:cubicBezTo>
                    <a:pt x="3720" y="2735"/>
                    <a:pt x="3635" y="2819"/>
                    <a:pt x="3632" y="2924"/>
                  </a:cubicBezTo>
                  <a:lnTo>
                    <a:pt x="3632" y="3051"/>
                  </a:lnTo>
                  <a:cubicBezTo>
                    <a:pt x="3632" y="3155"/>
                    <a:pt x="3717" y="3243"/>
                    <a:pt x="3822" y="3243"/>
                  </a:cubicBezTo>
                  <a:close/>
                  <a:moveTo>
                    <a:pt x="3824" y="1205"/>
                  </a:moveTo>
                  <a:cubicBezTo>
                    <a:pt x="3929" y="1205"/>
                    <a:pt x="4013" y="1120"/>
                    <a:pt x="4016" y="1016"/>
                  </a:cubicBezTo>
                  <a:lnTo>
                    <a:pt x="4016" y="889"/>
                  </a:lnTo>
                  <a:cubicBezTo>
                    <a:pt x="4016" y="785"/>
                    <a:pt x="3932" y="700"/>
                    <a:pt x="3827" y="697"/>
                  </a:cubicBezTo>
                  <a:cubicBezTo>
                    <a:pt x="3723" y="697"/>
                    <a:pt x="3638" y="782"/>
                    <a:pt x="3635" y="886"/>
                  </a:cubicBezTo>
                  <a:lnTo>
                    <a:pt x="3635" y="1013"/>
                  </a:lnTo>
                  <a:cubicBezTo>
                    <a:pt x="3635" y="1118"/>
                    <a:pt x="3720" y="1205"/>
                    <a:pt x="3824" y="1205"/>
                  </a:cubicBezTo>
                  <a:close/>
                  <a:moveTo>
                    <a:pt x="4660" y="4374"/>
                  </a:moveTo>
                  <a:cubicBezTo>
                    <a:pt x="4660" y="4479"/>
                    <a:pt x="4744" y="4563"/>
                    <a:pt x="4849" y="4566"/>
                  </a:cubicBezTo>
                  <a:cubicBezTo>
                    <a:pt x="4953" y="4566"/>
                    <a:pt x="5038" y="4482"/>
                    <a:pt x="5041" y="4377"/>
                  </a:cubicBezTo>
                  <a:lnTo>
                    <a:pt x="5041" y="3621"/>
                  </a:lnTo>
                  <a:cubicBezTo>
                    <a:pt x="5041" y="3516"/>
                    <a:pt x="4956" y="3432"/>
                    <a:pt x="4852" y="3429"/>
                  </a:cubicBezTo>
                  <a:cubicBezTo>
                    <a:pt x="4747" y="3429"/>
                    <a:pt x="4662" y="3514"/>
                    <a:pt x="4660" y="3618"/>
                  </a:cubicBezTo>
                  <a:lnTo>
                    <a:pt x="4660" y="4374"/>
                  </a:lnTo>
                  <a:close/>
                  <a:moveTo>
                    <a:pt x="4662" y="2300"/>
                  </a:moveTo>
                  <a:cubicBezTo>
                    <a:pt x="4662" y="2404"/>
                    <a:pt x="4747" y="2489"/>
                    <a:pt x="4852" y="2492"/>
                  </a:cubicBezTo>
                  <a:cubicBezTo>
                    <a:pt x="4956" y="2492"/>
                    <a:pt x="5041" y="2407"/>
                    <a:pt x="5043" y="2303"/>
                  </a:cubicBezTo>
                  <a:lnTo>
                    <a:pt x="5043" y="1547"/>
                  </a:lnTo>
                  <a:cubicBezTo>
                    <a:pt x="5043" y="1442"/>
                    <a:pt x="4959" y="1357"/>
                    <a:pt x="4854" y="1355"/>
                  </a:cubicBezTo>
                  <a:cubicBezTo>
                    <a:pt x="4750" y="1355"/>
                    <a:pt x="4665" y="1439"/>
                    <a:pt x="4662" y="1544"/>
                  </a:cubicBezTo>
                  <a:lnTo>
                    <a:pt x="4662" y="2300"/>
                  </a:lnTo>
                  <a:close/>
                  <a:moveTo>
                    <a:pt x="4852" y="3243"/>
                  </a:moveTo>
                  <a:cubicBezTo>
                    <a:pt x="4956" y="3243"/>
                    <a:pt x="5041" y="3158"/>
                    <a:pt x="5043" y="3054"/>
                  </a:cubicBezTo>
                  <a:lnTo>
                    <a:pt x="5043" y="2927"/>
                  </a:lnTo>
                  <a:cubicBezTo>
                    <a:pt x="5043" y="2822"/>
                    <a:pt x="4959" y="2737"/>
                    <a:pt x="4854" y="2735"/>
                  </a:cubicBezTo>
                  <a:cubicBezTo>
                    <a:pt x="4750" y="2735"/>
                    <a:pt x="4665" y="2819"/>
                    <a:pt x="4662" y="2924"/>
                  </a:cubicBezTo>
                  <a:lnTo>
                    <a:pt x="4662" y="3051"/>
                  </a:lnTo>
                  <a:cubicBezTo>
                    <a:pt x="4662" y="3158"/>
                    <a:pt x="4747" y="3243"/>
                    <a:pt x="4852" y="3243"/>
                  </a:cubicBezTo>
                  <a:close/>
                  <a:moveTo>
                    <a:pt x="4854" y="1205"/>
                  </a:moveTo>
                  <a:cubicBezTo>
                    <a:pt x="4959" y="1205"/>
                    <a:pt x="5043" y="1120"/>
                    <a:pt x="5046" y="1016"/>
                  </a:cubicBezTo>
                  <a:lnTo>
                    <a:pt x="5046" y="889"/>
                  </a:lnTo>
                  <a:cubicBezTo>
                    <a:pt x="5046" y="785"/>
                    <a:pt x="4962" y="700"/>
                    <a:pt x="4857" y="697"/>
                  </a:cubicBezTo>
                  <a:cubicBezTo>
                    <a:pt x="4753" y="697"/>
                    <a:pt x="4668" y="782"/>
                    <a:pt x="4665" y="886"/>
                  </a:cubicBezTo>
                  <a:lnTo>
                    <a:pt x="4665" y="1013"/>
                  </a:lnTo>
                  <a:cubicBezTo>
                    <a:pt x="4665" y="1120"/>
                    <a:pt x="4750" y="1205"/>
                    <a:pt x="4854" y="1205"/>
                  </a:cubicBezTo>
                  <a:close/>
                  <a:moveTo>
                    <a:pt x="5185" y="957"/>
                  </a:moveTo>
                  <a:cubicBezTo>
                    <a:pt x="5185" y="1061"/>
                    <a:pt x="5269" y="1146"/>
                    <a:pt x="5374" y="1149"/>
                  </a:cubicBezTo>
                  <a:cubicBezTo>
                    <a:pt x="5478" y="1149"/>
                    <a:pt x="5563" y="1064"/>
                    <a:pt x="5566" y="960"/>
                  </a:cubicBezTo>
                  <a:lnTo>
                    <a:pt x="5566" y="203"/>
                  </a:lnTo>
                  <a:cubicBezTo>
                    <a:pt x="5566" y="99"/>
                    <a:pt x="5481" y="14"/>
                    <a:pt x="5376" y="11"/>
                  </a:cubicBezTo>
                  <a:cubicBezTo>
                    <a:pt x="5272" y="11"/>
                    <a:pt x="5187" y="96"/>
                    <a:pt x="5185" y="200"/>
                  </a:cubicBezTo>
                  <a:lnTo>
                    <a:pt x="5185" y="957"/>
                  </a:lnTo>
                  <a:close/>
                  <a:moveTo>
                    <a:pt x="5182" y="3000"/>
                  </a:moveTo>
                  <a:cubicBezTo>
                    <a:pt x="5182" y="3104"/>
                    <a:pt x="5266" y="3189"/>
                    <a:pt x="5371" y="3192"/>
                  </a:cubicBezTo>
                  <a:cubicBezTo>
                    <a:pt x="5475" y="3192"/>
                    <a:pt x="5560" y="3107"/>
                    <a:pt x="5563" y="3003"/>
                  </a:cubicBezTo>
                  <a:lnTo>
                    <a:pt x="5563" y="2246"/>
                  </a:lnTo>
                  <a:cubicBezTo>
                    <a:pt x="5563" y="2142"/>
                    <a:pt x="5478" y="2057"/>
                    <a:pt x="5374" y="2055"/>
                  </a:cubicBezTo>
                  <a:cubicBezTo>
                    <a:pt x="5269" y="2055"/>
                    <a:pt x="5185" y="2139"/>
                    <a:pt x="5182" y="2244"/>
                  </a:cubicBezTo>
                  <a:lnTo>
                    <a:pt x="5182" y="3000"/>
                  </a:lnTo>
                  <a:close/>
                  <a:moveTo>
                    <a:pt x="5371" y="3942"/>
                  </a:moveTo>
                  <a:cubicBezTo>
                    <a:pt x="5475" y="3942"/>
                    <a:pt x="5560" y="3858"/>
                    <a:pt x="5563" y="3753"/>
                  </a:cubicBezTo>
                  <a:lnTo>
                    <a:pt x="5563" y="3626"/>
                  </a:lnTo>
                  <a:cubicBezTo>
                    <a:pt x="5563" y="3522"/>
                    <a:pt x="5478" y="3437"/>
                    <a:pt x="5374" y="3435"/>
                  </a:cubicBezTo>
                  <a:cubicBezTo>
                    <a:pt x="5269" y="3435"/>
                    <a:pt x="5185" y="3519"/>
                    <a:pt x="5182" y="3624"/>
                  </a:cubicBezTo>
                  <a:lnTo>
                    <a:pt x="5182" y="3751"/>
                  </a:lnTo>
                  <a:cubicBezTo>
                    <a:pt x="5179" y="3855"/>
                    <a:pt x="5266" y="3942"/>
                    <a:pt x="5371" y="3942"/>
                  </a:cubicBezTo>
                  <a:close/>
                  <a:moveTo>
                    <a:pt x="5374" y="1868"/>
                  </a:moveTo>
                  <a:cubicBezTo>
                    <a:pt x="5478" y="1868"/>
                    <a:pt x="5563" y="1784"/>
                    <a:pt x="5566" y="1679"/>
                  </a:cubicBezTo>
                  <a:lnTo>
                    <a:pt x="5566" y="1552"/>
                  </a:lnTo>
                  <a:cubicBezTo>
                    <a:pt x="5566" y="1448"/>
                    <a:pt x="5481" y="1363"/>
                    <a:pt x="5376" y="1360"/>
                  </a:cubicBezTo>
                  <a:cubicBezTo>
                    <a:pt x="5272" y="1360"/>
                    <a:pt x="5187" y="1445"/>
                    <a:pt x="5185" y="1549"/>
                  </a:cubicBezTo>
                  <a:lnTo>
                    <a:pt x="5185" y="1676"/>
                  </a:lnTo>
                  <a:cubicBezTo>
                    <a:pt x="5185" y="1784"/>
                    <a:pt x="5269" y="1868"/>
                    <a:pt x="5374" y="1868"/>
                  </a:cubicBezTo>
                  <a:close/>
                  <a:moveTo>
                    <a:pt x="5698" y="4366"/>
                  </a:moveTo>
                  <a:cubicBezTo>
                    <a:pt x="5698" y="4470"/>
                    <a:pt x="5783" y="4555"/>
                    <a:pt x="5887" y="4558"/>
                  </a:cubicBezTo>
                  <a:cubicBezTo>
                    <a:pt x="5992" y="4558"/>
                    <a:pt x="6076" y="4473"/>
                    <a:pt x="6079" y="4369"/>
                  </a:cubicBezTo>
                  <a:lnTo>
                    <a:pt x="6079" y="3612"/>
                  </a:lnTo>
                  <a:cubicBezTo>
                    <a:pt x="6079" y="3508"/>
                    <a:pt x="5994" y="3423"/>
                    <a:pt x="5890" y="3420"/>
                  </a:cubicBezTo>
                  <a:cubicBezTo>
                    <a:pt x="5786" y="3420"/>
                    <a:pt x="5701" y="3505"/>
                    <a:pt x="5698" y="3609"/>
                  </a:cubicBezTo>
                  <a:lnTo>
                    <a:pt x="5698" y="4366"/>
                  </a:lnTo>
                  <a:close/>
                  <a:moveTo>
                    <a:pt x="5701" y="2292"/>
                  </a:moveTo>
                  <a:cubicBezTo>
                    <a:pt x="5701" y="2396"/>
                    <a:pt x="5786" y="2481"/>
                    <a:pt x="5890" y="2483"/>
                  </a:cubicBezTo>
                  <a:cubicBezTo>
                    <a:pt x="5994" y="2483"/>
                    <a:pt x="6079" y="2399"/>
                    <a:pt x="6082" y="2294"/>
                  </a:cubicBezTo>
                  <a:lnTo>
                    <a:pt x="6082" y="1538"/>
                  </a:lnTo>
                  <a:cubicBezTo>
                    <a:pt x="6082" y="1434"/>
                    <a:pt x="5997" y="1349"/>
                    <a:pt x="5893" y="1346"/>
                  </a:cubicBezTo>
                  <a:cubicBezTo>
                    <a:pt x="5788" y="1346"/>
                    <a:pt x="5704" y="1431"/>
                    <a:pt x="5701" y="1535"/>
                  </a:cubicBezTo>
                  <a:lnTo>
                    <a:pt x="5701" y="2292"/>
                  </a:lnTo>
                  <a:close/>
                  <a:moveTo>
                    <a:pt x="5890" y="3234"/>
                  </a:moveTo>
                  <a:cubicBezTo>
                    <a:pt x="5994" y="3234"/>
                    <a:pt x="6079" y="3149"/>
                    <a:pt x="6082" y="3045"/>
                  </a:cubicBezTo>
                  <a:lnTo>
                    <a:pt x="6082" y="2918"/>
                  </a:lnTo>
                  <a:cubicBezTo>
                    <a:pt x="6082" y="2814"/>
                    <a:pt x="5997" y="2729"/>
                    <a:pt x="5893" y="2726"/>
                  </a:cubicBezTo>
                  <a:cubicBezTo>
                    <a:pt x="5788" y="2726"/>
                    <a:pt x="5704" y="2811"/>
                    <a:pt x="5701" y="2915"/>
                  </a:cubicBezTo>
                  <a:lnTo>
                    <a:pt x="5701" y="3042"/>
                  </a:lnTo>
                  <a:cubicBezTo>
                    <a:pt x="5698" y="3149"/>
                    <a:pt x="5783" y="3234"/>
                    <a:pt x="5890" y="3234"/>
                  </a:cubicBezTo>
                  <a:close/>
                  <a:moveTo>
                    <a:pt x="5893" y="1197"/>
                  </a:moveTo>
                  <a:cubicBezTo>
                    <a:pt x="5997" y="1197"/>
                    <a:pt x="6082" y="1112"/>
                    <a:pt x="6085" y="1008"/>
                  </a:cubicBezTo>
                  <a:lnTo>
                    <a:pt x="6085" y="881"/>
                  </a:lnTo>
                  <a:cubicBezTo>
                    <a:pt x="6085" y="776"/>
                    <a:pt x="6000" y="691"/>
                    <a:pt x="5896" y="689"/>
                  </a:cubicBezTo>
                  <a:cubicBezTo>
                    <a:pt x="5791" y="689"/>
                    <a:pt x="5707" y="773"/>
                    <a:pt x="5704" y="878"/>
                  </a:cubicBezTo>
                  <a:lnTo>
                    <a:pt x="5704" y="1005"/>
                  </a:lnTo>
                  <a:cubicBezTo>
                    <a:pt x="5701" y="1112"/>
                    <a:pt x="5788" y="1197"/>
                    <a:pt x="5893" y="1197"/>
                  </a:cubicBezTo>
                  <a:close/>
                  <a:moveTo>
                    <a:pt x="8667" y="2249"/>
                  </a:moveTo>
                  <a:cubicBezTo>
                    <a:pt x="8667" y="2145"/>
                    <a:pt x="8582" y="2060"/>
                    <a:pt x="8478" y="2057"/>
                  </a:cubicBezTo>
                  <a:cubicBezTo>
                    <a:pt x="8373" y="2057"/>
                    <a:pt x="8289" y="2142"/>
                    <a:pt x="8286" y="2246"/>
                  </a:cubicBezTo>
                  <a:lnTo>
                    <a:pt x="8283" y="3751"/>
                  </a:lnTo>
                  <a:cubicBezTo>
                    <a:pt x="8283" y="3855"/>
                    <a:pt x="8368" y="3940"/>
                    <a:pt x="8472" y="3942"/>
                  </a:cubicBezTo>
                  <a:cubicBezTo>
                    <a:pt x="8577" y="3942"/>
                    <a:pt x="8661" y="3858"/>
                    <a:pt x="8664" y="3753"/>
                  </a:cubicBezTo>
                  <a:lnTo>
                    <a:pt x="8667" y="2249"/>
                  </a:lnTo>
                  <a:close/>
                  <a:moveTo>
                    <a:pt x="10740" y="2241"/>
                  </a:moveTo>
                  <a:cubicBezTo>
                    <a:pt x="10740" y="2136"/>
                    <a:pt x="10656" y="2052"/>
                    <a:pt x="10551" y="2049"/>
                  </a:cubicBezTo>
                  <a:cubicBezTo>
                    <a:pt x="10447" y="2049"/>
                    <a:pt x="10362" y="2134"/>
                    <a:pt x="10359" y="2238"/>
                  </a:cubicBezTo>
                  <a:lnTo>
                    <a:pt x="10356" y="3742"/>
                  </a:lnTo>
                  <a:cubicBezTo>
                    <a:pt x="10356" y="3847"/>
                    <a:pt x="10441" y="3931"/>
                    <a:pt x="10545" y="3934"/>
                  </a:cubicBezTo>
                  <a:cubicBezTo>
                    <a:pt x="10650" y="3934"/>
                    <a:pt x="10735" y="3849"/>
                    <a:pt x="10737" y="3745"/>
                  </a:cubicBezTo>
                  <a:lnTo>
                    <a:pt x="10740" y="2241"/>
                  </a:lnTo>
                  <a:close/>
                  <a:moveTo>
                    <a:pt x="6725" y="4380"/>
                  </a:moveTo>
                  <a:cubicBezTo>
                    <a:pt x="6725" y="4484"/>
                    <a:pt x="6810" y="4569"/>
                    <a:pt x="6914" y="4572"/>
                  </a:cubicBezTo>
                  <a:cubicBezTo>
                    <a:pt x="7019" y="4572"/>
                    <a:pt x="7104" y="4487"/>
                    <a:pt x="7106" y="4383"/>
                  </a:cubicBezTo>
                  <a:lnTo>
                    <a:pt x="7106" y="3626"/>
                  </a:lnTo>
                  <a:cubicBezTo>
                    <a:pt x="7106" y="3522"/>
                    <a:pt x="7022" y="3437"/>
                    <a:pt x="6917" y="3435"/>
                  </a:cubicBezTo>
                  <a:cubicBezTo>
                    <a:pt x="6813" y="3435"/>
                    <a:pt x="6728" y="3519"/>
                    <a:pt x="6725" y="3624"/>
                  </a:cubicBezTo>
                  <a:lnTo>
                    <a:pt x="6725" y="4380"/>
                  </a:lnTo>
                  <a:close/>
                  <a:moveTo>
                    <a:pt x="6728" y="2308"/>
                  </a:moveTo>
                  <a:cubicBezTo>
                    <a:pt x="6728" y="2413"/>
                    <a:pt x="6813" y="2498"/>
                    <a:pt x="6917" y="2500"/>
                  </a:cubicBezTo>
                  <a:cubicBezTo>
                    <a:pt x="7022" y="2500"/>
                    <a:pt x="7106" y="2416"/>
                    <a:pt x="7109" y="2311"/>
                  </a:cubicBezTo>
                  <a:lnTo>
                    <a:pt x="7109" y="1555"/>
                  </a:lnTo>
                  <a:cubicBezTo>
                    <a:pt x="7109" y="1451"/>
                    <a:pt x="7025" y="1366"/>
                    <a:pt x="6920" y="1363"/>
                  </a:cubicBezTo>
                  <a:cubicBezTo>
                    <a:pt x="6816" y="1363"/>
                    <a:pt x="6731" y="1448"/>
                    <a:pt x="6728" y="1552"/>
                  </a:cubicBezTo>
                  <a:lnTo>
                    <a:pt x="6728" y="2308"/>
                  </a:lnTo>
                  <a:close/>
                  <a:moveTo>
                    <a:pt x="6917" y="3251"/>
                  </a:moveTo>
                  <a:cubicBezTo>
                    <a:pt x="7022" y="3251"/>
                    <a:pt x="7106" y="3166"/>
                    <a:pt x="7109" y="3062"/>
                  </a:cubicBezTo>
                  <a:lnTo>
                    <a:pt x="7109" y="2935"/>
                  </a:lnTo>
                  <a:cubicBezTo>
                    <a:pt x="7109" y="2831"/>
                    <a:pt x="7025" y="2746"/>
                    <a:pt x="6920" y="2743"/>
                  </a:cubicBezTo>
                  <a:cubicBezTo>
                    <a:pt x="6816" y="2743"/>
                    <a:pt x="6731" y="2828"/>
                    <a:pt x="6728" y="2932"/>
                  </a:cubicBezTo>
                  <a:lnTo>
                    <a:pt x="6728" y="3059"/>
                  </a:lnTo>
                  <a:cubicBezTo>
                    <a:pt x="6725" y="3166"/>
                    <a:pt x="6810" y="3251"/>
                    <a:pt x="6917" y="3251"/>
                  </a:cubicBezTo>
                  <a:close/>
                  <a:moveTo>
                    <a:pt x="6920" y="1214"/>
                  </a:moveTo>
                  <a:cubicBezTo>
                    <a:pt x="7025" y="1214"/>
                    <a:pt x="7109" y="1129"/>
                    <a:pt x="7112" y="1024"/>
                  </a:cubicBezTo>
                  <a:lnTo>
                    <a:pt x="7112" y="897"/>
                  </a:lnTo>
                  <a:cubicBezTo>
                    <a:pt x="7112" y="793"/>
                    <a:pt x="7027" y="708"/>
                    <a:pt x="6923" y="706"/>
                  </a:cubicBezTo>
                  <a:cubicBezTo>
                    <a:pt x="6819" y="706"/>
                    <a:pt x="6734" y="790"/>
                    <a:pt x="6731" y="895"/>
                  </a:cubicBezTo>
                  <a:lnTo>
                    <a:pt x="6731" y="1022"/>
                  </a:lnTo>
                  <a:cubicBezTo>
                    <a:pt x="6728" y="1129"/>
                    <a:pt x="6813" y="1214"/>
                    <a:pt x="6920" y="1214"/>
                  </a:cubicBezTo>
                  <a:close/>
                  <a:moveTo>
                    <a:pt x="12814" y="215"/>
                  </a:moveTo>
                  <a:cubicBezTo>
                    <a:pt x="12814" y="110"/>
                    <a:pt x="12730" y="25"/>
                    <a:pt x="12625" y="23"/>
                  </a:cubicBezTo>
                  <a:cubicBezTo>
                    <a:pt x="12521" y="23"/>
                    <a:pt x="12436" y="107"/>
                    <a:pt x="12433" y="212"/>
                  </a:cubicBezTo>
                  <a:lnTo>
                    <a:pt x="12431" y="1716"/>
                  </a:lnTo>
                  <a:cubicBezTo>
                    <a:pt x="12431" y="1820"/>
                    <a:pt x="12515" y="1905"/>
                    <a:pt x="12620" y="1908"/>
                  </a:cubicBezTo>
                  <a:cubicBezTo>
                    <a:pt x="12724" y="1908"/>
                    <a:pt x="12809" y="1823"/>
                    <a:pt x="12812" y="1719"/>
                  </a:cubicBezTo>
                  <a:lnTo>
                    <a:pt x="12814" y="215"/>
                  </a:lnTo>
                  <a:close/>
                  <a:moveTo>
                    <a:pt x="12812" y="2261"/>
                  </a:moveTo>
                  <a:cubicBezTo>
                    <a:pt x="12812" y="2156"/>
                    <a:pt x="12727" y="2071"/>
                    <a:pt x="12623" y="2069"/>
                  </a:cubicBezTo>
                  <a:cubicBezTo>
                    <a:pt x="12518" y="2069"/>
                    <a:pt x="12433" y="2153"/>
                    <a:pt x="12431" y="2258"/>
                  </a:cubicBezTo>
                  <a:lnTo>
                    <a:pt x="12428" y="3762"/>
                  </a:lnTo>
                  <a:cubicBezTo>
                    <a:pt x="12428" y="3866"/>
                    <a:pt x="12512" y="3951"/>
                    <a:pt x="12617" y="3954"/>
                  </a:cubicBezTo>
                  <a:cubicBezTo>
                    <a:pt x="12721" y="3954"/>
                    <a:pt x="12806" y="3869"/>
                    <a:pt x="12809" y="3765"/>
                  </a:cubicBezTo>
                  <a:lnTo>
                    <a:pt x="12812" y="2261"/>
                  </a:lnTo>
                  <a:close/>
                  <a:moveTo>
                    <a:pt x="7264" y="962"/>
                  </a:moveTo>
                  <a:cubicBezTo>
                    <a:pt x="7264" y="1067"/>
                    <a:pt x="7349" y="1151"/>
                    <a:pt x="7453" y="1154"/>
                  </a:cubicBezTo>
                  <a:cubicBezTo>
                    <a:pt x="7558" y="1154"/>
                    <a:pt x="7643" y="1070"/>
                    <a:pt x="7645" y="965"/>
                  </a:cubicBezTo>
                  <a:lnTo>
                    <a:pt x="7645" y="209"/>
                  </a:lnTo>
                  <a:cubicBezTo>
                    <a:pt x="7645" y="104"/>
                    <a:pt x="7561" y="20"/>
                    <a:pt x="7456" y="17"/>
                  </a:cubicBezTo>
                  <a:cubicBezTo>
                    <a:pt x="7352" y="17"/>
                    <a:pt x="7267" y="102"/>
                    <a:pt x="7264" y="206"/>
                  </a:cubicBezTo>
                  <a:lnTo>
                    <a:pt x="7264" y="962"/>
                  </a:lnTo>
                  <a:close/>
                  <a:moveTo>
                    <a:pt x="7262" y="3008"/>
                  </a:moveTo>
                  <a:cubicBezTo>
                    <a:pt x="7262" y="3113"/>
                    <a:pt x="7346" y="3197"/>
                    <a:pt x="7451" y="3200"/>
                  </a:cubicBezTo>
                  <a:cubicBezTo>
                    <a:pt x="7555" y="3200"/>
                    <a:pt x="7640" y="3116"/>
                    <a:pt x="7643" y="3011"/>
                  </a:cubicBezTo>
                  <a:lnTo>
                    <a:pt x="7643" y="2255"/>
                  </a:lnTo>
                  <a:cubicBezTo>
                    <a:pt x="7643" y="2150"/>
                    <a:pt x="7558" y="2066"/>
                    <a:pt x="7453" y="2063"/>
                  </a:cubicBezTo>
                  <a:cubicBezTo>
                    <a:pt x="7349" y="2063"/>
                    <a:pt x="7264" y="2148"/>
                    <a:pt x="7262" y="2252"/>
                  </a:cubicBezTo>
                  <a:lnTo>
                    <a:pt x="7262" y="3008"/>
                  </a:lnTo>
                  <a:close/>
                  <a:moveTo>
                    <a:pt x="7451" y="3942"/>
                  </a:moveTo>
                  <a:cubicBezTo>
                    <a:pt x="7555" y="3942"/>
                    <a:pt x="7640" y="3858"/>
                    <a:pt x="7643" y="3753"/>
                  </a:cubicBezTo>
                  <a:lnTo>
                    <a:pt x="7643" y="3626"/>
                  </a:lnTo>
                  <a:cubicBezTo>
                    <a:pt x="7643" y="3522"/>
                    <a:pt x="7558" y="3437"/>
                    <a:pt x="7453" y="3435"/>
                  </a:cubicBezTo>
                  <a:cubicBezTo>
                    <a:pt x="7349" y="3435"/>
                    <a:pt x="7264" y="3519"/>
                    <a:pt x="7262" y="3624"/>
                  </a:cubicBezTo>
                  <a:lnTo>
                    <a:pt x="7262" y="3751"/>
                  </a:lnTo>
                  <a:cubicBezTo>
                    <a:pt x="7262" y="3858"/>
                    <a:pt x="7346" y="3942"/>
                    <a:pt x="7451" y="3942"/>
                  </a:cubicBezTo>
                  <a:close/>
                  <a:moveTo>
                    <a:pt x="7453" y="1868"/>
                  </a:moveTo>
                  <a:cubicBezTo>
                    <a:pt x="7557" y="1868"/>
                    <a:pt x="7643" y="1784"/>
                    <a:pt x="7645" y="1679"/>
                  </a:cubicBezTo>
                  <a:lnTo>
                    <a:pt x="7645" y="1552"/>
                  </a:lnTo>
                  <a:cubicBezTo>
                    <a:pt x="7645" y="1448"/>
                    <a:pt x="7561" y="1363"/>
                    <a:pt x="7456" y="1360"/>
                  </a:cubicBezTo>
                  <a:cubicBezTo>
                    <a:pt x="7352" y="1360"/>
                    <a:pt x="7267" y="1445"/>
                    <a:pt x="7264" y="1549"/>
                  </a:cubicBezTo>
                  <a:lnTo>
                    <a:pt x="7264" y="1676"/>
                  </a:lnTo>
                  <a:cubicBezTo>
                    <a:pt x="7264" y="1784"/>
                    <a:pt x="7348" y="1868"/>
                    <a:pt x="7453" y="1868"/>
                  </a:cubicBezTo>
                  <a:close/>
                  <a:moveTo>
                    <a:pt x="7770" y="2308"/>
                  </a:moveTo>
                  <a:cubicBezTo>
                    <a:pt x="7770" y="2413"/>
                    <a:pt x="7854" y="2498"/>
                    <a:pt x="7959" y="2500"/>
                  </a:cubicBezTo>
                  <a:cubicBezTo>
                    <a:pt x="8063" y="2500"/>
                    <a:pt x="8148" y="2416"/>
                    <a:pt x="8151" y="2311"/>
                  </a:cubicBezTo>
                  <a:lnTo>
                    <a:pt x="8151" y="1555"/>
                  </a:lnTo>
                  <a:cubicBezTo>
                    <a:pt x="8151" y="1451"/>
                    <a:pt x="8066" y="1366"/>
                    <a:pt x="7961" y="1363"/>
                  </a:cubicBezTo>
                  <a:cubicBezTo>
                    <a:pt x="7857" y="1363"/>
                    <a:pt x="7772" y="1448"/>
                    <a:pt x="7770" y="1552"/>
                  </a:cubicBezTo>
                  <a:lnTo>
                    <a:pt x="7770" y="2308"/>
                  </a:lnTo>
                  <a:close/>
                  <a:moveTo>
                    <a:pt x="7767" y="4383"/>
                  </a:moveTo>
                  <a:cubicBezTo>
                    <a:pt x="7767" y="4487"/>
                    <a:pt x="7851" y="4572"/>
                    <a:pt x="7956" y="4575"/>
                  </a:cubicBezTo>
                  <a:cubicBezTo>
                    <a:pt x="8060" y="4575"/>
                    <a:pt x="8145" y="4490"/>
                    <a:pt x="8148" y="4386"/>
                  </a:cubicBezTo>
                  <a:lnTo>
                    <a:pt x="8148" y="3629"/>
                  </a:lnTo>
                  <a:cubicBezTo>
                    <a:pt x="8148" y="3525"/>
                    <a:pt x="8063" y="3440"/>
                    <a:pt x="7959" y="3437"/>
                  </a:cubicBezTo>
                  <a:cubicBezTo>
                    <a:pt x="7854" y="3437"/>
                    <a:pt x="7770" y="3522"/>
                    <a:pt x="7767" y="3626"/>
                  </a:cubicBezTo>
                  <a:lnTo>
                    <a:pt x="7767" y="4383"/>
                  </a:lnTo>
                  <a:close/>
                  <a:moveTo>
                    <a:pt x="7959" y="3254"/>
                  </a:moveTo>
                  <a:cubicBezTo>
                    <a:pt x="8063" y="3254"/>
                    <a:pt x="8148" y="3169"/>
                    <a:pt x="8151" y="3065"/>
                  </a:cubicBezTo>
                  <a:lnTo>
                    <a:pt x="8151" y="2938"/>
                  </a:lnTo>
                  <a:cubicBezTo>
                    <a:pt x="8151" y="2833"/>
                    <a:pt x="8066" y="2749"/>
                    <a:pt x="7961" y="2746"/>
                  </a:cubicBezTo>
                  <a:cubicBezTo>
                    <a:pt x="7857" y="2746"/>
                    <a:pt x="7772" y="2831"/>
                    <a:pt x="7770" y="2935"/>
                  </a:cubicBezTo>
                  <a:lnTo>
                    <a:pt x="7770" y="3062"/>
                  </a:lnTo>
                  <a:cubicBezTo>
                    <a:pt x="7770" y="3166"/>
                    <a:pt x="7854" y="3251"/>
                    <a:pt x="7959" y="3254"/>
                  </a:cubicBezTo>
                  <a:close/>
                  <a:moveTo>
                    <a:pt x="8800" y="2311"/>
                  </a:moveTo>
                  <a:cubicBezTo>
                    <a:pt x="8800" y="2416"/>
                    <a:pt x="8884" y="2500"/>
                    <a:pt x="8989" y="2503"/>
                  </a:cubicBezTo>
                  <a:cubicBezTo>
                    <a:pt x="9093" y="2503"/>
                    <a:pt x="9178" y="2419"/>
                    <a:pt x="9181" y="2314"/>
                  </a:cubicBezTo>
                  <a:lnTo>
                    <a:pt x="9181" y="1558"/>
                  </a:lnTo>
                  <a:cubicBezTo>
                    <a:pt x="9181" y="1453"/>
                    <a:pt x="9096" y="1369"/>
                    <a:pt x="8992" y="1366"/>
                  </a:cubicBezTo>
                  <a:cubicBezTo>
                    <a:pt x="8887" y="1366"/>
                    <a:pt x="8802" y="1451"/>
                    <a:pt x="8800" y="1555"/>
                  </a:cubicBezTo>
                  <a:lnTo>
                    <a:pt x="8800" y="2311"/>
                  </a:lnTo>
                  <a:close/>
                  <a:moveTo>
                    <a:pt x="8989" y="3254"/>
                  </a:moveTo>
                  <a:cubicBezTo>
                    <a:pt x="9093" y="3254"/>
                    <a:pt x="9178" y="3169"/>
                    <a:pt x="9181" y="3065"/>
                  </a:cubicBezTo>
                  <a:lnTo>
                    <a:pt x="9181" y="2938"/>
                  </a:lnTo>
                  <a:cubicBezTo>
                    <a:pt x="9181" y="2833"/>
                    <a:pt x="9096" y="2749"/>
                    <a:pt x="8992" y="2746"/>
                  </a:cubicBezTo>
                  <a:cubicBezTo>
                    <a:pt x="8887" y="2746"/>
                    <a:pt x="8802" y="2831"/>
                    <a:pt x="8800" y="2935"/>
                  </a:cubicBezTo>
                  <a:lnTo>
                    <a:pt x="8800" y="3062"/>
                  </a:lnTo>
                  <a:cubicBezTo>
                    <a:pt x="8800" y="3169"/>
                    <a:pt x="8884" y="3254"/>
                    <a:pt x="8989" y="3254"/>
                  </a:cubicBezTo>
                  <a:close/>
                  <a:moveTo>
                    <a:pt x="9319" y="3011"/>
                  </a:moveTo>
                  <a:cubicBezTo>
                    <a:pt x="9319" y="3116"/>
                    <a:pt x="9404" y="3200"/>
                    <a:pt x="9508" y="3203"/>
                  </a:cubicBezTo>
                  <a:cubicBezTo>
                    <a:pt x="9612" y="3203"/>
                    <a:pt x="9697" y="3118"/>
                    <a:pt x="9700" y="3014"/>
                  </a:cubicBezTo>
                  <a:lnTo>
                    <a:pt x="9700" y="2258"/>
                  </a:lnTo>
                  <a:cubicBezTo>
                    <a:pt x="9700" y="2153"/>
                    <a:pt x="9615" y="2069"/>
                    <a:pt x="9511" y="2066"/>
                  </a:cubicBezTo>
                  <a:cubicBezTo>
                    <a:pt x="9406" y="2066"/>
                    <a:pt x="9322" y="2150"/>
                    <a:pt x="9319" y="2255"/>
                  </a:cubicBezTo>
                  <a:lnTo>
                    <a:pt x="9319" y="3011"/>
                  </a:lnTo>
                  <a:close/>
                  <a:moveTo>
                    <a:pt x="9508" y="3945"/>
                  </a:moveTo>
                  <a:cubicBezTo>
                    <a:pt x="9612" y="3945"/>
                    <a:pt x="9697" y="3861"/>
                    <a:pt x="9700" y="3756"/>
                  </a:cubicBezTo>
                  <a:lnTo>
                    <a:pt x="9700" y="3629"/>
                  </a:lnTo>
                  <a:cubicBezTo>
                    <a:pt x="9700" y="3525"/>
                    <a:pt x="9615" y="3440"/>
                    <a:pt x="9511" y="3437"/>
                  </a:cubicBezTo>
                  <a:cubicBezTo>
                    <a:pt x="9406" y="3437"/>
                    <a:pt x="9322" y="3522"/>
                    <a:pt x="9319" y="3626"/>
                  </a:cubicBezTo>
                  <a:lnTo>
                    <a:pt x="9319" y="3753"/>
                  </a:lnTo>
                  <a:cubicBezTo>
                    <a:pt x="9319" y="3861"/>
                    <a:pt x="9404" y="3945"/>
                    <a:pt x="9508" y="3945"/>
                  </a:cubicBezTo>
                  <a:close/>
                  <a:moveTo>
                    <a:pt x="9511" y="1871"/>
                  </a:moveTo>
                  <a:cubicBezTo>
                    <a:pt x="9615" y="1871"/>
                    <a:pt x="9700" y="1786"/>
                    <a:pt x="9703" y="1682"/>
                  </a:cubicBezTo>
                  <a:lnTo>
                    <a:pt x="9703" y="1555"/>
                  </a:lnTo>
                  <a:cubicBezTo>
                    <a:pt x="9703" y="1451"/>
                    <a:pt x="9618" y="1366"/>
                    <a:pt x="9514" y="1363"/>
                  </a:cubicBezTo>
                  <a:cubicBezTo>
                    <a:pt x="9409" y="1363"/>
                    <a:pt x="9325" y="1448"/>
                    <a:pt x="9322" y="1552"/>
                  </a:cubicBezTo>
                  <a:lnTo>
                    <a:pt x="9322" y="1679"/>
                  </a:lnTo>
                  <a:cubicBezTo>
                    <a:pt x="9322" y="1786"/>
                    <a:pt x="9406" y="1871"/>
                    <a:pt x="9511" y="1871"/>
                  </a:cubicBezTo>
                  <a:close/>
                  <a:moveTo>
                    <a:pt x="9847" y="2311"/>
                  </a:moveTo>
                  <a:cubicBezTo>
                    <a:pt x="9847" y="2416"/>
                    <a:pt x="9931" y="2500"/>
                    <a:pt x="10036" y="2503"/>
                  </a:cubicBezTo>
                  <a:cubicBezTo>
                    <a:pt x="10139" y="2503"/>
                    <a:pt x="10224" y="2419"/>
                    <a:pt x="10227" y="2314"/>
                  </a:cubicBezTo>
                  <a:lnTo>
                    <a:pt x="10227" y="1558"/>
                  </a:lnTo>
                  <a:cubicBezTo>
                    <a:pt x="10227" y="1453"/>
                    <a:pt x="10142" y="1369"/>
                    <a:pt x="10039" y="1366"/>
                  </a:cubicBezTo>
                  <a:cubicBezTo>
                    <a:pt x="9934" y="1366"/>
                    <a:pt x="9849" y="1451"/>
                    <a:pt x="9847" y="1555"/>
                  </a:cubicBezTo>
                  <a:lnTo>
                    <a:pt x="9847" y="2311"/>
                  </a:lnTo>
                  <a:close/>
                  <a:moveTo>
                    <a:pt x="10036" y="3257"/>
                  </a:moveTo>
                  <a:cubicBezTo>
                    <a:pt x="10140" y="3257"/>
                    <a:pt x="10224" y="3172"/>
                    <a:pt x="10227" y="3068"/>
                  </a:cubicBezTo>
                  <a:lnTo>
                    <a:pt x="10227" y="2941"/>
                  </a:lnTo>
                  <a:cubicBezTo>
                    <a:pt x="10227" y="2836"/>
                    <a:pt x="10142" y="2752"/>
                    <a:pt x="10039" y="2749"/>
                  </a:cubicBezTo>
                  <a:cubicBezTo>
                    <a:pt x="9934" y="2749"/>
                    <a:pt x="9849" y="2833"/>
                    <a:pt x="9847" y="2938"/>
                  </a:cubicBezTo>
                  <a:lnTo>
                    <a:pt x="9847" y="3065"/>
                  </a:lnTo>
                  <a:cubicBezTo>
                    <a:pt x="9847" y="3169"/>
                    <a:pt x="9931" y="3257"/>
                    <a:pt x="10036" y="3257"/>
                  </a:cubicBezTo>
                  <a:close/>
                  <a:moveTo>
                    <a:pt x="10039" y="1219"/>
                  </a:moveTo>
                  <a:cubicBezTo>
                    <a:pt x="10143" y="1219"/>
                    <a:pt x="10227" y="1135"/>
                    <a:pt x="10229" y="1030"/>
                  </a:cubicBezTo>
                  <a:lnTo>
                    <a:pt x="10229" y="903"/>
                  </a:lnTo>
                  <a:cubicBezTo>
                    <a:pt x="10229" y="799"/>
                    <a:pt x="10145" y="714"/>
                    <a:pt x="10040" y="711"/>
                  </a:cubicBezTo>
                  <a:cubicBezTo>
                    <a:pt x="9937" y="711"/>
                    <a:pt x="9852" y="796"/>
                    <a:pt x="9849" y="900"/>
                  </a:cubicBezTo>
                  <a:lnTo>
                    <a:pt x="9849" y="1027"/>
                  </a:lnTo>
                  <a:cubicBezTo>
                    <a:pt x="9849" y="1132"/>
                    <a:pt x="9934" y="1219"/>
                    <a:pt x="10039" y="1219"/>
                  </a:cubicBezTo>
                  <a:close/>
                  <a:moveTo>
                    <a:pt x="10873" y="4388"/>
                  </a:moveTo>
                  <a:cubicBezTo>
                    <a:pt x="10873" y="4493"/>
                    <a:pt x="10957" y="4577"/>
                    <a:pt x="11062" y="4580"/>
                  </a:cubicBezTo>
                  <a:cubicBezTo>
                    <a:pt x="11166" y="4580"/>
                    <a:pt x="11251" y="4496"/>
                    <a:pt x="11254" y="4391"/>
                  </a:cubicBezTo>
                  <a:lnTo>
                    <a:pt x="11254" y="3635"/>
                  </a:lnTo>
                  <a:cubicBezTo>
                    <a:pt x="11254" y="3530"/>
                    <a:pt x="11169" y="3446"/>
                    <a:pt x="11065" y="3443"/>
                  </a:cubicBezTo>
                  <a:cubicBezTo>
                    <a:pt x="10960" y="3443"/>
                    <a:pt x="10876" y="3528"/>
                    <a:pt x="10873" y="3632"/>
                  </a:cubicBezTo>
                  <a:lnTo>
                    <a:pt x="10873" y="4388"/>
                  </a:lnTo>
                  <a:close/>
                  <a:moveTo>
                    <a:pt x="10876" y="2314"/>
                  </a:moveTo>
                  <a:cubicBezTo>
                    <a:pt x="10876" y="2419"/>
                    <a:pt x="10960" y="2503"/>
                    <a:pt x="11065" y="2506"/>
                  </a:cubicBezTo>
                  <a:cubicBezTo>
                    <a:pt x="11169" y="2506"/>
                    <a:pt x="11254" y="2421"/>
                    <a:pt x="11257" y="2317"/>
                  </a:cubicBezTo>
                  <a:lnTo>
                    <a:pt x="11257" y="1561"/>
                  </a:lnTo>
                  <a:cubicBezTo>
                    <a:pt x="11257" y="1456"/>
                    <a:pt x="11172" y="1372"/>
                    <a:pt x="11068" y="1369"/>
                  </a:cubicBezTo>
                  <a:cubicBezTo>
                    <a:pt x="10963" y="1369"/>
                    <a:pt x="10878" y="1453"/>
                    <a:pt x="10876" y="1558"/>
                  </a:cubicBezTo>
                  <a:lnTo>
                    <a:pt x="10876" y="2314"/>
                  </a:lnTo>
                  <a:close/>
                  <a:moveTo>
                    <a:pt x="11065" y="3257"/>
                  </a:moveTo>
                  <a:cubicBezTo>
                    <a:pt x="11170" y="3257"/>
                    <a:pt x="11254" y="3172"/>
                    <a:pt x="11257" y="3068"/>
                  </a:cubicBezTo>
                  <a:lnTo>
                    <a:pt x="11257" y="2941"/>
                  </a:lnTo>
                  <a:cubicBezTo>
                    <a:pt x="11257" y="2836"/>
                    <a:pt x="11172" y="2752"/>
                    <a:pt x="11068" y="2749"/>
                  </a:cubicBezTo>
                  <a:cubicBezTo>
                    <a:pt x="10963" y="2749"/>
                    <a:pt x="10878" y="2833"/>
                    <a:pt x="10876" y="2938"/>
                  </a:cubicBezTo>
                  <a:lnTo>
                    <a:pt x="10876" y="3065"/>
                  </a:lnTo>
                  <a:cubicBezTo>
                    <a:pt x="10873" y="3172"/>
                    <a:pt x="10961" y="3257"/>
                    <a:pt x="11065" y="3257"/>
                  </a:cubicBezTo>
                  <a:close/>
                  <a:moveTo>
                    <a:pt x="11068" y="1219"/>
                  </a:moveTo>
                  <a:cubicBezTo>
                    <a:pt x="11173" y="1219"/>
                    <a:pt x="11257" y="1135"/>
                    <a:pt x="11259" y="1030"/>
                  </a:cubicBezTo>
                  <a:lnTo>
                    <a:pt x="11259" y="903"/>
                  </a:lnTo>
                  <a:cubicBezTo>
                    <a:pt x="11259" y="799"/>
                    <a:pt x="11175" y="714"/>
                    <a:pt x="11070" y="711"/>
                  </a:cubicBezTo>
                  <a:cubicBezTo>
                    <a:pt x="10966" y="711"/>
                    <a:pt x="10881" y="796"/>
                    <a:pt x="10878" y="900"/>
                  </a:cubicBezTo>
                  <a:lnTo>
                    <a:pt x="10878" y="1027"/>
                  </a:lnTo>
                  <a:cubicBezTo>
                    <a:pt x="10878" y="1135"/>
                    <a:pt x="10964" y="1219"/>
                    <a:pt x="11068" y="1219"/>
                  </a:cubicBezTo>
                  <a:close/>
                  <a:moveTo>
                    <a:pt x="11398" y="971"/>
                  </a:moveTo>
                  <a:cubicBezTo>
                    <a:pt x="11398" y="1075"/>
                    <a:pt x="11482" y="1160"/>
                    <a:pt x="11587" y="1163"/>
                  </a:cubicBezTo>
                  <a:cubicBezTo>
                    <a:pt x="11691" y="1163"/>
                    <a:pt x="11776" y="1078"/>
                    <a:pt x="11779" y="974"/>
                  </a:cubicBezTo>
                  <a:lnTo>
                    <a:pt x="11779" y="217"/>
                  </a:lnTo>
                  <a:cubicBezTo>
                    <a:pt x="11779" y="113"/>
                    <a:pt x="11694" y="28"/>
                    <a:pt x="11590" y="25"/>
                  </a:cubicBezTo>
                  <a:cubicBezTo>
                    <a:pt x="11485" y="25"/>
                    <a:pt x="11401" y="110"/>
                    <a:pt x="11398" y="215"/>
                  </a:cubicBezTo>
                  <a:lnTo>
                    <a:pt x="11398" y="971"/>
                  </a:lnTo>
                  <a:close/>
                  <a:moveTo>
                    <a:pt x="11395" y="3014"/>
                  </a:moveTo>
                  <a:cubicBezTo>
                    <a:pt x="11395" y="3118"/>
                    <a:pt x="11480" y="3203"/>
                    <a:pt x="11584" y="3206"/>
                  </a:cubicBezTo>
                  <a:cubicBezTo>
                    <a:pt x="11688" y="3206"/>
                    <a:pt x="11773" y="3121"/>
                    <a:pt x="11776" y="3017"/>
                  </a:cubicBezTo>
                  <a:lnTo>
                    <a:pt x="11776" y="2261"/>
                  </a:lnTo>
                  <a:cubicBezTo>
                    <a:pt x="11776" y="2156"/>
                    <a:pt x="11691" y="2071"/>
                    <a:pt x="11587" y="2069"/>
                  </a:cubicBezTo>
                  <a:cubicBezTo>
                    <a:pt x="11482" y="2069"/>
                    <a:pt x="11398" y="2153"/>
                    <a:pt x="11395" y="2258"/>
                  </a:cubicBezTo>
                  <a:lnTo>
                    <a:pt x="11395" y="3014"/>
                  </a:lnTo>
                  <a:close/>
                  <a:moveTo>
                    <a:pt x="11584" y="3957"/>
                  </a:moveTo>
                  <a:cubicBezTo>
                    <a:pt x="11688" y="3957"/>
                    <a:pt x="11773" y="3872"/>
                    <a:pt x="11776" y="3768"/>
                  </a:cubicBezTo>
                  <a:lnTo>
                    <a:pt x="11776" y="3641"/>
                  </a:lnTo>
                  <a:cubicBezTo>
                    <a:pt x="11776" y="3536"/>
                    <a:pt x="11691" y="3451"/>
                    <a:pt x="11587" y="3449"/>
                  </a:cubicBezTo>
                  <a:cubicBezTo>
                    <a:pt x="11482" y="3449"/>
                    <a:pt x="11398" y="3533"/>
                    <a:pt x="11395" y="3638"/>
                  </a:cubicBezTo>
                  <a:lnTo>
                    <a:pt x="11395" y="3765"/>
                  </a:lnTo>
                  <a:cubicBezTo>
                    <a:pt x="11392" y="3869"/>
                    <a:pt x="11477" y="3957"/>
                    <a:pt x="11584" y="3957"/>
                  </a:cubicBezTo>
                  <a:close/>
                  <a:moveTo>
                    <a:pt x="11587" y="1882"/>
                  </a:moveTo>
                  <a:cubicBezTo>
                    <a:pt x="11692" y="1882"/>
                    <a:pt x="11776" y="1798"/>
                    <a:pt x="11779" y="1693"/>
                  </a:cubicBezTo>
                  <a:lnTo>
                    <a:pt x="11779" y="1566"/>
                  </a:lnTo>
                  <a:cubicBezTo>
                    <a:pt x="11779" y="1462"/>
                    <a:pt x="11694" y="1377"/>
                    <a:pt x="11590" y="1374"/>
                  </a:cubicBezTo>
                  <a:cubicBezTo>
                    <a:pt x="11485" y="1374"/>
                    <a:pt x="11401" y="1459"/>
                    <a:pt x="11398" y="1563"/>
                  </a:cubicBezTo>
                  <a:lnTo>
                    <a:pt x="11398" y="1690"/>
                  </a:lnTo>
                  <a:cubicBezTo>
                    <a:pt x="11395" y="1798"/>
                    <a:pt x="11483" y="1882"/>
                    <a:pt x="11587" y="1882"/>
                  </a:cubicBezTo>
                  <a:close/>
                  <a:moveTo>
                    <a:pt x="11911" y="4380"/>
                  </a:moveTo>
                  <a:cubicBezTo>
                    <a:pt x="11911" y="4484"/>
                    <a:pt x="11996" y="4569"/>
                    <a:pt x="12100" y="4572"/>
                  </a:cubicBezTo>
                  <a:cubicBezTo>
                    <a:pt x="12205" y="4572"/>
                    <a:pt x="12289" y="4487"/>
                    <a:pt x="12292" y="4383"/>
                  </a:cubicBezTo>
                  <a:lnTo>
                    <a:pt x="12292" y="3626"/>
                  </a:lnTo>
                  <a:cubicBezTo>
                    <a:pt x="12292" y="3522"/>
                    <a:pt x="12208" y="3437"/>
                    <a:pt x="12103" y="3435"/>
                  </a:cubicBezTo>
                  <a:cubicBezTo>
                    <a:pt x="11999" y="3435"/>
                    <a:pt x="11914" y="3519"/>
                    <a:pt x="11911" y="3624"/>
                  </a:cubicBezTo>
                  <a:lnTo>
                    <a:pt x="11911" y="4380"/>
                  </a:lnTo>
                  <a:close/>
                  <a:moveTo>
                    <a:pt x="11914" y="2306"/>
                  </a:moveTo>
                  <a:cubicBezTo>
                    <a:pt x="11914" y="2410"/>
                    <a:pt x="11999" y="2495"/>
                    <a:pt x="12103" y="2498"/>
                  </a:cubicBezTo>
                  <a:cubicBezTo>
                    <a:pt x="12208" y="2498"/>
                    <a:pt x="12292" y="2413"/>
                    <a:pt x="12295" y="2308"/>
                  </a:cubicBezTo>
                  <a:lnTo>
                    <a:pt x="12295" y="1552"/>
                  </a:lnTo>
                  <a:cubicBezTo>
                    <a:pt x="12295" y="1448"/>
                    <a:pt x="12210" y="1363"/>
                    <a:pt x="12106" y="1360"/>
                  </a:cubicBezTo>
                  <a:cubicBezTo>
                    <a:pt x="12002" y="1360"/>
                    <a:pt x="11917" y="1445"/>
                    <a:pt x="11914" y="1549"/>
                  </a:cubicBezTo>
                  <a:lnTo>
                    <a:pt x="11914" y="2306"/>
                  </a:lnTo>
                  <a:close/>
                  <a:moveTo>
                    <a:pt x="12103" y="3248"/>
                  </a:moveTo>
                  <a:cubicBezTo>
                    <a:pt x="12208" y="3248"/>
                    <a:pt x="12292" y="3164"/>
                    <a:pt x="12295" y="3059"/>
                  </a:cubicBezTo>
                  <a:lnTo>
                    <a:pt x="12295" y="2932"/>
                  </a:lnTo>
                  <a:cubicBezTo>
                    <a:pt x="12295" y="2828"/>
                    <a:pt x="12210" y="2743"/>
                    <a:pt x="12106" y="2740"/>
                  </a:cubicBezTo>
                  <a:cubicBezTo>
                    <a:pt x="12002" y="2740"/>
                    <a:pt x="11917" y="2825"/>
                    <a:pt x="11914" y="2929"/>
                  </a:cubicBezTo>
                  <a:lnTo>
                    <a:pt x="11914" y="3056"/>
                  </a:lnTo>
                  <a:cubicBezTo>
                    <a:pt x="11911" y="3164"/>
                    <a:pt x="11996" y="3248"/>
                    <a:pt x="12103" y="3248"/>
                  </a:cubicBezTo>
                  <a:close/>
                  <a:moveTo>
                    <a:pt x="12106" y="1211"/>
                  </a:moveTo>
                  <a:cubicBezTo>
                    <a:pt x="12210" y="1211"/>
                    <a:pt x="12295" y="1126"/>
                    <a:pt x="12298" y="1022"/>
                  </a:cubicBezTo>
                  <a:lnTo>
                    <a:pt x="12298" y="895"/>
                  </a:lnTo>
                  <a:cubicBezTo>
                    <a:pt x="12298" y="790"/>
                    <a:pt x="12213" y="706"/>
                    <a:pt x="12109" y="703"/>
                  </a:cubicBezTo>
                  <a:cubicBezTo>
                    <a:pt x="12004" y="703"/>
                    <a:pt x="11920" y="787"/>
                    <a:pt x="11917" y="892"/>
                  </a:cubicBezTo>
                  <a:lnTo>
                    <a:pt x="11917" y="1019"/>
                  </a:lnTo>
                  <a:cubicBezTo>
                    <a:pt x="11914" y="1126"/>
                    <a:pt x="12002" y="1211"/>
                    <a:pt x="12106" y="1211"/>
                  </a:cubicBezTo>
                  <a:close/>
                  <a:moveTo>
                    <a:pt x="14880" y="2255"/>
                  </a:moveTo>
                  <a:cubicBezTo>
                    <a:pt x="14880" y="2150"/>
                    <a:pt x="14795" y="2066"/>
                    <a:pt x="14691" y="2063"/>
                  </a:cubicBezTo>
                  <a:cubicBezTo>
                    <a:pt x="14587" y="2063"/>
                    <a:pt x="14502" y="2148"/>
                    <a:pt x="14499" y="2252"/>
                  </a:cubicBezTo>
                  <a:lnTo>
                    <a:pt x="14496" y="3756"/>
                  </a:lnTo>
                  <a:cubicBezTo>
                    <a:pt x="14496" y="3861"/>
                    <a:pt x="14581" y="3945"/>
                    <a:pt x="14685" y="3948"/>
                  </a:cubicBezTo>
                  <a:cubicBezTo>
                    <a:pt x="14790" y="3948"/>
                    <a:pt x="14874" y="3863"/>
                    <a:pt x="14877" y="3759"/>
                  </a:cubicBezTo>
                  <a:lnTo>
                    <a:pt x="14880" y="2255"/>
                  </a:lnTo>
                  <a:close/>
                  <a:moveTo>
                    <a:pt x="16954" y="2249"/>
                  </a:moveTo>
                  <a:cubicBezTo>
                    <a:pt x="16954" y="2145"/>
                    <a:pt x="16870" y="2060"/>
                    <a:pt x="16765" y="2057"/>
                  </a:cubicBezTo>
                  <a:cubicBezTo>
                    <a:pt x="16661" y="2057"/>
                    <a:pt x="16576" y="2142"/>
                    <a:pt x="16573" y="2246"/>
                  </a:cubicBezTo>
                  <a:lnTo>
                    <a:pt x="16571" y="3751"/>
                  </a:lnTo>
                  <a:cubicBezTo>
                    <a:pt x="16571" y="3855"/>
                    <a:pt x="16655" y="3940"/>
                    <a:pt x="16760" y="3942"/>
                  </a:cubicBezTo>
                  <a:cubicBezTo>
                    <a:pt x="16864" y="3942"/>
                    <a:pt x="16949" y="3858"/>
                    <a:pt x="16952" y="3753"/>
                  </a:cubicBezTo>
                  <a:lnTo>
                    <a:pt x="16954" y="2249"/>
                  </a:lnTo>
                  <a:close/>
                  <a:moveTo>
                    <a:pt x="12939" y="4388"/>
                  </a:moveTo>
                  <a:cubicBezTo>
                    <a:pt x="12939" y="4493"/>
                    <a:pt x="13023" y="4577"/>
                    <a:pt x="13128" y="4580"/>
                  </a:cubicBezTo>
                  <a:cubicBezTo>
                    <a:pt x="13232" y="4580"/>
                    <a:pt x="13317" y="4496"/>
                    <a:pt x="13320" y="4391"/>
                  </a:cubicBezTo>
                  <a:lnTo>
                    <a:pt x="13320" y="3635"/>
                  </a:lnTo>
                  <a:cubicBezTo>
                    <a:pt x="13320" y="3530"/>
                    <a:pt x="13235" y="3446"/>
                    <a:pt x="13130" y="3443"/>
                  </a:cubicBezTo>
                  <a:cubicBezTo>
                    <a:pt x="13026" y="3443"/>
                    <a:pt x="12941" y="3528"/>
                    <a:pt x="12939" y="3632"/>
                  </a:cubicBezTo>
                  <a:lnTo>
                    <a:pt x="12939" y="4388"/>
                  </a:lnTo>
                  <a:close/>
                  <a:moveTo>
                    <a:pt x="12941" y="2314"/>
                  </a:moveTo>
                  <a:cubicBezTo>
                    <a:pt x="12941" y="2419"/>
                    <a:pt x="13026" y="2503"/>
                    <a:pt x="13130" y="2506"/>
                  </a:cubicBezTo>
                  <a:cubicBezTo>
                    <a:pt x="13235" y="2506"/>
                    <a:pt x="13320" y="2421"/>
                    <a:pt x="13322" y="2317"/>
                  </a:cubicBezTo>
                  <a:lnTo>
                    <a:pt x="13322" y="1561"/>
                  </a:lnTo>
                  <a:cubicBezTo>
                    <a:pt x="13322" y="1456"/>
                    <a:pt x="13238" y="1372"/>
                    <a:pt x="13133" y="1369"/>
                  </a:cubicBezTo>
                  <a:cubicBezTo>
                    <a:pt x="13029" y="1369"/>
                    <a:pt x="12944" y="1453"/>
                    <a:pt x="12941" y="1558"/>
                  </a:cubicBezTo>
                  <a:lnTo>
                    <a:pt x="12941" y="2314"/>
                  </a:lnTo>
                  <a:close/>
                  <a:moveTo>
                    <a:pt x="13130" y="3260"/>
                  </a:moveTo>
                  <a:cubicBezTo>
                    <a:pt x="13235" y="3260"/>
                    <a:pt x="13320" y="3175"/>
                    <a:pt x="13322" y="3070"/>
                  </a:cubicBezTo>
                  <a:lnTo>
                    <a:pt x="13322" y="2943"/>
                  </a:lnTo>
                  <a:cubicBezTo>
                    <a:pt x="13322" y="2839"/>
                    <a:pt x="13238" y="2754"/>
                    <a:pt x="13133" y="2752"/>
                  </a:cubicBezTo>
                  <a:cubicBezTo>
                    <a:pt x="13029" y="2752"/>
                    <a:pt x="12944" y="2836"/>
                    <a:pt x="12941" y="2941"/>
                  </a:cubicBezTo>
                  <a:lnTo>
                    <a:pt x="12941" y="3068"/>
                  </a:lnTo>
                  <a:cubicBezTo>
                    <a:pt x="12939" y="3172"/>
                    <a:pt x="13023" y="3260"/>
                    <a:pt x="13130" y="3260"/>
                  </a:cubicBezTo>
                  <a:close/>
                  <a:moveTo>
                    <a:pt x="13133" y="1222"/>
                  </a:moveTo>
                  <a:cubicBezTo>
                    <a:pt x="13238" y="1222"/>
                    <a:pt x="13322" y="1137"/>
                    <a:pt x="13325" y="1033"/>
                  </a:cubicBezTo>
                  <a:lnTo>
                    <a:pt x="13325" y="906"/>
                  </a:lnTo>
                  <a:cubicBezTo>
                    <a:pt x="13325" y="801"/>
                    <a:pt x="13241" y="717"/>
                    <a:pt x="13136" y="714"/>
                  </a:cubicBezTo>
                  <a:cubicBezTo>
                    <a:pt x="13032" y="714"/>
                    <a:pt x="12947" y="799"/>
                    <a:pt x="12944" y="903"/>
                  </a:cubicBezTo>
                  <a:lnTo>
                    <a:pt x="12944" y="1030"/>
                  </a:lnTo>
                  <a:cubicBezTo>
                    <a:pt x="12941" y="1135"/>
                    <a:pt x="13026" y="1222"/>
                    <a:pt x="13133" y="1222"/>
                  </a:cubicBezTo>
                  <a:close/>
                  <a:moveTo>
                    <a:pt x="19029" y="223"/>
                  </a:moveTo>
                  <a:cubicBezTo>
                    <a:pt x="19029" y="119"/>
                    <a:pt x="18944" y="34"/>
                    <a:pt x="18839" y="31"/>
                  </a:cubicBezTo>
                  <a:cubicBezTo>
                    <a:pt x="18735" y="31"/>
                    <a:pt x="18650" y="116"/>
                    <a:pt x="18648" y="220"/>
                  </a:cubicBezTo>
                  <a:lnTo>
                    <a:pt x="18645" y="1724"/>
                  </a:lnTo>
                  <a:cubicBezTo>
                    <a:pt x="18645" y="1725"/>
                    <a:pt x="18645" y="1725"/>
                    <a:pt x="18645" y="1725"/>
                  </a:cubicBezTo>
                  <a:lnTo>
                    <a:pt x="18645" y="1730"/>
                  </a:lnTo>
                  <a:cubicBezTo>
                    <a:pt x="18645" y="1834"/>
                    <a:pt x="18729" y="1919"/>
                    <a:pt x="18834" y="1922"/>
                  </a:cubicBezTo>
                  <a:cubicBezTo>
                    <a:pt x="18938" y="1922"/>
                    <a:pt x="19023" y="1837"/>
                    <a:pt x="19026" y="1733"/>
                  </a:cubicBezTo>
                  <a:lnTo>
                    <a:pt x="19029" y="229"/>
                  </a:lnTo>
                  <a:cubicBezTo>
                    <a:pt x="19029" y="228"/>
                    <a:pt x="19029" y="228"/>
                    <a:pt x="19029" y="228"/>
                  </a:cubicBezTo>
                  <a:lnTo>
                    <a:pt x="19029" y="223"/>
                  </a:lnTo>
                  <a:close/>
                  <a:moveTo>
                    <a:pt x="19026" y="2266"/>
                  </a:moveTo>
                  <a:cubicBezTo>
                    <a:pt x="19026" y="2162"/>
                    <a:pt x="18941" y="2077"/>
                    <a:pt x="18837" y="2074"/>
                  </a:cubicBezTo>
                  <a:cubicBezTo>
                    <a:pt x="18732" y="2074"/>
                    <a:pt x="18648" y="2159"/>
                    <a:pt x="18645" y="2263"/>
                  </a:cubicBezTo>
                  <a:lnTo>
                    <a:pt x="18642" y="3768"/>
                  </a:lnTo>
                  <a:lnTo>
                    <a:pt x="18642" y="3768"/>
                  </a:lnTo>
                  <a:lnTo>
                    <a:pt x="18642" y="3773"/>
                  </a:lnTo>
                  <a:cubicBezTo>
                    <a:pt x="18642" y="3878"/>
                    <a:pt x="18727" y="3962"/>
                    <a:pt x="18831" y="3965"/>
                  </a:cubicBezTo>
                  <a:cubicBezTo>
                    <a:pt x="18935" y="3965"/>
                    <a:pt x="19020" y="3880"/>
                    <a:pt x="19023" y="3776"/>
                  </a:cubicBezTo>
                  <a:lnTo>
                    <a:pt x="19026" y="2272"/>
                  </a:lnTo>
                  <a:lnTo>
                    <a:pt x="19026" y="2271"/>
                  </a:lnTo>
                  <a:lnTo>
                    <a:pt x="19026" y="2266"/>
                  </a:lnTo>
                  <a:close/>
                  <a:moveTo>
                    <a:pt x="13478" y="971"/>
                  </a:moveTo>
                  <a:cubicBezTo>
                    <a:pt x="13478" y="1075"/>
                    <a:pt x="13562" y="1160"/>
                    <a:pt x="13667" y="1163"/>
                  </a:cubicBezTo>
                  <a:cubicBezTo>
                    <a:pt x="13771" y="1163"/>
                    <a:pt x="13856" y="1078"/>
                    <a:pt x="13859" y="974"/>
                  </a:cubicBezTo>
                  <a:lnTo>
                    <a:pt x="13859" y="217"/>
                  </a:lnTo>
                  <a:cubicBezTo>
                    <a:pt x="13859" y="113"/>
                    <a:pt x="13774" y="28"/>
                    <a:pt x="13669" y="25"/>
                  </a:cubicBezTo>
                  <a:cubicBezTo>
                    <a:pt x="13565" y="25"/>
                    <a:pt x="13480" y="110"/>
                    <a:pt x="13478" y="215"/>
                  </a:cubicBezTo>
                  <a:lnTo>
                    <a:pt x="13478" y="971"/>
                  </a:lnTo>
                  <a:close/>
                  <a:moveTo>
                    <a:pt x="13475" y="3014"/>
                  </a:moveTo>
                  <a:cubicBezTo>
                    <a:pt x="13475" y="3118"/>
                    <a:pt x="13559" y="3203"/>
                    <a:pt x="13664" y="3206"/>
                  </a:cubicBezTo>
                  <a:cubicBezTo>
                    <a:pt x="13768" y="3206"/>
                    <a:pt x="13853" y="3121"/>
                    <a:pt x="13856" y="3017"/>
                  </a:cubicBezTo>
                  <a:lnTo>
                    <a:pt x="13856" y="2261"/>
                  </a:lnTo>
                  <a:cubicBezTo>
                    <a:pt x="13856" y="2156"/>
                    <a:pt x="13771" y="2071"/>
                    <a:pt x="13667" y="2069"/>
                  </a:cubicBezTo>
                  <a:cubicBezTo>
                    <a:pt x="13562" y="2069"/>
                    <a:pt x="13478" y="2153"/>
                    <a:pt x="13475" y="2258"/>
                  </a:cubicBezTo>
                  <a:lnTo>
                    <a:pt x="13475" y="3014"/>
                  </a:lnTo>
                  <a:close/>
                  <a:moveTo>
                    <a:pt x="13664" y="3951"/>
                  </a:moveTo>
                  <a:cubicBezTo>
                    <a:pt x="13769" y="3951"/>
                    <a:pt x="13853" y="3866"/>
                    <a:pt x="13856" y="3762"/>
                  </a:cubicBezTo>
                  <a:lnTo>
                    <a:pt x="13856" y="3635"/>
                  </a:lnTo>
                  <a:cubicBezTo>
                    <a:pt x="13856" y="3530"/>
                    <a:pt x="13771" y="3446"/>
                    <a:pt x="13667" y="3443"/>
                  </a:cubicBezTo>
                  <a:cubicBezTo>
                    <a:pt x="13562" y="3443"/>
                    <a:pt x="13478" y="3528"/>
                    <a:pt x="13475" y="3632"/>
                  </a:cubicBezTo>
                  <a:lnTo>
                    <a:pt x="13475" y="3759"/>
                  </a:lnTo>
                  <a:cubicBezTo>
                    <a:pt x="13475" y="3863"/>
                    <a:pt x="13560" y="3951"/>
                    <a:pt x="13664" y="3951"/>
                  </a:cubicBezTo>
                  <a:close/>
                  <a:moveTo>
                    <a:pt x="13667" y="1877"/>
                  </a:moveTo>
                  <a:cubicBezTo>
                    <a:pt x="13771" y="1877"/>
                    <a:pt x="13856" y="1792"/>
                    <a:pt x="13859" y="1688"/>
                  </a:cubicBezTo>
                  <a:lnTo>
                    <a:pt x="13859" y="1561"/>
                  </a:lnTo>
                  <a:cubicBezTo>
                    <a:pt x="13859" y="1456"/>
                    <a:pt x="13774" y="1372"/>
                    <a:pt x="13669" y="1369"/>
                  </a:cubicBezTo>
                  <a:cubicBezTo>
                    <a:pt x="13565" y="1369"/>
                    <a:pt x="13480" y="1453"/>
                    <a:pt x="13478" y="1558"/>
                  </a:cubicBezTo>
                  <a:lnTo>
                    <a:pt x="13478" y="1685"/>
                  </a:lnTo>
                  <a:cubicBezTo>
                    <a:pt x="13478" y="1792"/>
                    <a:pt x="13562" y="1877"/>
                    <a:pt x="13667" y="1877"/>
                  </a:cubicBezTo>
                  <a:close/>
                  <a:moveTo>
                    <a:pt x="13983" y="2317"/>
                  </a:moveTo>
                  <a:cubicBezTo>
                    <a:pt x="13983" y="2421"/>
                    <a:pt x="14067" y="2506"/>
                    <a:pt x="14172" y="2509"/>
                  </a:cubicBezTo>
                  <a:cubicBezTo>
                    <a:pt x="14276" y="2509"/>
                    <a:pt x="14361" y="2424"/>
                    <a:pt x="14364" y="2320"/>
                  </a:cubicBezTo>
                  <a:lnTo>
                    <a:pt x="14364" y="1563"/>
                  </a:lnTo>
                  <a:cubicBezTo>
                    <a:pt x="14364" y="1459"/>
                    <a:pt x="14279" y="1374"/>
                    <a:pt x="14175" y="1372"/>
                  </a:cubicBezTo>
                  <a:cubicBezTo>
                    <a:pt x="14070" y="1372"/>
                    <a:pt x="13986" y="1456"/>
                    <a:pt x="13983" y="1561"/>
                  </a:cubicBezTo>
                  <a:lnTo>
                    <a:pt x="13983" y="2317"/>
                  </a:lnTo>
                  <a:close/>
                  <a:moveTo>
                    <a:pt x="13980" y="4391"/>
                  </a:moveTo>
                  <a:cubicBezTo>
                    <a:pt x="13980" y="4496"/>
                    <a:pt x="14065" y="4580"/>
                    <a:pt x="14169" y="4583"/>
                  </a:cubicBezTo>
                  <a:cubicBezTo>
                    <a:pt x="14273" y="4583"/>
                    <a:pt x="14358" y="4498"/>
                    <a:pt x="14361" y="4394"/>
                  </a:cubicBezTo>
                  <a:lnTo>
                    <a:pt x="14361" y="3638"/>
                  </a:lnTo>
                  <a:cubicBezTo>
                    <a:pt x="14361" y="3533"/>
                    <a:pt x="14276" y="3449"/>
                    <a:pt x="14172" y="3446"/>
                  </a:cubicBezTo>
                  <a:cubicBezTo>
                    <a:pt x="14067" y="3446"/>
                    <a:pt x="13983" y="3530"/>
                    <a:pt x="13980" y="3635"/>
                  </a:cubicBezTo>
                  <a:lnTo>
                    <a:pt x="13980" y="4391"/>
                  </a:lnTo>
                  <a:close/>
                  <a:moveTo>
                    <a:pt x="14172" y="3260"/>
                  </a:moveTo>
                  <a:cubicBezTo>
                    <a:pt x="14277" y="3260"/>
                    <a:pt x="14361" y="3175"/>
                    <a:pt x="14364" y="3070"/>
                  </a:cubicBezTo>
                  <a:lnTo>
                    <a:pt x="14364" y="2943"/>
                  </a:lnTo>
                  <a:cubicBezTo>
                    <a:pt x="14364" y="2839"/>
                    <a:pt x="14279" y="2754"/>
                    <a:pt x="14175" y="2752"/>
                  </a:cubicBezTo>
                  <a:cubicBezTo>
                    <a:pt x="14070" y="2752"/>
                    <a:pt x="13986" y="2836"/>
                    <a:pt x="13983" y="2941"/>
                  </a:cubicBezTo>
                  <a:lnTo>
                    <a:pt x="13983" y="3068"/>
                  </a:lnTo>
                  <a:cubicBezTo>
                    <a:pt x="13983" y="3175"/>
                    <a:pt x="14068" y="3260"/>
                    <a:pt x="14172" y="3260"/>
                  </a:cubicBezTo>
                  <a:close/>
                  <a:moveTo>
                    <a:pt x="15013" y="2317"/>
                  </a:moveTo>
                  <a:cubicBezTo>
                    <a:pt x="15013" y="2421"/>
                    <a:pt x="15097" y="2506"/>
                    <a:pt x="15202" y="2509"/>
                  </a:cubicBezTo>
                  <a:cubicBezTo>
                    <a:pt x="15306" y="2509"/>
                    <a:pt x="15391" y="2424"/>
                    <a:pt x="15394" y="2320"/>
                  </a:cubicBezTo>
                  <a:lnTo>
                    <a:pt x="15394" y="1563"/>
                  </a:lnTo>
                  <a:cubicBezTo>
                    <a:pt x="15394" y="1459"/>
                    <a:pt x="15309" y="1374"/>
                    <a:pt x="15205" y="1372"/>
                  </a:cubicBezTo>
                  <a:cubicBezTo>
                    <a:pt x="15100" y="1372"/>
                    <a:pt x="15016" y="1456"/>
                    <a:pt x="15013" y="1561"/>
                  </a:cubicBezTo>
                  <a:lnTo>
                    <a:pt x="15013" y="2317"/>
                  </a:lnTo>
                  <a:close/>
                  <a:moveTo>
                    <a:pt x="15202" y="3262"/>
                  </a:moveTo>
                  <a:cubicBezTo>
                    <a:pt x="15307" y="3262"/>
                    <a:pt x="15391" y="3178"/>
                    <a:pt x="15394" y="3073"/>
                  </a:cubicBezTo>
                  <a:lnTo>
                    <a:pt x="15394" y="2946"/>
                  </a:lnTo>
                  <a:cubicBezTo>
                    <a:pt x="15394" y="2842"/>
                    <a:pt x="15309" y="2757"/>
                    <a:pt x="15205" y="2754"/>
                  </a:cubicBezTo>
                  <a:cubicBezTo>
                    <a:pt x="15100" y="2754"/>
                    <a:pt x="15016" y="2839"/>
                    <a:pt x="15013" y="2943"/>
                  </a:cubicBezTo>
                  <a:lnTo>
                    <a:pt x="15013" y="3070"/>
                  </a:lnTo>
                  <a:cubicBezTo>
                    <a:pt x="15013" y="3175"/>
                    <a:pt x="15098" y="3262"/>
                    <a:pt x="15202" y="3262"/>
                  </a:cubicBezTo>
                  <a:close/>
                  <a:moveTo>
                    <a:pt x="15532" y="3017"/>
                  </a:moveTo>
                  <a:cubicBezTo>
                    <a:pt x="15532" y="3121"/>
                    <a:pt x="15617" y="3206"/>
                    <a:pt x="15721" y="3209"/>
                  </a:cubicBezTo>
                  <a:cubicBezTo>
                    <a:pt x="15826" y="3209"/>
                    <a:pt x="15910" y="3124"/>
                    <a:pt x="15913" y="3020"/>
                  </a:cubicBezTo>
                  <a:lnTo>
                    <a:pt x="15913" y="2263"/>
                  </a:lnTo>
                  <a:cubicBezTo>
                    <a:pt x="15913" y="2159"/>
                    <a:pt x="15828" y="2074"/>
                    <a:pt x="15724" y="2071"/>
                  </a:cubicBezTo>
                  <a:cubicBezTo>
                    <a:pt x="15620" y="2071"/>
                    <a:pt x="15535" y="2156"/>
                    <a:pt x="15532" y="2261"/>
                  </a:cubicBezTo>
                  <a:lnTo>
                    <a:pt x="15532" y="3017"/>
                  </a:lnTo>
                  <a:close/>
                  <a:moveTo>
                    <a:pt x="15721" y="3954"/>
                  </a:moveTo>
                  <a:cubicBezTo>
                    <a:pt x="15826" y="3954"/>
                    <a:pt x="15910" y="3869"/>
                    <a:pt x="15913" y="3765"/>
                  </a:cubicBezTo>
                  <a:lnTo>
                    <a:pt x="15913" y="3638"/>
                  </a:lnTo>
                  <a:cubicBezTo>
                    <a:pt x="15913" y="3533"/>
                    <a:pt x="15828" y="3449"/>
                    <a:pt x="15724" y="3446"/>
                  </a:cubicBezTo>
                  <a:cubicBezTo>
                    <a:pt x="15620" y="3446"/>
                    <a:pt x="15535" y="3530"/>
                    <a:pt x="15532" y="3635"/>
                  </a:cubicBezTo>
                  <a:lnTo>
                    <a:pt x="15532" y="3762"/>
                  </a:lnTo>
                  <a:cubicBezTo>
                    <a:pt x="15532" y="3869"/>
                    <a:pt x="15617" y="3954"/>
                    <a:pt x="15721" y="3954"/>
                  </a:cubicBezTo>
                  <a:close/>
                  <a:moveTo>
                    <a:pt x="15724" y="1880"/>
                  </a:moveTo>
                  <a:cubicBezTo>
                    <a:pt x="15828" y="1880"/>
                    <a:pt x="15913" y="1795"/>
                    <a:pt x="15916" y="1690"/>
                  </a:cubicBezTo>
                  <a:lnTo>
                    <a:pt x="15916" y="1563"/>
                  </a:lnTo>
                  <a:cubicBezTo>
                    <a:pt x="15916" y="1459"/>
                    <a:pt x="15831" y="1374"/>
                    <a:pt x="15727" y="1372"/>
                  </a:cubicBezTo>
                  <a:cubicBezTo>
                    <a:pt x="15622" y="1372"/>
                    <a:pt x="15538" y="1456"/>
                    <a:pt x="15535" y="1561"/>
                  </a:cubicBezTo>
                  <a:lnTo>
                    <a:pt x="15535" y="1688"/>
                  </a:lnTo>
                  <a:cubicBezTo>
                    <a:pt x="15535" y="1795"/>
                    <a:pt x="15620" y="1880"/>
                    <a:pt x="15724" y="1880"/>
                  </a:cubicBezTo>
                  <a:close/>
                  <a:moveTo>
                    <a:pt x="16060" y="2320"/>
                  </a:moveTo>
                  <a:cubicBezTo>
                    <a:pt x="16060" y="2424"/>
                    <a:pt x="16144" y="2509"/>
                    <a:pt x="16249" y="2512"/>
                  </a:cubicBezTo>
                  <a:cubicBezTo>
                    <a:pt x="16353" y="2512"/>
                    <a:pt x="16438" y="2427"/>
                    <a:pt x="16441" y="2323"/>
                  </a:cubicBezTo>
                  <a:lnTo>
                    <a:pt x="16441" y="1566"/>
                  </a:lnTo>
                  <a:cubicBezTo>
                    <a:pt x="16441" y="1462"/>
                    <a:pt x="16356" y="1377"/>
                    <a:pt x="16252" y="1374"/>
                  </a:cubicBezTo>
                  <a:cubicBezTo>
                    <a:pt x="16147" y="1374"/>
                    <a:pt x="16063" y="1459"/>
                    <a:pt x="16060" y="1563"/>
                  </a:cubicBezTo>
                  <a:lnTo>
                    <a:pt x="16060" y="2320"/>
                  </a:lnTo>
                  <a:close/>
                  <a:moveTo>
                    <a:pt x="16249" y="3262"/>
                  </a:moveTo>
                  <a:cubicBezTo>
                    <a:pt x="16354" y="3262"/>
                    <a:pt x="16438" y="3178"/>
                    <a:pt x="16441" y="3073"/>
                  </a:cubicBezTo>
                  <a:lnTo>
                    <a:pt x="16441" y="2946"/>
                  </a:lnTo>
                  <a:cubicBezTo>
                    <a:pt x="16441" y="2842"/>
                    <a:pt x="16356" y="2757"/>
                    <a:pt x="16252" y="2754"/>
                  </a:cubicBezTo>
                  <a:cubicBezTo>
                    <a:pt x="16147" y="2754"/>
                    <a:pt x="16063" y="2839"/>
                    <a:pt x="16060" y="2943"/>
                  </a:cubicBezTo>
                  <a:lnTo>
                    <a:pt x="16060" y="3070"/>
                  </a:lnTo>
                  <a:cubicBezTo>
                    <a:pt x="16060" y="3178"/>
                    <a:pt x="16145" y="3262"/>
                    <a:pt x="16249" y="3262"/>
                  </a:cubicBezTo>
                  <a:close/>
                  <a:moveTo>
                    <a:pt x="16252" y="1225"/>
                  </a:moveTo>
                  <a:cubicBezTo>
                    <a:pt x="16357" y="1225"/>
                    <a:pt x="16441" y="1140"/>
                    <a:pt x="16444" y="1036"/>
                  </a:cubicBezTo>
                  <a:lnTo>
                    <a:pt x="16444" y="909"/>
                  </a:lnTo>
                  <a:cubicBezTo>
                    <a:pt x="16444" y="804"/>
                    <a:pt x="16359" y="720"/>
                    <a:pt x="16254" y="717"/>
                  </a:cubicBezTo>
                  <a:cubicBezTo>
                    <a:pt x="16150" y="717"/>
                    <a:pt x="16065" y="801"/>
                    <a:pt x="16063" y="906"/>
                  </a:cubicBezTo>
                  <a:lnTo>
                    <a:pt x="16063" y="1033"/>
                  </a:lnTo>
                  <a:cubicBezTo>
                    <a:pt x="16063" y="1140"/>
                    <a:pt x="16148" y="1225"/>
                    <a:pt x="16252" y="1225"/>
                  </a:cubicBezTo>
                  <a:close/>
                  <a:moveTo>
                    <a:pt x="17087" y="4394"/>
                  </a:moveTo>
                  <a:cubicBezTo>
                    <a:pt x="17087" y="4498"/>
                    <a:pt x="17172" y="4583"/>
                    <a:pt x="17276" y="4586"/>
                  </a:cubicBezTo>
                  <a:cubicBezTo>
                    <a:pt x="17380" y="4586"/>
                    <a:pt x="17465" y="4501"/>
                    <a:pt x="17468" y="4397"/>
                  </a:cubicBezTo>
                  <a:lnTo>
                    <a:pt x="17468" y="3641"/>
                  </a:lnTo>
                  <a:cubicBezTo>
                    <a:pt x="17468" y="3536"/>
                    <a:pt x="17383" y="3451"/>
                    <a:pt x="17279" y="3449"/>
                  </a:cubicBezTo>
                  <a:cubicBezTo>
                    <a:pt x="17174" y="3449"/>
                    <a:pt x="17090" y="3533"/>
                    <a:pt x="17087" y="3638"/>
                  </a:cubicBezTo>
                  <a:lnTo>
                    <a:pt x="17087" y="4394"/>
                  </a:lnTo>
                  <a:close/>
                  <a:moveTo>
                    <a:pt x="17090" y="2323"/>
                  </a:moveTo>
                  <a:cubicBezTo>
                    <a:pt x="17090" y="2427"/>
                    <a:pt x="17174" y="2512"/>
                    <a:pt x="17279" y="2515"/>
                  </a:cubicBezTo>
                  <a:cubicBezTo>
                    <a:pt x="17383" y="2515"/>
                    <a:pt x="17468" y="2430"/>
                    <a:pt x="17471" y="2325"/>
                  </a:cubicBezTo>
                  <a:lnTo>
                    <a:pt x="17471" y="1569"/>
                  </a:lnTo>
                  <a:cubicBezTo>
                    <a:pt x="17471" y="1465"/>
                    <a:pt x="17386" y="1380"/>
                    <a:pt x="17282" y="1377"/>
                  </a:cubicBezTo>
                  <a:cubicBezTo>
                    <a:pt x="17177" y="1377"/>
                    <a:pt x="17093" y="1462"/>
                    <a:pt x="17090" y="1566"/>
                  </a:cubicBezTo>
                  <a:lnTo>
                    <a:pt x="17090" y="2323"/>
                  </a:lnTo>
                  <a:close/>
                  <a:moveTo>
                    <a:pt x="17279" y="3265"/>
                  </a:moveTo>
                  <a:cubicBezTo>
                    <a:pt x="17384" y="3265"/>
                    <a:pt x="17468" y="3181"/>
                    <a:pt x="17471" y="3076"/>
                  </a:cubicBezTo>
                  <a:lnTo>
                    <a:pt x="17471" y="2949"/>
                  </a:lnTo>
                  <a:cubicBezTo>
                    <a:pt x="17471" y="2845"/>
                    <a:pt x="17386" y="2760"/>
                    <a:pt x="17282" y="2757"/>
                  </a:cubicBezTo>
                  <a:cubicBezTo>
                    <a:pt x="17177" y="2757"/>
                    <a:pt x="17093" y="2842"/>
                    <a:pt x="17090" y="2946"/>
                  </a:cubicBezTo>
                  <a:lnTo>
                    <a:pt x="17090" y="3073"/>
                  </a:lnTo>
                  <a:cubicBezTo>
                    <a:pt x="17087" y="3181"/>
                    <a:pt x="17175" y="3265"/>
                    <a:pt x="17279" y="3265"/>
                  </a:cubicBezTo>
                  <a:close/>
                  <a:moveTo>
                    <a:pt x="17282" y="1228"/>
                  </a:moveTo>
                  <a:cubicBezTo>
                    <a:pt x="17387" y="1228"/>
                    <a:pt x="17471" y="1143"/>
                    <a:pt x="17474" y="1039"/>
                  </a:cubicBezTo>
                  <a:lnTo>
                    <a:pt x="17474" y="912"/>
                  </a:lnTo>
                  <a:cubicBezTo>
                    <a:pt x="17474" y="807"/>
                    <a:pt x="17389" y="722"/>
                    <a:pt x="17285" y="720"/>
                  </a:cubicBezTo>
                  <a:cubicBezTo>
                    <a:pt x="17180" y="720"/>
                    <a:pt x="17095" y="804"/>
                    <a:pt x="17093" y="909"/>
                  </a:cubicBezTo>
                  <a:lnTo>
                    <a:pt x="17093" y="1036"/>
                  </a:lnTo>
                  <a:cubicBezTo>
                    <a:pt x="17093" y="1143"/>
                    <a:pt x="17178" y="1228"/>
                    <a:pt x="17282" y="1228"/>
                  </a:cubicBezTo>
                  <a:close/>
                  <a:moveTo>
                    <a:pt x="17612" y="976"/>
                  </a:moveTo>
                  <a:cubicBezTo>
                    <a:pt x="17612" y="1081"/>
                    <a:pt x="17697" y="1166"/>
                    <a:pt x="17801" y="1168"/>
                  </a:cubicBezTo>
                  <a:cubicBezTo>
                    <a:pt x="17905" y="1168"/>
                    <a:pt x="17990" y="1084"/>
                    <a:pt x="17993" y="979"/>
                  </a:cubicBezTo>
                  <a:lnTo>
                    <a:pt x="17993" y="223"/>
                  </a:lnTo>
                  <a:cubicBezTo>
                    <a:pt x="17993" y="119"/>
                    <a:pt x="17908" y="34"/>
                    <a:pt x="17804" y="31"/>
                  </a:cubicBezTo>
                  <a:cubicBezTo>
                    <a:pt x="17699" y="31"/>
                    <a:pt x="17615" y="116"/>
                    <a:pt x="17612" y="220"/>
                  </a:cubicBezTo>
                  <a:lnTo>
                    <a:pt x="17612" y="976"/>
                  </a:lnTo>
                  <a:close/>
                  <a:moveTo>
                    <a:pt x="17609" y="3022"/>
                  </a:moveTo>
                  <a:cubicBezTo>
                    <a:pt x="17609" y="3127"/>
                    <a:pt x="17694" y="3212"/>
                    <a:pt x="17798" y="3214"/>
                  </a:cubicBezTo>
                  <a:cubicBezTo>
                    <a:pt x="17903" y="3214"/>
                    <a:pt x="17987" y="3130"/>
                    <a:pt x="17990" y="3025"/>
                  </a:cubicBezTo>
                  <a:lnTo>
                    <a:pt x="17990" y="2269"/>
                  </a:lnTo>
                  <a:cubicBezTo>
                    <a:pt x="17990" y="2165"/>
                    <a:pt x="17905" y="2080"/>
                    <a:pt x="17801" y="2077"/>
                  </a:cubicBezTo>
                  <a:cubicBezTo>
                    <a:pt x="17697" y="2077"/>
                    <a:pt x="17612" y="2162"/>
                    <a:pt x="17609" y="2266"/>
                  </a:cubicBezTo>
                  <a:lnTo>
                    <a:pt x="17609" y="3022"/>
                  </a:lnTo>
                  <a:close/>
                  <a:moveTo>
                    <a:pt x="17798" y="3962"/>
                  </a:moveTo>
                  <a:cubicBezTo>
                    <a:pt x="17903" y="3962"/>
                    <a:pt x="17987" y="3878"/>
                    <a:pt x="17990" y="3773"/>
                  </a:cubicBezTo>
                  <a:lnTo>
                    <a:pt x="17990" y="3646"/>
                  </a:lnTo>
                  <a:cubicBezTo>
                    <a:pt x="17990" y="3542"/>
                    <a:pt x="17905" y="3457"/>
                    <a:pt x="17801" y="3454"/>
                  </a:cubicBezTo>
                  <a:cubicBezTo>
                    <a:pt x="17697" y="3454"/>
                    <a:pt x="17612" y="3539"/>
                    <a:pt x="17609" y="3643"/>
                  </a:cubicBezTo>
                  <a:lnTo>
                    <a:pt x="17609" y="3770"/>
                  </a:lnTo>
                  <a:cubicBezTo>
                    <a:pt x="17606" y="3878"/>
                    <a:pt x="17691" y="3962"/>
                    <a:pt x="17798" y="3962"/>
                  </a:cubicBezTo>
                  <a:close/>
                  <a:moveTo>
                    <a:pt x="17801" y="1891"/>
                  </a:moveTo>
                  <a:cubicBezTo>
                    <a:pt x="17905" y="1891"/>
                    <a:pt x="17990" y="1806"/>
                    <a:pt x="17993" y="1702"/>
                  </a:cubicBezTo>
                  <a:lnTo>
                    <a:pt x="17993" y="1575"/>
                  </a:lnTo>
                  <a:cubicBezTo>
                    <a:pt x="17993" y="1470"/>
                    <a:pt x="17908" y="1386"/>
                    <a:pt x="17804" y="1383"/>
                  </a:cubicBezTo>
                  <a:cubicBezTo>
                    <a:pt x="17699" y="1383"/>
                    <a:pt x="17615" y="1468"/>
                    <a:pt x="17612" y="1572"/>
                  </a:cubicBezTo>
                  <a:lnTo>
                    <a:pt x="17612" y="1699"/>
                  </a:lnTo>
                  <a:cubicBezTo>
                    <a:pt x="17609" y="1803"/>
                    <a:pt x="17697" y="1888"/>
                    <a:pt x="17801" y="1891"/>
                  </a:cubicBezTo>
                  <a:close/>
                  <a:moveTo>
                    <a:pt x="18126" y="4386"/>
                  </a:moveTo>
                  <a:cubicBezTo>
                    <a:pt x="18126" y="4490"/>
                    <a:pt x="18210" y="4575"/>
                    <a:pt x="18315" y="4577"/>
                  </a:cubicBezTo>
                  <a:cubicBezTo>
                    <a:pt x="18419" y="4577"/>
                    <a:pt x="18504" y="4493"/>
                    <a:pt x="18506" y="4388"/>
                  </a:cubicBezTo>
                  <a:lnTo>
                    <a:pt x="18506" y="3632"/>
                  </a:lnTo>
                  <a:cubicBezTo>
                    <a:pt x="18506" y="3528"/>
                    <a:pt x="18422" y="3443"/>
                    <a:pt x="18317" y="3440"/>
                  </a:cubicBezTo>
                  <a:cubicBezTo>
                    <a:pt x="18213" y="3440"/>
                    <a:pt x="18128" y="3525"/>
                    <a:pt x="18126" y="3629"/>
                  </a:cubicBezTo>
                  <a:lnTo>
                    <a:pt x="18126" y="4386"/>
                  </a:lnTo>
                  <a:close/>
                  <a:moveTo>
                    <a:pt x="18128" y="2311"/>
                  </a:moveTo>
                  <a:cubicBezTo>
                    <a:pt x="18128" y="2416"/>
                    <a:pt x="18213" y="2500"/>
                    <a:pt x="18317" y="2503"/>
                  </a:cubicBezTo>
                  <a:cubicBezTo>
                    <a:pt x="18422" y="2503"/>
                    <a:pt x="18506" y="2419"/>
                    <a:pt x="18509" y="2314"/>
                  </a:cubicBezTo>
                  <a:lnTo>
                    <a:pt x="18509" y="1558"/>
                  </a:lnTo>
                  <a:cubicBezTo>
                    <a:pt x="18509" y="1453"/>
                    <a:pt x="18425" y="1369"/>
                    <a:pt x="18320" y="1366"/>
                  </a:cubicBezTo>
                  <a:cubicBezTo>
                    <a:pt x="18216" y="1366"/>
                    <a:pt x="18131" y="1451"/>
                    <a:pt x="18128" y="1555"/>
                  </a:cubicBezTo>
                  <a:lnTo>
                    <a:pt x="18128" y="2311"/>
                  </a:lnTo>
                  <a:close/>
                  <a:moveTo>
                    <a:pt x="18317" y="3257"/>
                  </a:moveTo>
                  <a:cubicBezTo>
                    <a:pt x="18422" y="3257"/>
                    <a:pt x="18506" y="3172"/>
                    <a:pt x="18509" y="3068"/>
                  </a:cubicBezTo>
                  <a:lnTo>
                    <a:pt x="18509" y="2941"/>
                  </a:lnTo>
                  <a:cubicBezTo>
                    <a:pt x="18509" y="2836"/>
                    <a:pt x="18425" y="2752"/>
                    <a:pt x="18320" y="2749"/>
                  </a:cubicBezTo>
                  <a:cubicBezTo>
                    <a:pt x="18216" y="2749"/>
                    <a:pt x="18131" y="2833"/>
                    <a:pt x="18128" y="2938"/>
                  </a:cubicBezTo>
                  <a:lnTo>
                    <a:pt x="18128" y="3065"/>
                  </a:lnTo>
                  <a:cubicBezTo>
                    <a:pt x="18126" y="3169"/>
                    <a:pt x="18210" y="3257"/>
                    <a:pt x="18317" y="3257"/>
                  </a:cubicBezTo>
                  <a:close/>
                  <a:moveTo>
                    <a:pt x="18320" y="1219"/>
                  </a:moveTo>
                  <a:cubicBezTo>
                    <a:pt x="18425" y="1219"/>
                    <a:pt x="18509" y="1135"/>
                    <a:pt x="18512" y="1030"/>
                  </a:cubicBezTo>
                  <a:lnTo>
                    <a:pt x="18512" y="903"/>
                  </a:lnTo>
                  <a:cubicBezTo>
                    <a:pt x="18512" y="799"/>
                    <a:pt x="18427" y="714"/>
                    <a:pt x="18323" y="711"/>
                  </a:cubicBezTo>
                  <a:cubicBezTo>
                    <a:pt x="18219" y="711"/>
                    <a:pt x="18134" y="796"/>
                    <a:pt x="18131" y="900"/>
                  </a:cubicBezTo>
                  <a:lnTo>
                    <a:pt x="18131" y="1027"/>
                  </a:lnTo>
                  <a:cubicBezTo>
                    <a:pt x="18128" y="1132"/>
                    <a:pt x="18213" y="1219"/>
                    <a:pt x="18320" y="1219"/>
                  </a:cubicBezTo>
                  <a:close/>
                  <a:moveTo>
                    <a:pt x="19150" y="4402"/>
                  </a:moveTo>
                  <a:cubicBezTo>
                    <a:pt x="19150" y="4507"/>
                    <a:pt x="19235" y="4592"/>
                    <a:pt x="19339" y="4594"/>
                  </a:cubicBezTo>
                  <a:cubicBezTo>
                    <a:pt x="19443" y="4594"/>
                    <a:pt x="19528" y="4510"/>
                    <a:pt x="19531" y="4405"/>
                  </a:cubicBezTo>
                  <a:lnTo>
                    <a:pt x="19531" y="3649"/>
                  </a:lnTo>
                  <a:cubicBezTo>
                    <a:pt x="19531" y="3545"/>
                    <a:pt x="19446" y="3460"/>
                    <a:pt x="19342" y="3457"/>
                  </a:cubicBezTo>
                  <a:cubicBezTo>
                    <a:pt x="19237" y="3457"/>
                    <a:pt x="19153" y="3542"/>
                    <a:pt x="19150" y="3646"/>
                  </a:cubicBezTo>
                  <a:lnTo>
                    <a:pt x="19150" y="4402"/>
                  </a:lnTo>
                  <a:close/>
                  <a:moveTo>
                    <a:pt x="19156" y="2328"/>
                  </a:moveTo>
                  <a:cubicBezTo>
                    <a:pt x="19156" y="2433"/>
                    <a:pt x="19240" y="2517"/>
                    <a:pt x="19345" y="2520"/>
                  </a:cubicBezTo>
                  <a:cubicBezTo>
                    <a:pt x="19449" y="2520"/>
                    <a:pt x="19534" y="2435"/>
                    <a:pt x="19537" y="2331"/>
                  </a:cubicBezTo>
                  <a:lnTo>
                    <a:pt x="19537" y="1575"/>
                  </a:lnTo>
                  <a:cubicBezTo>
                    <a:pt x="19537" y="1470"/>
                    <a:pt x="19452" y="1386"/>
                    <a:pt x="19347" y="1383"/>
                  </a:cubicBezTo>
                  <a:cubicBezTo>
                    <a:pt x="19243" y="1383"/>
                    <a:pt x="19158" y="1468"/>
                    <a:pt x="19156" y="1572"/>
                  </a:cubicBezTo>
                  <a:lnTo>
                    <a:pt x="19156" y="2328"/>
                  </a:lnTo>
                  <a:close/>
                  <a:moveTo>
                    <a:pt x="19345" y="3274"/>
                  </a:moveTo>
                  <a:cubicBezTo>
                    <a:pt x="19449" y="3274"/>
                    <a:pt x="19534" y="3189"/>
                    <a:pt x="19537" y="3085"/>
                  </a:cubicBezTo>
                  <a:lnTo>
                    <a:pt x="19537" y="2958"/>
                  </a:lnTo>
                  <a:cubicBezTo>
                    <a:pt x="19537" y="2853"/>
                    <a:pt x="19452" y="2768"/>
                    <a:pt x="19347" y="2766"/>
                  </a:cubicBezTo>
                  <a:cubicBezTo>
                    <a:pt x="19243" y="2766"/>
                    <a:pt x="19158" y="2850"/>
                    <a:pt x="19156" y="2955"/>
                  </a:cubicBezTo>
                  <a:lnTo>
                    <a:pt x="19156" y="3082"/>
                  </a:lnTo>
                  <a:cubicBezTo>
                    <a:pt x="19153" y="3186"/>
                    <a:pt x="19237" y="3271"/>
                    <a:pt x="19345" y="3274"/>
                  </a:cubicBezTo>
                  <a:close/>
                  <a:moveTo>
                    <a:pt x="19347" y="1236"/>
                  </a:moveTo>
                  <a:cubicBezTo>
                    <a:pt x="19452" y="1236"/>
                    <a:pt x="19537" y="1151"/>
                    <a:pt x="19539" y="1047"/>
                  </a:cubicBezTo>
                  <a:lnTo>
                    <a:pt x="19539" y="920"/>
                  </a:lnTo>
                  <a:cubicBezTo>
                    <a:pt x="19539" y="816"/>
                    <a:pt x="19455" y="731"/>
                    <a:pt x="19350" y="728"/>
                  </a:cubicBezTo>
                  <a:cubicBezTo>
                    <a:pt x="19246" y="728"/>
                    <a:pt x="19161" y="813"/>
                    <a:pt x="19158" y="917"/>
                  </a:cubicBezTo>
                  <a:lnTo>
                    <a:pt x="19158" y="1044"/>
                  </a:lnTo>
                  <a:cubicBezTo>
                    <a:pt x="19156" y="1149"/>
                    <a:pt x="19240" y="1233"/>
                    <a:pt x="19347" y="1236"/>
                  </a:cubicBezTo>
                  <a:close/>
                  <a:moveTo>
                    <a:pt x="19692" y="985"/>
                  </a:moveTo>
                  <a:cubicBezTo>
                    <a:pt x="19692" y="1089"/>
                    <a:pt x="19776" y="1174"/>
                    <a:pt x="19881" y="1177"/>
                  </a:cubicBezTo>
                  <a:cubicBezTo>
                    <a:pt x="19985" y="1177"/>
                    <a:pt x="20070" y="1092"/>
                    <a:pt x="20073" y="988"/>
                  </a:cubicBezTo>
                  <a:lnTo>
                    <a:pt x="20073" y="231"/>
                  </a:lnTo>
                  <a:cubicBezTo>
                    <a:pt x="20073" y="127"/>
                    <a:pt x="19988" y="42"/>
                    <a:pt x="19884" y="40"/>
                  </a:cubicBezTo>
                  <a:cubicBezTo>
                    <a:pt x="19779" y="40"/>
                    <a:pt x="19695" y="124"/>
                    <a:pt x="19692" y="229"/>
                  </a:cubicBezTo>
                  <a:lnTo>
                    <a:pt x="19692" y="985"/>
                  </a:lnTo>
                  <a:close/>
                  <a:moveTo>
                    <a:pt x="19689" y="3028"/>
                  </a:moveTo>
                  <a:cubicBezTo>
                    <a:pt x="19689" y="3133"/>
                    <a:pt x="19774" y="3217"/>
                    <a:pt x="19878" y="3220"/>
                  </a:cubicBezTo>
                  <a:cubicBezTo>
                    <a:pt x="19982" y="3220"/>
                    <a:pt x="20067" y="3135"/>
                    <a:pt x="20070" y="3031"/>
                  </a:cubicBezTo>
                  <a:lnTo>
                    <a:pt x="20070" y="2275"/>
                  </a:lnTo>
                  <a:cubicBezTo>
                    <a:pt x="20070" y="2170"/>
                    <a:pt x="19985" y="2086"/>
                    <a:pt x="19881" y="2083"/>
                  </a:cubicBezTo>
                  <a:cubicBezTo>
                    <a:pt x="19776" y="2083"/>
                    <a:pt x="19692" y="2167"/>
                    <a:pt x="19689" y="2272"/>
                  </a:cubicBezTo>
                  <a:lnTo>
                    <a:pt x="19689" y="3028"/>
                  </a:lnTo>
                  <a:close/>
                  <a:moveTo>
                    <a:pt x="19878" y="3965"/>
                  </a:moveTo>
                  <a:cubicBezTo>
                    <a:pt x="19982" y="3965"/>
                    <a:pt x="20067" y="3880"/>
                    <a:pt x="20070" y="3776"/>
                  </a:cubicBezTo>
                  <a:lnTo>
                    <a:pt x="20070" y="3649"/>
                  </a:lnTo>
                  <a:cubicBezTo>
                    <a:pt x="20070" y="3545"/>
                    <a:pt x="19985" y="3460"/>
                    <a:pt x="19881" y="3457"/>
                  </a:cubicBezTo>
                  <a:cubicBezTo>
                    <a:pt x="19776" y="3457"/>
                    <a:pt x="19692" y="3542"/>
                    <a:pt x="19689" y="3646"/>
                  </a:cubicBezTo>
                  <a:lnTo>
                    <a:pt x="19689" y="3773"/>
                  </a:lnTo>
                  <a:cubicBezTo>
                    <a:pt x="19689" y="3878"/>
                    <a:pt x="19774" y="3965"/>
                    <a:pt x="19878" y="3965"/>
                  </a:cubicBezTo>
                  <a:close/>
                  <a:moveTo>
                    <a:pt x="19881" y="1891"/>
                  </a:moveTo>
                  <a:cubicBezTo>
                    <a:pt x="19985" y="1891"/>
                    <a:pt x="20070" y="1806"/>
                    <a:pt x="20073" y="1702"/>
                  </a:cubicBezTo>
                  <a:lnTo>
                    <a:pt x="20073" y="1575"/>
                  </a:lnTo>
                  <a:cubicBezTo>
                    <a:pt x="20073" y="1470"/>
                    <a:pt x="19988" y="1386"/>
                    <a:pt x="19884" y="1383"/>
                  </a:cubicBezTo>
                  <a:cubicBezTo>
                    <a:pt x="19779" y="1383"/>
                    <a:pt x="19695" y="1468"/>
                    <a:pt x="19692" y="1572"/>
                  </a:cubicBezTo>
                  <a:lnTo>
                    <a:pt x="19692" y="1699"/>
                  </a:lnTo>
                  <a:cubicBezTo>
                    <a:pt x="19692" y="1806"/>
                    <a:pt x="19776" y="1891"/>
                    <a:pt x="19881" y="1891"/>
                  </a:cubicBezTo>
                  <a:close/>
                </a:path>
              </a:pathLst>
            </a:custGeom>
            <a:solidFill>
              <a:srgbClr val="1D8649"/>
            </a:solidFill>
            <a:ln w="9525" cap="flat">
              <a:noFill/>
              <a:bevel/>
              <a:headEnd/>
              <a:tailEnd/>
            </a:ln>
            <a:effectLst/>
          </p:spPr>
          <p:txBody>
            <a:bodyPr wrap="none" anchor="ctr"/>
            <a:lstStyle/>
            <a:p>
              <a:endParaRPr lang="en-US"/>
            </a:p>
          </p:txBody>
        </p:sp>
      </p:grpSp>
      <p:pic>
        <p:nvPicPr>
          <p:cNvPr id="14" name="Picture 13">
            <a:extLst>
              <a:ext uri="{FF2B5EF4-FFF2-40B4-BE49-F238E27FC236}">
                <a16:creationId xmlns:a16="http://schemas.microsoft.com/office/drawing/2014/main" id="{A78DBC8C-315E-F342-BB40-B84151A365BF}"/>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112452624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6" name="Title 1"/>
          <p:cNvSpPr>
            <a:spLocks noGrp="1"/>
          </p:cNvSpPr>
          <p:nvPr>
            <p:ph type="title"/>
          </p:nvPr>
        </p:nvSpPr>
        <p:spPr>
          <a:xfrm>
            <a:off x="443997" y="192024"/>
            <a:ext cx="8257032" cy="731520"/>
          </a:xfrm>
        </p:spPr>
        <p:txBody>
          <a:bodyPr anchor="t" anchorCtr="0"/>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9" name="Content Placeholder 4"/>
          <p:cNvSpPr>
            <a:spLocks noGrp="1"/>
          </p:cNvSpPr>
          <p:nvPr>
            <p:ph sz="quarter" idx="11" hasCustomPrompt="1"/>
          </p:nvPr>
        </p:nvSpPr>
        <p:spPr>
          <a:xfrm>
            <a:off x="443484" y="1270861"/>
            <a:ext cx="8257032" cy="3319427"/>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2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1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stStyle>
          <a:p>
            <a:pPr marL="171450" lvl="0" indent="-171450" algn="l" defTabSz="684213" rtl="0" eaLnBrk="1" fontAlgn="base" hangingPunct="1">
              <a:lnSpc>
                <a:spcPct val="95000"/>
              </a:lnSpc>
              <a:spcBef>
                <a:spcPts val="1110"/>
              </a:spcBef>
              <a:spcAft>
                <a:spcPct val="0"/>
              </a:spcAft>
              <a:buClr>
                <a:schemeClr val="tx1"/>
              </a:buClr>
              <a:buSzPct val="80000"/>
              <a:buFont typeface="Arial"/>
              <a:buChar char="•"/>
            </a:pPr>
            <a:r>
              <a:rPr lang="en-US"/>
              <a:t>Click to edit Master text styles</a:t>
            </a:r>
          </a:p>
          <a:p>
            <a:pPr lvl="1"/>
            <a:r>
              <a:rPr lang="en-US"/>
              <a:t>Second level</a:t>
            </a:r>
          </a:p>
          <a:p>
            <a:pPr lvl="2"/>
            <a:r>
              <a:rPr lang="en-US"/>
              <a:t>Third level</a:t>
            </a:r>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4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1"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2" name="Picture 11">
            <a:extLst>
              <a:ext uri="{FF2B5EF4-FFF2-40B4-BE49-F238E27FC236}">
                <a16:creationId xmlns:a16="http://schemas.microsoft.com/office/drawing/2014/main" id="{51B0C9CD-6A5F-B74D-A3DB-29116E1FB629}"/>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34F0EFFA-6A8E-CB48-8308-7F42391C9C7F}"/>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328379227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443997" y="192024"/>
            <a:ext cx="8257032" cy="731520"/>
          </a:xfrm>
        </p:spPr>
        <p:txBody>
          <a:bodyPr anchor="t" anchorCtr="0"/>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9" name="Content Placeholder 4"/>
          <p:cNvSpPr>
            <a:spLocks noGrp="1"/>
          </p:cNvSpPr>
          <p:nvPr>
            <p:ph sz="quarter" idx="11"/>
          </p:nvPr>
        </p:nvSpPr>
        <p:spPr>
          <a:xfrm>
            <a:off x="443997" y="1270860"/>
            <a:ext cx="8257032" cy="3319427"/>
          </a:xfrm>
          <a:prstGeom prst="rect">
            <a:avLst/>
          </a:prstGeom>
        </p:spPr>
        <p:txBody>
          <a:bodyPr/>
          <a:lstStyle>
            <a:lvl1pPr marL="171450" indent="-171450" algn="l" defTabSz="684213" rtl="0" eaLnBrk="1" fontAlgn="base" hangingPunct="1">
              <a:lnSpc>
                <a:spcPct val="95000"/>
              </a:lnSpc>
              <a:spcBef>
                <a:spcPts val="1110"/>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2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1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Bef>
                <a:spcPts val="600"/>
              </a:spcBef>
              <a:spcAft>
                <a:spcPct val="0"/>
              </a:spcAft>
              <a:buClr>
                <a:schemeClr val="tx1"/>
              </a:buClr>
              <a:buSzPct val="80000"/>
              <a:buFont typeface="Arial"/>
              <a:buChar char="•"/>
              <a:defRPr lang="en-US" sz="1800" b="0" i="0" kern="1200" dirty="0">
                <a:solidFill>
                  <a:schemeClr val="tx1"/>
                </a:solidFill>
                <a:latin typeface="CiscoSansTT Light" panose="020B0503020201020303" pitchFamily="34" charset="0"/>
                <a:ea typeface="CiscoSansTT Thin" charset="0"/>
                <a:cs typeface="CiscoSansTT Thin" charset="0"/>
              </a:defRPr>
            </a:lvl4pPr>
          </a:lstStyle>
          <a:p>
            <a:pPr marL="171450" lvl="0" indent="-171450" algn="l" defTabSz="684213" rtl="0" eaLnBrk="1" fontAlgn="base" hangingPunct="1">
              <a:lnSpc>
                <a:spcPct val="95000"/>
              </a:lnSpc>
              <a:spcBef>
                <a:spcPts val="1110"/>
              </a:spcBef>
              <a:spcAft>
                <a:spcPct val="0"/>
              </a:spcAft>
              <a:buClr>
                <a:schemeClr val="tx1"/>
              </a:buClr>
              <a:buSzPct val="80000"/>
              <a:buFont typeface="Arial"/>
              <a:buChar char="•"/>
            </a:pPr>
            <a:r>
              <a:rPr lang="en-US"/>
              <a:t>Click to edit Master text styles</a:t>
            </a:r>
          </a:p>
          <a:p>
            <a:pPr lvl="1"/>
            <a:r>
              <a:rPr lang="en-US"/>
              <a:t>Second level</a:t>
            </a:r>
          </a:p>
          <a:p>
            <a:pPr lvl="2"/>
            <a:r>
              <a:rPr lang="en-US"/>
              <a:t>Third level</a:t>
            </a:r>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4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1"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0" name="Picture 9">
            <a:extLst>
              <a:ext uri="{FF2B5EF4-FFF2-40B4-BE49-F238E27FC236}">
                <a16:creationId xmlns:a16="http://schemas.microsoft.com/office/drawing/2014/main" id="{A5CDD692-B530-7F47-B525-5A0E12948AB1}"/>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F6B67C89-1FA3-914A-B930-F8FDC4A9EB52}"/>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2132599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100010134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and Subtitle and Bullet">
    <p:spTree>
      <p:nvGrpSpPr>
        <p:cNvPr id="1" name=""/>
        <p:cNvGrpSpPr/>
        <p:nvPr/>
      </p:nvGrpSpPr>
      <p:grpSpPr>
        <a:xfrm>
          <a:off x="0" y="0"/>
          <a:ext cx="0" cy="0"/>
          <a:chOff x="0" y="0"/>
          <a:chExt cx="0" cy="0"/>
        </a:xfrm>
      </p:grpSpPr>
      <p:sp>
        <p:nvSpPr>
          <p:cNvPr id="6" name="Title 1"/>
          <p:cNvSpPr>
            <a:spLocks noGrp="1"/>
          </p:cNvSpPr>
          <p:nvPr>
            <p:ph type="title"/>
          </p:nvPr>
        </p:nvSpPr>
        <p:spPr>
          <a:xfrm>
            <a:off x="443997" y="192024"/>
            <a:ext cx="8257032" cy="731520"/>
          </a:xfrm>
        </p:spPr>
        <p:txBody>
          <a:bodyPr anchor="t" anchorCtr="0"/>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9" name="Content Placeholder 4"/>
          <p:cNvSpPr>
            <a:spLocks noGrp="1"/>
          </p:cNvSpPr>
          <p:nvPr>
            <p:ph sz="quarter" idx="11" hasCustomPrompt="1"/>
          </p:nvPr>
        </p:nvSpPr>
        <p:spPr>
          <a:xfrm>
            <a:off x="443997" y="1270818"/>
            <a:ext cx="8257032" cy="3319469"/>
          </a:xfrm>
          <a:prstGeom prst="rect">
            <a:avLst/>
          </a:prstGeom>
        </p:spPr>
        <p:txBody>
          <a:bodyPr/>
          <a:lstStyle>
            <a:lvl1pPr marL="169863" indent="-169863" algn="l" defTabSz="684213" rtl="0" eaLnBrk="1" fontAlgn="base" hangingPunct="1">
              <a:lnSpc>
                <a:spcPct val="95000"/>
              </a:lnSpc>
              <a:spcBef>
                <a:spcPts val="1101"/>
              </a:spcBef>
              <a:spcAft>
                <a:spcPct val="0"/>
              </a:spcAft>
              <a:buClr>
                <a:schemeClr val="tx1"/>
              </a:buClr>
              <a:buSzPct val="80000"/>
              <a:buFont typeface="Arial"/>
              <a:buChar char="•"/>
              <a:defRPr lang="en-US" sz="1600" b="0" i="0" kern="1200" dirty="0">
                <a:solidFill>
                  <a:schemeClr val="tx1"/>
                </a:solidFill>
                <a:latin typeface="CiscoSansTT Light" panose="020B0503020201020303" pitchFamily="34" charset="0"/>
                <a:ea typeface="CiscoSansTT Thin" charset="0"/>
                <a:cs typeface="CiscoSansTT Thin" charset="0"/>
              </a:defRPr>
            </a:lvl1pPr>
            <a:lvl2pPr marL="341313" indent="-171450" algn="l" defTabSz="684213" rtl="0" eaLnBrk="1" fontAlgn="base" hangingPunct="1">
              <a:lnSpc>
                <a:spcPct val="95000"/>
              </a:lnSpc>
              <a:spcBef>
                <a:spcPts val="600"/>
              </a:spcBef>
              <a:spcAft>
                <a:spcPct val="0"/>
              </a:spcAft>
              <a:buClr>
                <a:schemeClr val="tx1"/>
              </a:buClr>
              <a:buSzPct val="80000"/>
              <a:buFont typeface="Arial"/>
              <a:buChar char="•"/>
              <a:defRPr lang="en-US" sz="1200" b="0" i="0" kern="1200" dirty="0">
                <a:solidFill>
                  <a:schemeClr val="tx1"/>
                </a:solidFill>
                <a:latin typeface="CiscoSansTT Light" panose="020B0503020201020303" pitchFamily="34" charset="0"/>
                <a:ea typeface="CiscoSansTT Thin" charset="0"/>
                <a:cs typeface="CiscoSansTT Thin" charset="0"/>
              </a:defRPr>
            </a:lvl2pPr>
            <a:lvl3pPr marL="511175" indent="-169863" algn="l" defTabSz="684213" rtl="0" eaLnBrk="1" fontAlgn="base" hangingPunct="1">
              <a:lnSpc>
                <a:spcPct val="95000"/>
              </a:lnSpc>
              <a:spcBef>
                <a:spcPts val="600"/>
              </a:spcBef>
              <a:spcAft>
                <a:spcPct val="0"/>
              </a:spcAft>
              <a:buClr>
                <a:schemeClr val="tx1"/>
              </a:buClr>
              <a:buSzPct val="80000"/>
              <a:buFont typeface="Arial"/>
              <a:buChar char="•"/>
              <a:defRPr lang="en-US" sz="1100" b="0" i="0" kern="1200" dirty="0">
                <a:solidFill>
                  <a:schemeClr val="tx1"/>
                </a:solidFill>
                <a:latin typeface="CiscoSansTT Light" panose="020B0503020201020303" pitchFamily="34" charset="0"/>
                <a:ea typeface="CiscoSansTT Thin" charset="0"/>
                <a:cs typeface="CiscoSansTT Thin" charset="0"/>
              </a:defRPr>
            </a:lvl3pPr>
            <a:lvl4pPr marL="503238" indent="-169863" algn="l" defTabSz="684213" rtl="0" eaLnBrk="1" fontAlgn="base" hangingPunct="1">
              <a:lnSpc>
                <a:spcPct val="95000"/>
              </a:lnSpc>
              <a:spcAft>
                <a:spcPct val="0"/>
              </a:spcAft>
              <a:buClr>
                <a:schemeClr val="tx1"/>
              </a:buClr>
              <a:buSzPct val="80000"/>
              <a:buFont typeface="Arial"/>
              <a:buChar char="•"/>
              <a:defRPr lang="en-US" sz="2000" b="0" i="0" kern="1200" dirty="0">
                <a:solidFill>
                  <a:schemeClr val="tx1"/>
                </a:solidFill>
                <a:latin typeface="CiscoSansTT Light" panose="020B0503020201020303" pitchFamily="34" charset="0"/>
                <a:ea typeface="CiscoSansTT Thin" charset="0"/>
                <a:cs typeface="CiscoSansTT Thin" charset="0"/>
              </a:defRPr>
            </a:lvl4pPr>
          </a:lstStyle>
          <a:p>
            <a:pPr marL="171450" lvl="0" indent="-171450" algn="l" defTabSz="684213" rtl="0" eaLnBrk="1" fontAlgn="base" hangingPunct="1">
              <a:lnSpc>
                <a:spcPct val="95000"/>
              </a:lnSpc>
              <a:spcBef>
                <a:spcPts val="1110"/>
              </a:spcBef>
              <a:spcAft>
                <a:spcPct val="0"/>
              </a:spcAft>
              <a:buClr>
                <a:schemeClr val="tx1"/>
              </a:buClr>
              <a:buSzPct val="80000"/>
              <a:buFont typeface="Arial"/>
              <a:buChar char="•"/>
            </a:pPr>
            <a:r>
              <a:rPr lang="en-US"/>
              <a:t>Click to edit Master text styles</a:t>
            </a:r>
          </a:p>
          <a:p>
            <a:pPr lvl="1"/>
            <a:r>
              <a:rPr lang="en-US"/>
              <a:t>Second level</a:t>
            </a:r>
          </a:p>
          <a:p>
            <a:pPr lvl="2"/>
            <a:r>
              <a:rPr lang="en-US"/>
              <a:t>Third level</a:t>
            </a:r>
          </a:p>
        </p:txBody>
      </p:sp>
      <p:sp>
        <p:nvSpPr>
          <p:cNvPr id="10" name="Text Placeholder 5"/>
          <p:cNvSpPr>
            <a:spLocks noGrp="1"/>
          </p:cNvSpPr>
          <p:nvPr>
            <p:ph type="body" sz="quarter" idx="12"/>
          </p:nvPr>
        </p:nvSpPr>
        <p:spPr>
          <a:xfrm>
            <a:off x="443997" y="693926"/>
            <a:ext cx="8266112" cy="381000"/>
          </a:xfrm>
          <a:prstGeom prst="rect">
            <a:avLst/>
          </a:prstGeom>
        </p:spPr>
        <p:txBody>
          <a:bodyPr/>
          <a:lstStyle>
            <a:lvl1pPr marL="1785" indent="0">
              <a:buNone/>
              <a:defRPr lang="en-US" sz="18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GB"/>
              <a:t>Click to edit Master text styles</a:t>
            </a:r>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4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1"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2" name="Picture 11">
            <a:extLst>
              <a:ext uri="{FF2B5EF4-FFF2-40B4-BE49-F238E27FC236}">
                <a16:creationId xmlns:a16="http://schemas.microsoft.com/office/drawing/2014/main" id="{C6184160-2D27-BE42-9201-9E40202CD9A4}"/>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13" name="Picture 12">
            <a:extLst>
              <a:ext uri="{FF2B5EF4-FFF2-40B4-BE49-F238E27FC236}">
                <a16:creationId xmlns:a16="http://schemas.microsoft.com/office/drawing/2014/main" id="{7C87C6B8-5C32-4548-A9C8-275373BBF792}"/>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325109172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45200" y="1270860"/>
            <a:ext cx="3886200" cy="3018131"/>
          </a:xfrm>
          <a:prstGeom prst="rect">
            <a:avLst/>
          </a:prstGeom>
        </p:spPr>
        <p:txBody>
          <a:bodyPr lIns="91440" tIns="45710" rIns="0" bIns="45710">
            <a:noAutofit/>
          </a:bodyPr>
          <a:lstStyle>
            <a:lvl1pPr marL="115888" indent="-115888">
              <a:lnSpc>
                <a:spcPct val="95000"/>
              </a:lnSpc>
              <a:spcBef>
                <a:spcPts val="1075"/>
              </a:spcBef>
              <a:buClr>
                <a:schemeClr val="tx1"/>
              </a:buClr>
              <a:buSzPct val="60000"/>
              <a:buFont typeface="Arial"/>
              <a:buChar char="•"/>
              <a:defRPr sz="1600" b="0" i="0">
                <a:solidFill>
                  <a:schemeClr val="tx1"/>
                </a:solidFill>
                <a:latin typeface="CiscoSansTT Light" panose="020B0503020201020303" pitchFamily="34" charset="0"/>
                <a:cs typeface="CiscoSans ExtraLight"/>
              </a:defRPr>
            </a:lvl1pPr>
            <a:lvl2pPr marL="231775" indent="-111125">
              <a:lnSpc>
                <a:spcPct val="95000"/>
              </a:lnSpc>
              <a:spcBef>
                <a:spcPts val="600"/>
              </a:spcBef>
              <a:buClr>
                <a:schemeClr val="tx1"/>
              </a:buClr>
              <a:buSzPct val="60000"/>
              <a:buFont typeface="Arial"/>
              <a:buChar char="•"/>
              <a:defRPr sz="1200" b="0" i="0">
                <a:solidFill>
                  <a:schemeClr val="tx1"/>
                </a:solidFill>
                <a:latin typeface="CiscoSansTT Light" panose="020B0503020201020303" pitchFamily="34" charset="0"/>
                <a:cs typeface="CiscoSans ExtraLight"/>
              </a:defRPr>
            </a:lvl2pPr>
            <a:lvl3pPr marL="341313" indent="-114300">
              <a:spcBef>
                <a:spcPts val="600"/>
              </a:spcBef>
              <a:buClr>
                <a:schemeClr val="tx1"/>
              </a:buClr>
              <a:buSzPct val="60000"/>
              <a:buFont typeface="Arial"/>
              <a:buChar char="•"/>
              <a:tabLst/>
              <a:defRPr sz="1100" b="0" i="0">
                <a:solidFill>
                  <a:schemeClr val="tx1"/>
                </a:solidFill>
                <a:latin typeface="CiscoSansTT Light" panose="020B0503020201020303" pitchFamily="34" charset="0"/>
                <a:cs typeface="CiscoSans ExtraLight"/>
              </a:defRPr>
            </a:lvl3pPr>
            <a:lvl4pPr marL="517525" indent="-114300">
              <a:buClr>
                <a:schemeClr val="tx1"/>
              </a:buClr>
              <a:buSzPct val="60000"/>
              <a:buFont typeface="Arial"/>
              <a:buChar char="•"/>
              <a:defRPr sz="1400" b="0" i="0">
                <a:solidFill>
                  <a:schemeClr val="tx1"/>
                </a:solidFill>
                <a:latin typeface="CiscoSansTT Light" panose="020B0503020201020303" pitchFamily="34" charset="0"/>
                <a:cs typeface="CiscoSans ExtraLight"/>
              </a:defRPr>
            </a:lvl4pPr>
            <a:lvl5pPr marL="631825" indent="-114300">
              <a:buClr>
                <a:schemeClr val="tx1"/>
              </a:buClr>
              <a:buSzPct val="60000"/>
              <a:buFont typeface="Arial"/>
              <a:buChar char="•"/>
              <a:defRPr sz="1200" b="0" i="0">
                <a:solidFill>
                  <a:schemeClr val="tx1"/>
                </a:solidFill>
                <a:latin typeface="CiscoSansTT Light" panose="020B0503020201020303" pitchFamily="34" charset="0"/>
                <a:cs typeface="CiscoSans ExtraLight"/>
              </a:defRPr>
            </a:lvl5pPr>
          </a:lstStyle>
          <a:p>
            <a:pPr lvl="0"/>
            <a:r>
              <a:rPr lang="en-US"/>
              <a:t>Click to edit Master text styles</a:t>
            </a:r>
          </a:p>
          <a:p>
            <a:pPr lvl="1"/>
            <a:r>
              <a:rPr lang="en-US"/>
              <a:t>Second level</a:t>
            </a:r>
          </a:p>
          <a:p>
            <a:pPr lvl="2"/>
            <a:r>
              <a:rPr lang="en-US"/>
              <a:t>Third level</a:t>
            </a:r>
          </a:p>
        </p:txBody>
      </p:sp>
      <p:sp>
        <p:nvSpPr>
          <p:cNvPr id="5" name="Title Placeholder 5"/>
          <p:cNvSpPr>
            <a:spLocks noGrp="1"/>
          </p:cNvSpPr>
          <p:nvPr>
            <p:ph type="title"/>
          </p:nvPr>
        </p:nvSpPr>
        <p:spPr bwMode="auto">
          <a:xfrm>
            <a:off x="445200" y="192024"/>
            <a:ext cx="8257475"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sp>
        <p:nvSpPr>
          <p:cNvPr id="11" name="Text Placeholder 3"/>
          <p:cNvSpPr>
            <a:spLocks noGrp="1"/>
          </p:cNvSpPr>
          <p:nvPr>
            <p:ph type="body" sz="quarter" idx="12"/>
          </p:nvPr>
        </p:nvSpPr>
        <p:spPr>
          <a:xfrm>
            <a:off x="4843616" y="1270860"/>
            <a:ext cx="3886200" cy="3018131"/>
          </a:xfrm>
          <a:prstGeom prst="rect">
            <a:avLst/>
          </a:prstGeom>
        </p:spPr>
        <p:txBody>
          <a:bodyPr lIns="91440" tIns="45710" rIns="0" bIns="45710">
            <a:noAutofit/>
          </a:bodyPr>
          <a:lstStyle>
            <a:lvl1pPr marL="115888" indent="-115888">
              <a:lnSpc>
                <a:spcPct val="95000"/>
              </a:lnSpc>
              <a:spcBef>
                <a:spcPts val="1075"/>
              </a:spcBef>
              <a:buClr>
                <a:schemeClr val="tx1"/>
              </a:buClr>
              <a:buSzPct val="60000"/>
              <a:buFont typeface="Arial"/>
              <a:buChar char="•"/>
              <a:defRPr sz="1600" b="0" i="0">
                <a:solidFill>
                  <a:schemeClr val="tx1"/>
                </a:solidFill>
                <a:latin typeface="CiscoSansTT Light" panose="020B0503020201020303" pitchFamily="34" charset="0"/>
                <a:cs typeface="CiscoSans ExtraLight"/>
              </a:defRPr>
            </a:lvl1pPr>
            <a:lvl2pPr marL="231775" indent="-111125">
              <a:lnSpc>
                <a:spcPct val="95000"/>
              </a:lnSpc>
              <a:spcBef>
                <a:spcPts val="600"/>
              </a:spcBef>
              <a:buClr>
                <a:schemeClr val="tx1"/>
              </a:buClr>
              <a:buSzPct val="60000"/>
              <a:buFont typeface="Arial"/>
              <a:buChar char="•"/>
              <a:defRPr sz="1200" b="0" i="0">
                <a:solidFill>
                  <a:schemeClr val="tx1"/>
                </a:solidFill>
                <a:latin typeface="CiscoSansTT Light" panose="020B0503020201020303" pitchFamily="34" charset="0"/>
                <a:cs typeface="CiscoSans ExtraLight"/>
              </a:defRPr>
            </a:lvl2pPr>
            <a:lvl3pPr marL="341313" indent="-114300">
              <a:spcBef>
                <a:spcPts val="600"/>
              </a:spcBef>
              <a:buClr>
                <a:schemeClr val="tx1"/>
              </a:buClr>
              <a:buSzPct val="60000"/>
              <a:buFont typeface="Arial"/>
              <a:buChar char="•"/>
              <a:tabLst/>
              <a:defRPr sz="1100" b="0" i="0">
                <a:solidFill>
                  <a:schemeClr val="tx1"/>
                </a:solidFill>
                <a:latin typeface="CiscoSansTT Light" panose="020B0503020201020303" pitchFamily="34" charset="0"/>
                <a:cs typeface="CiscoSans ExtraLight"/>
              </a:defRPr>
            </a:lvl3pPr>
            <a:lvl4pPr marL="517525" indent="-114300">
              <a:buClr>
                <a:schemeClr val="tx1"/>
              </a:buClr>
              <a:buSzPct val="60000"/>
              <a:buFont typeface="Arial"/>
              <a:buChar char="•"/>
              <a:defRPr sz="1400" b="0" i="0">
                <a:solidFill>
                  <a:schemeClr val="tx1"/>
                </a:solidFill>
                <a:latin typeface="CiscoSansTT Light" panose="020B0503020201020303" pitchFamily="34" charset="0"/>
                <a:cs typeface="CiscoSans ExtraLight"/>
              </a:defRPr>
            </a:lvl4pPr>
            <a:lvl5pPr marL="631825" indent="-114300">
              <a:buClr>
                <a:schemeClr val="tx1"/>
              </a:buClr>
              <a:buSzPct val="60000"/>
              <a:buFont typeface="Arial"/>
              <a:buChar char="•"/>
              <a:defRPr sz="1200" b="0" i="0">
                <a:solidFill>
                  <a:schemeClr val="tx1"/>
                </a:solidFill>
                <a:latin typeface="CiscoSansTT Light" panose="020B0503020201020303" pitchFamily="34" charset="0"/>
                <a:cs typeface="CiscoSans ExtraLight"/>
              </a:defRPr>
            </a:lvl5pPr>
          </a:lstStyle>
          <a:p>
            <a:pPr lvl="0"/>
            <a:r>
              <a:rPr lang="en-US"/>
              <a:t>Click to edit Master text styles</a:t>
            </a:r>
          </a:p>
          <a:p>
            <a:pPr lvl="1"/>
            <a:r>
              <a:rPr lang="en-US"/>
              <a:t>Second level</a:t>
            </a:r>
          </a:p>
          <a:p>
            <a:pPr lvl="2"/>
            <a:r>
              <a:rPr lang="en-US"/>
              <a:t>Third level</a:t>
            </a:r>
          </a:p>
        </p:txBody>
      </p:sp>
      <p:pic>
        <p:nvPicPr>
          <p:cNvPr id="12" name="Picture 11">
            <a:extLst>
              <a:ext uri="{FF2B5EF4-FFF2-40B4-BE49-F238E27FC236}">
                <a16:creationId xmlns:a16="http://schemas.microsoft.com/office/drawing/2014/main" id="{BEC6A2E5-076D-A14F-AFA2-E1EEDD0BCAFB}"/>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9" name="Picture 8">
            <a:extLst>
              <a:ext uri="{FF2B5EF4-FFF2-40B4-BE49-F238E27FC236}">
                <a16:creationId xmlns:a16="http://schemas.microsoft.com/office/drawing/2014/main" id="{1EB867D5-0CBE-9748-ACEC-523E979CACA5}"/>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99912003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17"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spTree>
    <p:extLst>
      <p:ext uri="{BB962C8B-B14F-4D97-AF65-F5344CB8AC3E}">
        <p14:creationId xmlns:p14="http://schemas.microsoft.com/office/powerpoint/2010/main" val="424623069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45200" y="192024"/>
            <a:ext cx="8257032"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17"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9" name="Picture 8">
            <a:extLst>
              <a:ext uri="{FF2B5EF4-FFF2-40B4-BE49-F238E27FC236}">
                <a16:creationId xmlns:a16="http://schemas.microsoft.com/office/drawing/2014/main" id="{CDE42504-9166-5A48-A590-1F5BFFDB3137}"/>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7" name="Picture 6">
            <a:extLst>
              <a:ext uri="{FF2B5EF4-FFF2-40B4-BE49-F238E27FC236}">
                <a16:creationId xmlns:a16="http://schemas.microsoft.com/office/drawing/2014/main" id="{F727CC0D-836A-FF46-99A1-282DA6610CB7}"/>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8094993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p:nvPr>
        </p:nvSpPr>
        <p:spPr>
          <a:xfrm>
            <a:off x="443996" y="192024"/>
            <a:ext cx="8257032" cy="731520"/>
          </a:xfrm>
        </p:spPr>
        <p:txBody>
          <a:bodyPr anchor="t" anchorCtr="0"/>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22"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5"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0" name="Picture 9">
            <a:extLst>
              <a:ext uri="{FF2B5EF4-FFF2-40B4-BE49-F238E27FC236}">
                <a16:creationId xmlns:a16="http://schemas.microsoft.com/office/drawing/2014/main" id="{4220DF48-BDFC-6C4D-852A-F091CB4B5EC3}"/>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88DB9FFD-B441-534D-8612-1D17B7160888}"/>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1" name="Text Placeholder 5">
            <a:extLst>
              <a:ext uri="{FF2B5EF4-FFF2-40B4-BE49-F238E27FC236}">
                <a16:creationId xmlns:a16="http://schemas.microsoft.com/office/drawing/2014/main" id="{063F1889-DBF6-E94E-9AC0-FE01FE89F689}"/>
              </a:ext>
            </a:extLst>
          </p:cNvPr>
          <p:cNvSpPr>
            <a:spLocks noGrp="1"/>
          </p:cNvSpPr>
          <p:nvPr>
            <p:ph type="body" sz="quarter" idx="13"/>
          </p:nvPr>
        </p:nvSpPr>
        <p:spPr>
          <a:xfrm>
            <a:off x="443997" y="693926"/>
            <a:ext cx="8266112" cy="381000"/>
          </a:xfrm>
          <a:prstGeom prst="rect">
            <a:avLst/>
          </a:prstGeom>
        </p:spPr>
        <p:txBody>
          <a:bodyPr/>
          <a:lstStyle>
            <a:lvl1pPr marL="1785" indent="0">
              <a:buNone/>
              <a:defRPr lang="en-US" sz="18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GB"/>
              <a:t>Click to edit Master text styles</a:t>
            </a:r>
          </a:p>
        </p:txBody>
      </p:sp>
    </p:spTree>
    <p:extLst>
      <p:ext uri="{BB962C8B-B14F-4D97-AF65-F5344CB8AC3E}">
        <p14:creationId xmlns:p14="http://schemas.microsoft.com/office/powerpoint/2010/main" val="1419060761"/>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 Column with Title and Subtitle">
    <p:spTree>
      <p:nvGrpSpPr>
        <p:cNvPr id="1" name=""/>
        <p:cNvGrpSpPr/>
        <p:nvPr/>
      </p:nvGrpSpPr>
      <p:grpSpPr>
        <a:xfrm>
          <a:off x="0" y="0"/>
          <a:ext cx="0" cy="0"/>
          <a:chOff x="0" y="0"/>
          <a:chExt cx="0" cy="0"/>
        </a:xfrm>
      </p:grpSpPr>
      <p:sp>
        <p:nvSpPr>
          <p:cNvPr id="12" name="Title 1"/>
          <p:cNvSpPr>
            <a:spLocks noGrp="1"/>
          </p:cNvSpPr>
          <p:nvPr>
            <p:ph type="title"/>
          </p:nvPr>
        </p:nvSpPr>
        <p:spPr>
          <a:xfrm>
            <a:off x="443997" y="192024"/>
            <a:ext cx="8257032" cy="731520"/>
          </a:xfrm>
        </p:spPr>
        <p:txBody>
          <a:bodyPr anchor="t"/>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13" name="Content Placeholder 4"/>
          <p:cNvSpPr>
            <a:spLocks noGrp="1"/>
          </p:cNvSpPr>
          <p:nvPr>
            <p:ph sz="quarter" idx="11" hasCustomPrompt="1"/>
          </p:nvPr>
        </p:nvSpPr>
        <p:spPr>
          <a:xfrm>
            <a:off x="443997" y="1256412"/>
            <a:ext cx="3886200" cy="3097819"/>
          </a:xfrm>
          <a:prstGeom prst="rect">
            <a:avLst/>
          </a:prstGeom>
        </p:spPr>
        <p:txBody>
          <a:bodyPr/>
          <a:lstStyle>
            <a:lvl1pPr marL="115888" indent="-115888">
              <a:buClr>
                <a:schemeClr val="tx1"/>
              </a:buClr>
              <a:buSzPct val="60000"/>
              <a:defRPr sz="1600">
                <a:solidFill>
                  <a:schemeClr val="tx1"/>
                </a:solidFill>
                <a:latin typeface="CiscoSansTT Light" panose="020B0503020201020303" pitchFamily="34" charset="0"/>
              </a:defRPr>
            </a:lvl1pPr>
            <a:lvl2pPr marL="231775" indent="-115888">
              <a:spcBef>
                <a:spcPts val="600"/>
              </a:spcBef>
              <a:buClr>
                <a:schemeClr val="tx1"/>
              </a:buClr>
              <a:buSzPct val="60000"/>
              <a:defRPr sz="1200">
                <a:solidFill>
                  <a:schemeClr val="tx1"/>
                </a:solidFill>
                <a:latin typeface="CiscoSansTT Light" panose="020B0503020201020303" pitchFamily="34" charset="0"/>
              </a:defRPr>
            </a:lvl2pPr>
            <a:lvl3pPr marL="341313" indent="-109538">
              <a:spcBef>
                <a:spcPts val="600"/>
              </a:spcBef>
              <a:buClr>
                <a:schemeClr val="tx1"/>
              </a:buClr>
              <a:buSzPct val="60000"/>
              <a:defRPr sz="1100">
                <a:solidFill>
                  <a:schemeClr val="tx1"/>
                </a:solidFill>
                <a:latin typeface="CiscoSansTT Light" panose="020B0503020201020303" pitchFamily="34" charset="0"/>
              </a:defRPr>
            </a:lvl3pPr>
            <a:lvl4pPr>
              <a:defRPr>
                <a:solidFill>
                  <a:schemeClr val="tx1"/>
                </a:solidFill>
                <a:latin typeface="CiscoSansTT Light" panose="020B0503020201020303" pitchFamily="34" charset="0"/>
              </a:defRPr>
            </a:lvl4pPr>
          </a:lstStyle>
          <a:p>
            <a:pPr lvl="0"/>
            <a:r>
              <a:rPr lang="en-US"/>
              <a:t>Click to edit Master text styles</a:t>
            </a:r>
          </a:p>
          <a:p>
            <a:pPr lvl="1"/>
            <a:r>
              <a:rPr lang="en-US"/>
              <a:t>Second level</a:t>
            </a:r>
          </a:p>
          <a:p>
            <a:pPr lvl="2"/>
            <a:r>
              <a:rPr lang="en-US"/>
              <a:t>Third level</a:t>
            </a:r>
          </a:p>
        </p:txBody>
      </p:sp>
      <p:sp>
        <p:nvSpPr>
          <p:cNvPr id="2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1"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sp>
        <p:nvSpPr>
          <p:cNvPr id="16" name="Content Placeholder 4"/>
          <p:cNvSpPr>
            <a:spLocks noGrp="1"/>
          </p:cNvSpPr>
          <p:nvPr>
            <p:ph sz="quarter" idx="13" hasCustomPrompt="1"/>
          </p:nvPr>
        </p:nvSpPr>
        <p:spPr>
          <a:xfrm>
            <a:off x="4798825" y="1256412"/>
            <a:ext cx="3886200" cy="3097819"/>
          </a:xfrm>
          <a:prstGeom prst="rect">
            <a:avLst/>
          </a:prstGeom>
        </p:spPr>
        <p:txBody>
          <a:bodyPr/>
          <a:lstStyle>
            <a:lvl1pPr marL="115888" indent="-115888">
              <a:buClr>
                <a:schemeClr val="tx1"/>
              </a:buClr>
              <a:buSzPct val="60000"/>
              <a:defRPr sz="1600">
                <a:solidFill>
                  <a:schemeClr val="tx1"/>
                </a:solidFill>
                <a:latin typeface="CiscoSansTT Light" panose="020B0503020201020303" pitchFamily="34" charset="0"/>
              </a:defRPr>
            </a:lvl1pPr>
            <a:lvl2pPr marL="231775" indent="-115888">
              <a:spcBef>
                <a:spcPts val="600"/>
              </a:spcBef>
              <a:buClr>
                <a:schemeClr val="tx1"/>
              </a:buClr>
              <a:buSzPct val="60000"/>
              <a:defRPr sz="1200">
                <a:solidFill>
                  <a:schemeClr val="tx1"/>
                </a:solidFill>
                <a:latin typeface="CiscoSansTT Light" panose="020B0503020201020303" pitchFamily="34" charset="0"/>
              </a:defRPr>
            </a:lvl2pPr>
            <a:lvl3pPr marL="341313" indent="-109538">
              <a:spcBef>
                <a:spcPts val="600"/>
              </a:spcBef>
              <a:buClr>
                <a:schemeClr val="tx1"/>
              </a:buClr>
              <a:buSzPct val="60000"/>
              <a:defRPr sz="1100">
                <a:solidFill>
                  <a:schemeClr val="tx1"/>
                </a:solidFill>
                <a:latin typeface="CiscoSansTT Light" panose="020B0503020201020303" pitchFamily="34" charset="0"/>
              </a:defRPr>
            </a:lvl3pPr>
            <a:lvl4pPr>
              <a:defRPr>
                <a:solidFill>
                  <a:schemeClr val="tx1"/>
                </a:solidFill>
                <a:latin typeface="CiscoSansTT Light" panose="020B0503020201020303" pitchFamily="34" charset="0"/>
              </a:defRPr>
            </a:lvl4pPr>
          </a:lstStyle>
          <a:p>
            <a:pPr lvl="0"/>
            <a:r>
              <a:rPr lang="en-US"/>
              <a:t>Click to edit Master text styles</a:t>
            </a:r>
          </a:p>
          <a:p>
            <a:pPr lvl="1"/>
            <a:r>
              <a:rPr lang="en-US"/>
              <a:t>Second level</a:t>
            </a:r>
          </a:p>
          <a:p>
            <a:pPr lvl="2"/>
            <a:r>
              <a:rPr lang="en-US"/>
              <a:t>Third level</a:t>
            </a:r>
          </a:p>
        </p:txBody>
      </p:sp>
      <p:pic>
        <p:nvPicPr>
          <p:cNvPr id="15" name="Picture 14">
            <a:extLst>
              <a:ext uri="{FF2B5EF4-FFF2-40B4-BE49-F238E27FC236}">
                <a16:creationId xmlns:a16="http://schemas.microsoft.com/office/drawing/2014/main" id="{D6428087-D9BB-954B-95B1-25FD3DC95176}"/>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10" name="Picture 9">
            <a:extLst>
              <a:ext uri="{FF2B5EF4-FFF2-40B4-BE49-F238E27FC236}">
                <a16:creationId xmlns:a16="http://schemas.microsoft.com/office/drawing/2014/main" id="{39642738-9D81-FD48-9659-4BD954B72B61}"/>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7" name="Text Placeholder 5">
            <a:extLst>
              <a:ext uri="{FF2B5EF4-FFF2-40B4-BE49-F238E27FC236}">
                <a16:creationId xmlns:a16="http://schemas.microsoft.com/office/drawing/2014/main" id="{5CC19595-1856-C242-945F-A1BDD86BC8C4}"/>
              </a:ext>
            </a:extLst>
          </p:cNvPr>
          <p:cNvSpPr>
            <a:spLocks noGrp="1"/>
          </p:cNvSpPr>
          <p:nvPr>
            <p:ph type="body" sz="quarter" idx="12"/>
          </p:nvPr>
        </p:nvSpPr>
        <p:spPr>
          <a:xfrm>
            <a:off x="443997" y="693926"/>
            <a:ext cx="8266112" cy="381000"/>
          </a:xfrm>
          <a:prstGeom prst="rect">
            <a:avLst/>
          </a:prstGeom>
        </p:spPr>
        <p:txBody>
          <a:bodyPr/>
          <a:lstStyle>
            <a:lvl1pPr marL="1785" indent="0">
              <a:buNone/>
              <a:defRPr lang="en-US" sz="18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GB"/>
              <a:t>Click to edit Master text styles</a:t>
            </a:r>
          </a:p>
        </p:txBody>
      </p:sp>
    </p:spTree>
    <p:extLst>
      <p:ext uri="{BB962C8B-B14F-4D97-AF65-F5344CB8AC3E}">
        <p14:creationId xmlns:p14="http://schemas.microsoft.com/office/powerpoint/2010/main" val="61269197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Title and 3 Column Bullets">
    <p:spTree>
      <p:nvGrpSpPr>
        <p:cNvPr id="1" name=""/>
        <p:cNvGrpSpPr/>
        <p:nvPr/>
      </p:nvGrpSpPr>
      <p:grpSpPr>
        <a:xfrm>
          <a:off x="0" y="0"/>
          <a:ext cx="0" cy="0"/>
          <a:chOff x="0" y="0"/>
          <a:chExt cx="0" cy="0"/>
        </a:xfrm>
      </p:grpSpPr>
      <p:sp>
        <p:nvSpPr>
          <p:cNvPr id="9" name="Title 1"/>
          <p:cNvSpPr>
            <a:spLocks noGrp="1"/>
          </p:cNvSpPr>
          <p:nvPr>
            <p:ph type="title"/>
          </p:nvPr>
        </p:nvSpPr>
        <p:spPr>
          <a:xfrm>
            <a:off x="443996" y="192024"/>
            <a:ext cx="8257032"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defRPr lang="en-US" dirty="0"/>
            </a:lvl1pPr>
          </a:lstStyle>
          <a:p>
            <a:pPr lvl="0"/>
            <a:r>
              <a:rPr lang="en-GB"/>
              <a:t>Click to edit Master title style</a:t>
            </a:r>
            <a:endParaRPr lang="en-US"/>
          </a:p>
        </p:txBody>
      </p:sp>
      <p:sp>
        <p:nvSpPr>
          <p:cNvPr id="10" name="Content Placeholder 2"/>
          <p:cNvSpPr>
            <a:spLocks noGrp="1"/>
          </p:cNvSpPr>
          <p:nvPr>
            <p:ph idx="1" hasCustomPrompt="1"/>
          </p:nvPr>
        </p:nvSpPr>
        <p:spPr>
          <a:xfrm>
            <a:off x="443996" y="1256324"/>
            <a:ext cx="2651760" cy="3262760"/>
          </a:xfrm>
          <a:prstGeom prst="rect">
            <a:avLst/>
          </a:prstGeom>
        </p:spPr>
        <p:txBody>
          <a:bodyPr lIns="91440" tIns="45720" rIns="91440" bIns="45720"/>
          <a:lstStyle>
            <a:lvl1pPr marL="115888" indent="-115888">
              <a:spcBef>
                <a:spcPts val="1075"/>
              </a:spcBef>
              <a:buClr>
                <a:schemeClr val="tx1"/>
              </a:buClr>
              <a:buSzPct val="60000"/>
              <a:defRPr sz="1600">
                <a:solidFill>
                  <a:schemeClr val="tx1"/>
                </a:solidFill>
                <a:latin typeface="CiscoSansTT Light" panose="020B0503020201020303" pitchFamily="34" charset="0"/>
              </a:defRPr>
            </a:lvl1pPr>
            <a:lvl2pPr marL="231775" indent="-115888">
              <a:spcBef>
                <a:spcPts val="600"/>
              </a:spcBef>
              <a:buClr>
                <a:schemeClr val="tx1"/>
              </a:buClr>
              <a:buSzPct val="60000"/>
              <a:defRPr sz="1200">
                <a:solidFill>
                  <a:schemeClr val="tx1"/>
                </a:solidFill>
                <a:latin typeface="CiscoSansTT Light" panose="020B0503020201020303" pitchFamily="34" charset="0"/>
              </a:defRPr>
            </a:lvl2pPr>
            <a:lvl3pPr marL="341313" indent="-115888">
              <a:spcBef>
                <a:spcPts val="600"/>
              </a:spcBef>
              <a:buClr>
                <a:schemeClr val="tx1"/>
              </a:buClr>
              <a:buSzPct val="60000"/>
              <a:defRPr sz="1100">
                <a:solidFill>
                  <a:schemeClr val="tx1"/>
                </a:solidFill>
                <a:latin typeface="CiscoSansTT Light" panose="020B0503020201020303" pitchFamily="34" charset="0"/>
              </a:defRPr>
            </a:lvl3pPr>
            <a:lvl4pPr>
              <a:spcBef>
                <a:spcPts val="200"/>
              </a:spcBef>
              <a:defRPr sz="1050">
                <a:solidFill>
                  <a:schemeClr val="tx1"/>
                </a:solidFill>
                <a:latin typeface="CiscoSansTT Light" panose="020B0503020201020303" pitchFamily="34" charset="0"/>
              </a:defRPr>
            </a:lvl4pPr>
            <a:lvl5pPr>
              <a:spcBef>
                <a:spcPts val="675"/>
              </a:spcBef>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p:txBody>
      </p:sp>
      <p:sp>
        <p:nvSpPr>
          <p:cNvPr id="2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2"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sp>
        <p:nvSpPr>
          <p:cNvPr id="13" name="Content Placeholder 2"/>
          <p:cNvSpPr>
            <a:spLocks noGrp="1"/>
          </p:cNvSpPr>
          <p:nvPr>
            <p:ph idx="11"/>
          </p:nvPr>
        </p:nvSpPr>
        <p:spPr>
          <a:xfrm>
            <a:off x="3238160" y="1256324"/>
            <a:ext cx="2651760" cy="3262760"/>
          </a:xfrm>
          <a:prstGeom prst="rect">
            <a:avLst/>
          </a:prstGeom>
        </p:spPr>
        <p:txBody>
          <a:bodyPr lIns="91440" tIns="45720" rIns="91440" bIns="45720"/>
          <a:lstStyle>
            <a:lvl1pPr marL="115888" indent="-115888">
              <a:spcBef>
                <a:spcPts val="1075"/>
              </a:spcBef>
              <a:buClr>
                <a:schemeClr val="tx1"/>
              </a:buClr>
              <a:buSzPct val="60000"/>
              <a:defRPr sz="1600">
                <a:solidFill>
                  <a:schemeClr val="tx1"/>
                </a:solidFill>
                <a:latin typeface="CiscoSansTT Light" panose="020B0503020201020303" pitchFamily="34" charset="0"/>
              </a:defRPr>
            </a:lvl1pPr>
            <a:lvl2pPr marL="231775" indent="-115888">
              <a:spcBef>
                <a:spcPts val="600"/>
              </a:spcBef>
              <a:buClr>
                <a:schemeClr val="tx1"/>
              </a:buClr>
              <a:buSzPct val="60000"/>
              <a:defRPr sz="1200">
                <a:solidFill>
                  <a:schemeClr val="tx1"/>
                </a:solidFill>
                <a:latin typeface="CiscoSansTT Light" panose="020B0503020201020303" pitchFamily="34" charset="0"/>
              </a:defRPr>
            </a:lvl2pPr>
            <a:lvl3pPr marL="341313" indent="-115888">
              <a:spcBef>
                <a:spcPts val="600"/>
              </a:spcBef>
              <a:buClr>
                <a:schemeClr val="tx1"/>
              </a:buClr>
              <a:buSzPct val="60000"/>
              <a:defRPr sz="1100">
                <a:solidFill>
                  <a:schemeClr val="tx1"/>
                </a:solidFill>
                <a:latin typeface="CiscoSansTT Light" panose="020B0503020201020303" pitchFamily="34" charset="0"/>
              </a:defRPr>
            </a:lvl3pPr>
            <a:lvl4pPr>
              <a:spcBef>
                <a:spcPts val="200"/>
              </a:spcBef>
              <a:defRPr sz="1050">
                <a:solidFill>
                  <a:schemeClr val="tx1"/>
                </a:solidFill>
                <a:latin typeface="CiscoSansTT Light" panose="020B0503020201020303" pitchFamily="34" charset="0"/>
              </a:defRPr>
            </a:lvl4pPr>
            <a:lvl5pPr>
              <a:spcBef>
                <a:spcPts val="675"/>
              </a:spcBef>
              <a:defRPr>
                <a:solidFill>
                  <a:schemeClr val="tx1">
                    <a:lumMod val="75000"/>
                  </a:schemeClr>
                </a:solidFill>
              </a:defRPr>
            </a:lvl5pPr>
          </a:lstStyle>
          <a:p>
            <a:pPr marL="115888" marR="0" lvl="0" indent="-115888" algn="l" defTabSz="684213" rtl="0" eaLnBrk="1" fontAlgn="base" latinLnBrk="0" hangingPunct="1">
              <a:lnSpc>
                <a:spcPct val="95000"/>
              </a:lnSpc>
              <a:spcBef>
                <a:spcPts val="1075"/>
              </a:spcBef>
              <a:spcAft>
                <a:spcPct val="0"/>
              </a:spcAft>
              <a:buClr>
                <a:schemeClr val="tx1"/>
              </a:buClr>
              <a:buSzPct val="60000"/>
              <a:buFont typeface="Arial" charset="0"/>
              <a:buChar char="•"/>
              <a:tabLst/>
              <a:defRPr/>
            </a:pPr>
            <a:r>
              <a:rPr lang="en-US"/>
              <a:t>Click to edit Master text styles</a:t>
            </a:r>
          </a:p>
          <a:p>
            <a:pPr lvl="1"/>
            <a:r>
              <a:rPr lang="en-US"/>
              <a:t>Second level</a:t>
            </a:r>
          </a:p>
          <a:p>
            <a:pPr lvl="2"/>
            <a:r>
              <a:rPr lang="en-US"/>
              <a:t>Third level</a:t>
            </a:r>
          </a:p>
        </p:txBody>
      </p:sp>
      <p:sp>
        <p:nvSpPr>
          <p:cNvPr id="14" name="Content Placeholder 2"/>
          <p:cNvSpPr>
            <a:spLocks noGrp="1"/>
          </p:cNvSpPr>
          <p:nvPr>
            <p:ph idx="12" hasCustomPrompt="1"/>
          </p:nvPr>
        </p:nvSpPr>
        <p:spPr>
          <a:xfrm>
            <a:off x="6042616" y="1256324"/>
            <a:ext cx="2651760" cy="3262760"/>
          </a:xfrm>
          <a:prstGeom prst="rect">
            <a:avLst/>
          </a:prstGeom>
        </p:spPr>
        <p:txBody>
          <a:bodyPr lIns="91440" tIns="45720" rIns="91440" bIns="45720"/>
          <a:lstStyle>
            <a:lvl1pPr marL="115888" indent="-115888">
              <a:spcBef>
                <a:spcPts val="1075"/>
              </a:spcBef>
              <a:buClr>
                <a:schemeClr val="tx1"/>
              </a:buClr>
              <a:buSzPct val="60000"/>
              <a:defRPr sz="1600">
                <a:solidFill>
                  <a:schemeClr val="tx1"/>
                </a:solidFill>
                <a:latin typeface="CiscoSansTT Light" panose="020B0503020201020303" pitchFamily="34" charset="0"/>
              </a:defRPr>
            </a:lvl1pPr>
            <a:lvl2pPr marL="231775" indent="-115888">
              <a:spcBef>
                <a:spcPts val="600"/>
              </a:spcBef>
              <a:buClr>
                <a:schemeClr val="tx1"/>
              </a:buClr>
              <a:buSzPct val="60000"/>
              <a:defRPr sz="1200">
                <a:solidFill>
                  <a:schemeClr val="tx1"/>
                </a:solidFill>
                <a:latin typeface="CiscoSansTT Light" panose="020B0503020201020303" pitchFamily="34" charset="0"/>
              </a:defRPr>
            </a:lvl2pPr>
            <a:lvl3pPr marL="341313" indent="-115888">
              <a:spcBef>
                <a:spcPts val="600"/>
              </a:spcBef>
              <a:buClr>
                <a:schemeClr val="tx1"/>
              </a:buClr>
              <a:buSzPct val="60000"/>
              <a:defRPr sz="1100">
                <a:solidFill>
                  <a:schemeClr val="tx1"/>
                </a:solidFill>
                <a:latin typeface="CiscoSansTT Light" panose="020B0503020201020303" pitchFamily="34" charset="0"/>
              </a:defRPr>
            </a:lvl3pPr>
            <a:lvl4pPr>
              <a:spcBef>
                <a:spcPts val="200"/>
              </a:spcBef>
              <a:defRPr sz="1050">
                <a:solidFill>
                  <a:schemeClr val="tx1"/>
                </a:solidFill>
                <a:latin typeface="CiscoSansTT Light" panose="020B0503020201020303" pitchFamily="34" charset="0"/>
              </a:defRPr>
            </a:lvl4pPr>
            <a:lvl5pPr>
              <a:spcBef>
                <a:spcPts val="675"/>
              </a:spcBef>
              <a:defRPr>
                <a:solidFill>
                  <a:schemeClr val="tx1">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11" name="Picture 10">
            <a:extLst>
              <a:ext uri="{FF2B5EF4-FFF2-40B4-BE49-F238E27FC236}">
                <a16:creationId xmlns:a16="http://schemas.microsoft.com/office/drawing/2014/main" id="{80FB1271-73A1-3541-833A-0717BE37CA9E}"/>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15" name="Picture 14">
            <a:extLst>
              <a:ext uri="{FF2B5EF4-FFF2-40B4-BE49-F238E27FC236}">
                <a16:creationId xmlns:a16="http://schemas.microsoft.com/office/drawing/2014/main" id="{BBEC75D5-8BFC-1F47-ADBC-9401B0A9AC2A}"/>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262923932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Only 4 Heavy Graphics">
    <p:spTree>
      <p:nvGrpSpPr>
        <p:cNvPr id="1" name=""/>
        <p:cNvGrpSpPr/>
        <p:nvPr/>
      </p:nvGrpSpPr>
      <p:grpSpPr>
        <a:xfrm>
          <a:off x="0" y="0"/>
          <a:ext cx="0" cy="0"/>
          <a:chOff x="0" y="0"/>
          <a:chExt cx="0" cy="0"/>
        </a:xfrm>
      </p:grpSpPr>
      <p:sp>
        <p:nvSpPr>
          <p:cNvPr id="6" name="Title 1"/>
          <p:cNvSpPr>
            <a:spLocks noGrp="1"/>
          </p:cNvSpPr>
          <p:nvPr>
            <p:ph type="title"/>
          </p:nvPr>
        </p:nvSpPr>
        <p:spPr>
          <a:xfrm>
            <a:off x="443996" y="192024"/>
            <a:ext cx="8266113" cy="434974"/>
          </a:xfrm>
        </p:spPr>
        <p:txBody>
          <a:bodyPr anchor="b" anchorCtr="0"/>
          <a:lstStyle>
            <a:lvl1pPr marL="6251" indent="-6251" algn="l" defTabSz="457200" rtl="0" eaLnBrk="0" fontAlgn="base" hangingPunct="0">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4"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9" name="Picture 8">
            <a:extLst>
              <a:ext uri="{FF2B5EF4-FFF2-40B4-BE49-F238E27FC236}">
                <a16:creationId xmlns:a16="http://schemas.microsoft.com/office/drawing/2014/main" id="{9665B7E8-73BD-EA4B-8BA6-3FE04BBA35A2}"/>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7" name="Picture 6">
            <a:extLst>
              <a:ext uri="{FF2B5EF4-FFF2-40B4-BE49-F238E27FC236}">
                <a16:creationId xmlns:a16="http://schemas.microsoft.com/office/drawing/2014/main" id="{37FE0B6D-6FB8-FE4C-8596-B830537C140D}"/>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0" name="Rectangle 4">
            <a:extLst>
              <a:ext uri="{FF2B5EF4-FFF2-40B4-BE49-F238E27FC236}">
                <a16:creationId xmlns:a16="http://schemas.microsoft.com/office/drawing/2014/main" id="{7643C393-8445-1E49-972C-9BFC9C3FB718}"/>
              </a:ext>
            </a:extLst>
          </p:cNvPr>
          <p:cNvSpPr>
            <a:spLocks noChangeArrowheads="1"/>
          </p:cNvSpPr>
          <p:nvPr/>
        </p:nvSpPr>
        <p:spPr bwMode="black">
          <a:xfrm>
            <a:off x="5527651" y="4946904"/>
            <a:ext cx="2866734"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 INTERNAL USE ONLY</a:t>
            </a:r>
          </a:p>
        </p:txBody>
      </p:sp>
    </p:spTree>
    <p:extLst>
      <p:ext uri="{BB962C8B-B14F-4D97-AF65-F5344CB8AC3E}">
        <p14:creationId xmlns:p14="http://schemas.microsoft.com/office/powerpoint/2010/main" val="311244369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and Subtitle 4 Heavy Graphics">
    <p:spTree>
      <p:nvGrpSpPr>
        <p:cNvPr id="1" name=""/>
        <p:cNvGrpSpPr/>
        <p:nvPr/>
      </p:nvGrpSpPr>
      <p:grpSpPr>
        <a:xfrm>
          <a:off x="0" y="0"/>
          <a:ext cx="0" cy="0"/>
          <a:chOff x="0" y="0"/>
          <a:chExt cx="0" cy="0"/>
        </a:xfrm>
      </p:grpSpPr>
      <p:sp>
        <p:nvSpPr>
          <p:cNvPr id="12" name="Title 1"/>
          <p:cNvSpPr>
            <a:spLocks noGrp="1"/>
          </p:cNvSpPr>
          <p:nvPr>
            <p:ph type="title"/>
          </p:nvPr>
        </p:nvSpPr>
        <p:spPr>
          <a:xfrm>
            <a:off x="443996" y="195681"/>
            <a:ext cx="8266113" cy="434974"/>
          </a:xfrm>
        </p:spPr>
        <p:txBody>
          <a:bodyPr/>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23"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0" name="Picture 9">
            <a:extLst>
              <a:ext uri="{FF2B5EF4-FFF2-40B4-BE49-F238E27FC236}">
                <a16:creationId xmlns:a16="http://schemas.microsoft.com/office/drawing/2014/main" id="{4AE58071-3C87-3842-8FA4-EBB7D5162810}"/>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0CB9E19E-C2F6-E04C-BEE2-4E4DD55D4735}"/>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1" name="Text Placeholder 5">
            <a:extLst>
              <a:ext uri="{FF2B5EF4-FFF2-40B4-BE49-F238E27FC236}">
                <a16:creationId xmlns:a16="http://schemas.microsoft.com/office/drawing/2014/main" id="{91D59FD2-DFF4-1445-B4B6-4420A33CDBE5}"/>
              </a:ext>
            </a:extLst>
          </p:cNvPr>
          <p:cNvSpPr>
            <a:spLocks noGrp="1"/>
          </p:cNvSpPr>
          <p:nvPr>
            <p:ph type="body" sz="quarter" idx="12"/>
          </p:nvPr>
        </p:nvSpPr>
        <p:spPr>
          <a:xfrm>
            <a:off x="443997" y="693926"/>
            <a:ext cx="8266112" cy="381000"/>
          </a:xfrm>
          <a:prstGeom prst="rect">
            <a:avLst/>
          </a:prstGeom>
        </p:spPr>
        <p:txBody>
          <a:bodyPr/>
          <a:lstStyle>
            <a:lvl1pPr marL="1785" indent="0">
              <a:buNone/>
              <a:defRPr lang="en-US" sz="18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GB"/>
              <a:t>Click to edit Master text styles</a:t>
            </a:r>
          </a:p>
        </p:txBody>
      </p:sp>
    </p:spTree>
    <p:extLst>
      <p:ext uri="{BB962C8B-B14F-4D97-AF65-F5344CB8AC3E}">
        <p14:creationId xmlns:p14="http://schemas.microsoft.com/office/powerpoint/2010/main" val="37383172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and Subtitle and Bullet 4 Heavy Graphics">
    <p:spTree>
      <p:nvGrpSpPr>
        <p:cNvPr id="1" name=""/>
        <p:cNvGrpSpPr/>
        <p:nvPr/>
      </p:nvGrpSpPr>
      <p:grpSpPr>
        <a:xfrm>
          <a:off x="0" y="0"/>
          <a:ext cx="0" cy="0"/>
          <a:chOff x="0" y="0"/>
          <a:chExt cx="0" cy="0"/>
        </a:xfrm>
      </p:grpSpPr>
      <p:sp>
        <p:nvSpPr>
          <p:cNvPr id="12" name="Title 1"/>
          <p:cNvSpPr>
            <a:spLocks noGrp="1"/>
          </p:cNvSpPr>
          <p:nvPr>
            <p:ph type="title"/>
          </p:nvPr>
        </p:nvSpPr>
        <p:spPr>
          <a:xfrm>
            <a:off x="443996" y="195681"/>
            <a:ext cx="8266113" cy="434974"/>
          </a:xfrm>
        </p:spPr>
        <p:txBody>
          <a:bodyPr/>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3" name="Text Placeholder 2"/>
          <p:cNvSpPr>
            <a:spLocks noGrp="1"/>
          </p:cNvSpPr>
          <p:nvPr>
            <p:ph type="body" sz="quarter" idx="13"/>
          </p:nvPr>
        </p:nvSpPr>
        <p:spPr>
          <a:xfrm>
            <a:off x="444561" y="1270861"/>
            <a:ext cx="8265249" cy="3456391"/>
          </a:xfrm>
          <a:prstGeom prst="rect">
            <a:avLst/>
          </a:prstGeom>
        </p:spPr>
        <p:txBody>
          <a:bodyPr/>
          <a:lstStyle>
            <a:lvl1pPr>
              <a:spcBef>
                <a:spcPts val="1075"/>
              </a:spcBef>
              <a:buClr>
                <a:schemeClr val="tx1"/>
              </a:buClr>
              <a:buSzPct val="80000"/>
              <a:defRPr sz="1600">
                <a:latin typeface="CiscoSansTT Light" panose="020B0503020201020303" pitchFamily="34" charset="0"/>
              </a:defRPr>
            </a:lvl1pPr>
            <a:lvl2pPr marL="341313" indent="-171450">
              <a:spcBef>
                <a:spcPts val="600"/>
              </a:spcBef>
              <a:buClr>
                <a:schemeClr val="tx1"/>
              </a:buClr>
              <a:buSzPct val="80000"/>
              <a:defRPr sz="1200">
                <a:latin typeface="CiscoSansTT Light" panose="020B0503020201020303" pitchFamily="34" charset="0"/>
              </a:defRPr>
            </a:lvl2pPr>
            <a:lvl3pPr marL="511175" indent="-169863">
              <a:spcBef>
                <a:spcPts val="600"/>
              </a:spcBef>
              <a:buClr>
                <a:schemeClr val="tx1"/>
              </a:buClr>
              <a:buSzPct val="80000"/>
              <a:defRPr sz="1100">
                <a:latin typeface="CiscoSansTT Light" panose="020B0503020201020303" pitchFamily="34" charset="0"/>
              </a:defRPr>
            </a:lvl3pPr>
            <a:lvl4pPr>
              <a:buClr>
                <a:schemeClr val="tx1"/>
              </a:buClr>
              <a:defRPr sz="1600">
                <a:latin typeface="CiscoSansTT Light" panose="020B0503020201020303" pitchFamily="34" charset="0"/>
              </a:defRPr>
            </a:lvl4pPr>
          </a:lstStyle>
          <a:p>
            <a:pPr lvl="0"/>
            <a:r>
              <a:rPr lang="en-GB"/>
              <a:t>Click to edit Master text styles</a:t>
            </a:r>
          </a:p>
          <a:p>
            <a:pPr lvl="1"/>
            <a:r>
              <a:rPr lang="en-GB"/>
              <a:t>Second level</a:t>
            </a:r>
          </a:p>
          <a:p>
            <a:pPr lvl="2"/>
            <a:r>
              <a:rPr lang="en-GB"/>
              <a:t>Third level</a:t>
            </a:r>
          </a:p>
        </p:txBody>
      </p:sp>
      <p:sp>
        <p:nvSpPr>
          <p:cNvPr id="24"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7"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11" name="Picture 10">
            <a:extLst>
              <a:ext uri="{FF2B5EF4-FFF2-40B4-BE49-F238E27FC236}">
                <a16:creationId xmlns:a16="http://schemas.microsoft.com/office/drawing/2014/main" id="{641BD9ED-C2B9-CA4E-AE6C-2EDBD898BEED}"/>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14" name="Picture 13">
            <a:extLst>
              <a:ext uri="{FF2B5EF4-FFF2-40B4-BE49-F238E27FC236}">
                <a16:creationId xmlns:a16="http://schemas.microsoft.com/office/drawing/2014/main" id="{EBABB942-CF54-3C4B-8AC0-8BBF712CDD66}"/>
              </a:ext>
            </a:extLst>
          </p:cNvPr>
          <p:cNvPicPr>
            <a:picLocks noChangeAspect="1"/>
          </p:cNvPicPr>
          <p:nvPr/>
        </p:nvPicPr>
        <p:blipFill rotWithShape="1">
          <a:blip r:embed="rId2"/>
          <a:srcRect b="25725"/>
          <a:stretch/>
        </p:blipFill>
        <p:spPr>
          <a:xfrm>
            <a:off x="534485" y="4714924"/>
            <a:ext cx="1108685" cy="369548"/>
          </a:xfrm>
          <a:prstGeom prst="rect">
            <a:avLst/>
          </a:prstGeom>
        </p:spPr>
      </p:pic>
      <p:sp>
        <p:nvSpPr>
          <p:cNvPr id="15" name="Text Placeholder 5">
            <a:extLst>
              <a:ext uri="{FF2B5EF4-FFF2-40B4-BE49-F238E27FC236}">
                <a16:creationId xmlns:a16="http://schemas.microsoft.com/office/drawing/2014/main" id="{7B73A192-06D2-D047-A814-BEEAFB63B5B0}"/>
              </a:ext>
            </a:extLst>
          </p:cNvPr>
          <p:cNvSpPr>
            <a:spLocks noGrp="1"/>
          </p:cNvSpPr>
          <p:nvPr>
            <p:ph type="body" sz="quarter" idx="12"/>
          </p:nvPr>
        </p:nvSpPr>
        <p:spPr>
          <a:xfrm>
            <a:off x="443997" y="693926"/>
            <a:ext cx="8266112" cy="381000"/>
          </a:xfrm>
          <a:prstGeom prst="rect">
            <a:avLst/>
          </a:prstGeom>
        </p:spPr>
        <p:txBody>
          <a:bodyPr/>
          <a:lstStyle>
            <a:lvl1pPr marL="1785" indent="0">
              <a:buNone/>
              <a:defRPr lang="en-US" sz="18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GB"/>
              <a:t>Click to edit Master text styles</a:t>
            </a:r>
          </a:p>
        </p:txBody>
      </p:sp>
    </p:spTree>
    <p:extLst>
      <p:ext uri="{BB962C8B-B14F-4D97-AF65-F5344CB8AC3E}">
        <p14:creationId xmlns:p14="http://schemas.microsoft.com/office/powerpoint/2010/main" val="35741851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652982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Title and Bullet 4 Heavy Text">
    <p:spTree>
      <p:nvGrpSpPr>
        <p:cNvPr id="1" name=""/>
        <p:cNvGrpSpPr/>
        <p:nvPr/>
      </p:nvGrpSpPr>
      <p:grpSpPr>
        <a:xfrm>
          <a:off x="0" y="0"/>
          <a:ext cx="0" cy="0"/>
          <a:chOff x="0" y="0"/>
          <a:chExt cx="0" cy="0"/>
        </a:xfrm>
      </p:grpSpPr>
      <p:sp>
        <p:nvSpPr>
          <p:cNvPr id="12" name="Title 1"/>
          <p:cNvSpPr>
            <a:spLocks noGrp="1"/>
          </p:cNvSpPr>
          <p:nvPr>
            <p:ph type="title"/>
          </p:nvPr>
        </p:nvSpPr>
        <p:spPr>
          <a:xfrm>
            <a:off x="443996" y="195681"/>
            <a:ext cx="8266113" cy="434974"/>
          </a:xfrm>
        </p:spPr>
        <p:txBody>
          <a:bodyPr/>
          <a:lstStyle>
            <a:lvl1pPr>
              <a:defRPr lang="en-US" sz="2800"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a:t>Click to edit Master title style</a:t>
            </a:r>
            <a:endParaRPr lang="en-US"/>
          </a:p>
        </p:txBody>
      </p:sp>
      <p:sp>
        <p:nvSpPr>
          <p:cNvPr id="3" name="Text Placeholder 2"/>
          <p:cNvSpPr>
            <a:spLocks noGrp="1"/>
          </p:cNvSpPr>
          <p:nvPr>
            <p:ph type="body" sz="quarter" idx="13"/>
          </p:nvPr>
        </p:nvSpPr>
        <p:spPr>
          <a:xfrm>
            <a:off x="444561" y="630655"/>
            <a:ext cx="8265249" cy="4096597"/>
          </a:xfrm>
          <a:prstGeom prst="rect">
            <a:avLst/>
          </a:prstGeom>
        </p:spPr>
        <p:txBody>
          <a:bodyPr/>
          <a:lstStyle>
            <a:lvl1pPr>
              <a:spcBef>
                <a:spcPts val="1075"/>
              </a:spcBef>
              <a:buClr>
                <a:schemeClr val="tx1"/>
              </a:buClr>
              <a:buSzPct val="80000"/>
              <a:defRPr sz="1600">
                <a:latin typeface="CiscoSansTT Light" panose="020B0503020201020303" pitchFamily="34" charset="0"/>
              </a:defRPr>
            </a:lvl1pPr>
            <a:lvl2pPr marL="341313" indent="-171450">
              <a:spcBef>
                <a:spcPts val="600"/>
              </a:spcBef>
              <a:buClr>
                <a:schemeClr val="tx1"/>
              </a:buClr>
              <a:buSzPct val="80000"/>
              <a:defRPr sz="1200">
                <a:latin typeface="CiscoSansTT Light" panose="020B0503020201020303" pitchFamily="34" charset="0"/>
              </a:defRPr>
            </a:lvl2pPr>
            <a:lvl3pPr marL="511175" indent="-169863">
              <a:spcBef>
                <a:spcPts val="600"/>
              </a:spcBef>
              <a:buClr>
                <a:schemeClr val="tx1"/>
              </a:buClr>
              <a:buSzPct val="80000"/>
              <a:defRPr sz="1100">
                <a:latin typeface="CiscoSansTT Light" panose="020B0503020201020303" pitchFamily="34" charset="0"/>
              </a:defRPr>
            </a:lvl3pPr>
            <a:lvl4pPr>
              <a:buClr>
                <a:schemeClr val="tx1"/>
              </a:buClr>
              <a:defRPr sz="1600">
                <a:latin typeface="CiscoSansTT Light" panose="020B0503020201020303" pitchFamily="34" charset="0"/>
              </a:defRPr>
            </a:lvl4pPr>
          </a:lstStyle>
          <a:p>
            <a:pPr lvl="0"/>
            <a:r>
              <a:rPr lang="en-GB"/>
              <a:t>Click to edit Master text styles</a:t>
            </a:r>
          </a:p>
          <a:p>
            <a:pPr lvl="1"/>
            <a:r>
              <a:rPr lang="en-GB"/>
              <a:t>Second level</a:t>
            </a:r>
          </a:p>
          <a:p>
            <a:pPr lvl="2"/>
            <a:r>
              <a:rPr lang="en-GB"/>
              <a:t>Third level</a:t>
            </a:r>
          </a:p>
        </p:txBody>
      </p:sp>
      <p:sp>
        <p:nvSpPr>
          <p:cNvPr id="24"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7"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9" name="Picture 8">
            <a:extLst>
              <a:ext uri="{FF2B5EF4-FFF2-40B4-BE49-F238E27FC236}">
                <a16:creationId xmlns:a16="http://schemas.microsoft.com/office/drawing/2014/main" id="{9E43CEB4-F597-BD47-B2FD-63F36BAB672B}"/>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0F1A8591-B9C1-8945-ADAF-CDEA97BD05B7}"/>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265879452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4"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7" name="Picture 6">
            <a:extLst>
              <a:ext uri="{FF2B5EF4-FFF2-40B4-BE49-F238E27FC236}">
                <a16:creationId xmlns:a16="http://schemas.microsoft.com/office/drawing/2014/main" id="{DED22B92-B467-BA4E-9FF6-6B429F3645D4}"/>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6" name="Picture 5">
            <a:extLst>
              <a:ext uri="{FF2B5EF4-FFF2-40B4-BE49-F238E27FC236}">
                <a16:creationId xmlns:a16="http://schemas.microsoft.com/office/drawing/2014/main" id="{FF06710E-7548-B948-AE35-37833A42FDAE}"/>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9882649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287923" y="3706835"/>
            <a:ext cx="7972248" cy="371376"/>
          </a:xfrm>
          <a:prstGeom prst="rect">
            <a:avLst/>
          </a:prstGeom>
        </p:spPr>
        <p:txBody>
          <a:bodyPr wrap="square" lIns="91420" tIns="45710" rIns="91420" bIns="45710" anchor="t" anchorCtr="0">
            <a:noAutofit/>
          </a:bodyPr>
          <a:lstStyle>
            <a:lvl1pPr marL="0" indent="0" algn="l" defTabSz="603575">
              <a:lnSpc>
                <a:spcPct val="100000"/>
              </a:lnSpc>
              <a:spcBef>
                <a:spcPts val="600"/>
              </a:spcBef>
              <a:buNone/>
              <a:defRPr sz="1800" b="0" i="0">
                <a:solidFill>
                  <a:schemeClr val="bg1">
                    <a:lumMod val="75000"/>
                  </a:schemeClr>
                </a:solidFill>
                <a:latin typeface="CiscoSansTT Light" panose="020B0503020201020303" pitchFamily="34"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Click to edit Master text styles</a:t>
            </a:r>
          </a:p>
        </p:txBody>
      </p:sp>
      <p:sp>
        <p:nvSpPr>
          <p:cNvPr id="4" name="Title 1"/>
          <p:cNvSpPr>
            <a:spLocks noGrp="1"/>
          </p:cNvSpPr>
          <p:nvPr>
            <p:ph type="ctrTitle"/>
          </p:nvPr>
        </p:nvSpPr>
        <p:spPr>
          <a:xfrm>
            <a:off x="218182" y="1331328"/>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CiscoSansTT Light" panose="020B0503020201020303" pitchFamily="34" charset="0"/>
                <a:cs typeface="CiscoSans Thin"/>
              </a:defRPr>
            </a:lvl1pPr>
          </a:lstStyle>
          <a:p>
            <a:r>
              <a:rPr lang="en-GB"/>
              <a:t>Click to edit Master title style</a:t>
            </a:r>
            <a:endParaRPr lang="en-US"/>
          </a:p>
        </p:txBody>
      </p:sp>
      <p:sp>
        <p:nvSpPr>
          <p:cNvPr id="7"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2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TT Light" panose="020B0503020201020303" pitchFamily="34" charset="0"/>
              </a:defRPr>
            </a:lvl1pPr>
          </a:lstStyle>
          <a:p>
            <a:pPr defTabSz="610744"/>
            <a:r>
              <a:rPr lang="en-US"/>
              <a:t>Presentation</a:t>
            </a:r>
          </a:p>
        </p:txBody>
      </p:sp>
      <p:pic>
        <p:nvPicPr>
          <p:cNvPr id="9" name="Picture 8">
            <a:extLst>
              <a:ext uri="{FF2B5EF4-FFF2-40B4-BE49-F238E27FC236}">
                <a16:creationId xmlns:a16="http://schemas.microsoft.com/office/drawing/2014/main" id="{D1B56328-41A1-7A4D-A8D5-B112B797FD51}"/>
              </a:ext>
            </a:extLst>
          </p:cNvPr>
          <p:cNvPicPr>
            <a:picLocks noChangeAspect="1"/>
          </p:cNvPicPr>
          <p:nvPr/>
        </p:nvPicPr>
        <p:blipFill rotWithShape="1">
          <a:blip r:embed="rId2"/>
          <a:srcRect b="25357"/>
          <a:stretch/>
        </p:blipFill>
        <p:spPr>
          <a:xfrm>
            <a:off x="535208" y="4713094"/>
            <a:ext cx="1108685" cy="371377"/>
          </a:xfrm>
          <a:prstGeom prst="rect">
            <a:avLst/>
          </a:prstGeom>
        </p:spPr>
      </p:pic>
      <p:pic>
        <p:nvPicPr>
          <p:cNvPr id="8" name="Picture 7">
            <a:extLst>
              <a:ext uri="{FF2B5EF4-FFF2-40B4-BE49-F238E27FC236}">
                <a16:creationId xmlns:a16="http://schemas.microsoft.com/office/drawing/2014/main" id="{28E3F2F9-6EDA-F342-95EA-268FA5D37646}"/>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370709006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1435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CiscoSansTT Light" panose="020B0503020201020303" pitchFamily="34" charset="0"/>
              </a:defRPr>
            </a:lvl1pPr>
          </a:lstStyle>
          <a:p>
            <a:pPr lvl="0"/>
            <a:r>
              <a:rPr lang="en-GB" noProof="0"/>
              <a:t>Click icon to add table</a:t>
            </a:r>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000" b="0" i="0">
                <a:solidFill>
                  <a:schemeClr val="tx1"/>
                </a:solidFill>
                <a:latin typeface="CiscoSansTT Light" panose="020B0503020201020303" pitchFamily="34"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Click to edit Master text styles</a:t>
            </a:r>
          </a:p>
        </p:txBody>
      </p:sp>
      <p:sp>
        <p:nvSpPr>
          <p:cNvPr id="5" name="Title Placeholder 5"/>
          <p:cNvSpPr>
            <a:spLocks noGrp="1"/>
          </p:cNvSpPr>
          <p:nvPr>
            <p:ph type="title"/>
          </p:nvPr>
        </p:nvSpPr>
        <p:spPr bwMode="auto">
          <a:xfrm>
            <a:off x="445200" y="192024"/>
            <a:ext cx="8257032"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lvl1pPr>
              <a:defRPr sz="2800">
                <a:solidFill>
                  <a:schemeClr val="tx2"/>
                </a:solidFill>
                <a:latin typeface="CiscoSansTT Light" panose="020B0503020201020303" pitchFamily="34" charset="0"/>
              </a:defRPr>
            </a:lvl1pPr>
          </a:lstStyle>
          <a:p>
            <a:pPr lvl="0"/>
            <a:r>
              <a:rPr lang="en-GB"/>
              <a:t>Click to edit Master title style</a:t>
            </a:r>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24"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10" name="Picture 9">
            <a:extLst>
              <a:ext uri="{FF2B5EF4-FFF2-40B4-BE49-F238E27FC236}">
                <a16:creationId xmlns:a16="http://schemas.microsoft.com/office/drawing/2014/main" id="{55522426-566F-FC45-9C9B-4C5CE1984D94}"/>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9" name="Picture 8">
            <a:extLst>
              <a:ext uri="{FF2B5EF4-FFF2-40B4-BE49-F238E27FC236}">
                <a16:creationId xmlns:a16="http://schemas.microsoft.com/office/drawing/2014/main" id="{60F61B25-183C-2C42-B45B-08AEFCCCCA6A}"/>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410131773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14350" y="1347537"/>
            <a:ext cx="8115300" cy="2686551"/>
          </a:xfrm>
          <a:prstGeom prst="rect">
            <a:avLst/>
          </a:prstGeom>
        </p:spPr>
        <p:txBody>
          <a:bodyPr vert="horz" lIns="91420" tIns="45710" rIns="91420" bIns="45710">
            <a:noAutofit/>
          </a:bodyPr>
          <a:lstStyle>
            <a:lvl1pPr marL="0" indent="0" algn="ctr">
              <a:buNone/>
              <a:defRPr sz="2000" b="0" i="0">
                <a:solidFill>
                  <a:schemeClr val="tx1"/>
                </a:solidFill>
                <a:latin typeface="CiscoSansTT Light" panose="020B0503020201020303" pitchFamily="34" charset="0"/>
                <a:cs typeface="CiscoSans ExtraLight"/>
              </a:defRPr>
            </a:lvl1pPr>
          </a:lstStyle>
          <a:p>
            <a:pPr lvl="0"/>
            <a:r>
              <a:rPr lang="en-GB" noProof="0"/>
              <a:t>Click icon to add chart</a:t>
            </a:r>
            <a:endParaRPr lang="en-US" noProof="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000" b="0" i="0">
                <a:solidFill>
                  <a:schemeClr val="tx1"/>
                </a:solidFill>
                <a:latin typeface="CiscoSansTT Light" panose="020B0503020201020303" pitchFamily="34"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Click to edit Master text styles</a:t>
            </a:r>
          </a:p>
        </p:txBody>
      </p:sp>
      <p:sp>
        <p:nvSpPr>
          <p:cNvPr id="5" name="Title Placeholder 5"/>
          <p:cNvSpPr>
            <a:spLocks noGrp="1"/>
          </p:cNvSpPr>
          <p:nvPr>
            <p:ph type="title"/>
          </p:nvPr>
        </p:nvSpPr>
        <p:spPr bwMode="auto">
          <a:xfrm>
            <a:off x="445200" y="192024"/>
            <a:ext cx="8257475"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t"/>
          <a:lstStyle>
            <a:lvl1pPr>
              <a:defRPr>
                <a:solidFill>
                  <a:schemeClr val="tx2"/>
                </a:solidFill>
                <a:latin typeface="CiscoSansTT Light" panose="020B0503020201020303" pitchFamily="34" charset="0"/>
              </a:defRPr>
            </a:lvl1pPr>
          </a:lstStyle>
          <a:p>
            <a:pPr lvl="0"/>
            <a:r>
              <a:rPr lang="en-GB"/>
              <a:t>Click to edit Master title style</a:t>
            </a:r>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3"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24"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10" name="Picture 9">
            <a:extLst>
              <a:ext uri="{FF2B5EF4-FFF2-40B4-BE49-F238E27FC236}">
                <a16:creationId xmlns:a16="http://schemas.microsoft.com/office/drawing/2014/main" id="{3533BA0A-57B2-034B-80C8-F10973D06FAA}"/>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9" name="Picture 8">
            <a:extLst>
              <a:ext uri="{FF2B5EF4-FFF2-40B4-BE49-F238E27FC236}">
                <a16:creationId xmlns:a16="http://schemas.microsoft.com/office/drawing/2014/main" id="{598EFF35-254B-2544-AFE1-33363BDBF3E6}"/>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370756736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2"/>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443497" y="582930"/>
            <a:ext cx="8257006" cy="33192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tx2"/>
                </a:solidFill>
                <a:latin typeface="CiscoSansTT Light" panose="020B0503020201020303" pitchFamily="34" charset="0"/>
                <a:ea typeface="+mn-ea"/>
                <a:cs typeface="CiscoSans"/>
              </a:defRPr>
            </a:lvl1pPr>
          </a:lstStyle>
          <a:p>
            <a:pPr lvl="0"/>
            <a:r>
              <a:rPr lang="en-GB" noProof="0"/>
              <a:t>Click icon to add media</a:t>
            </a:r>
            <a:endParaRPr lang="en-US" noProof="0"/>
          </a:p>
        </p:txBody>
      </p:sp>
      <p:sp>
        <p:nvSpPr>
          <p:cNvPr id="18"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1"/>
                </a:solidFill>
                <a:latin typeface="CiscoSansTT Light" panose="020B0503020201020303" pitchFamily="34" charset="0"/>
                <a:cs typeface="CiscoSans Thin"/>
              </a:defRPr>
            </a:lvl1pPr>
          </a:lstStyle>
          <a:p>
            <a:pPr defTabSz="610744"/>
            <a:r>
              <a:rPr lang="en-GB"/>
              <a:t>Presentation</a:t>
            </a:r>
          </a:p>
        </p:txBody>
      </p:sp>
      <p:sp>
        <p:nvSpPr>
          <p:cNvPr id="21"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bg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8" name="Picture 7">
            <a:extLst>
              <a:ext uri="{FF2B5EF4-FFF2-40B4-BE49-F238E27FC236}">
                <a16:creationId xmlns:a16="http://schemas.microsoft.com/office/drawing/2014/main" id="{9CD138F9-090B-7C42-B3D8-3615CE7D2DD6}"/>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7" name="Picture 6">
            <a:extLst>
              <a:ext uri="{FF2B5EF4-FFF2-40B4-BE49-F238E27FC236}">
                <a16:creationId xmlns:a16="http://schemas.microsoft.com/office/drawing/2014/main" id="{C4A3C1F3-64C6-DC46-A85B-3AC37ECAA3F4}"/>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3425114983"/>
      </p:ext>
    </p:extLst>
  </p:cSld>
  <p:clrMapOvr>
    <a:overrideClrMapping bg1="dk1" tx1="lt1" bg2="dk2" tx2="lt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2"/>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359719" y="584002"/>
            <a:ext cx="4424562" cy="331927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tx2"/>
                </a:solidFill>
                <a:latin typeface="CiscoSansTT Light" panose="020B0503020201020303" pitchFamily="34" charset="0"/>
                <a:ea typeface="+mn-ea"/>
                <a:cs typeface="CiscoSans"/>
              </a:defRPr>
            </a:lvl1pPr>
          </a:lstStyle>
          <a:p>
            <a:pPr lvl="0"/>
            <a:r>
              <a:rPr lang="en-GB" noProof="0"/>
              <a:t>Click icon to add media</a:t>
            </a:r>
            <a:endParaRPr lang="en-US" noProof="0"/>
          </a:p>
        </p:txBody>
      </p:sp>
      <p:sp>
        <p:nvSpPr>
          <p:cNvPr id="18"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bg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1"/>
                </a:solidFill>
                <a:latin typeface="CiscoSansTT Light" panose="020B0503020201020303" pitchFamily="34" charset="0"/>
                <a:cs typeface="CiscoSans Thin"/>
              </a:defRPr>
            </a:lvl1pPr>
          </a:lstStyle>
          <a:p>
            <a:pPr defTabSz="610744"/>
            <a:r>
              <a:rPr lang="en-GB"/>
              <a:t>Presentation</a:t>
            </a:r>
          </a:p>
        </p:txBody>
      </p:sp>
      <p:sp>
        <p:nvSpPr>
          <p:cNvPr id="22"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bg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8" name="Picture 7">
            <a:extLst>
              <a:ext uri="{FF2B5EF4-FFF2-40B4-BE49-F238E27FC236}">
                <a16:creationId xmlns:a16="http://schemas.microsoft.com/office/drawing/2014/main" id="{F2B9732B-AF08-A54D-A4A2-9AD23B34CDF9}"/>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7" name="Picture 6">
            <a:extLst>
              <a:ext uri="{FF2B5EF4-FFF2-40B4-BE49-F238E27FC236}">
                <a16:creationId xmlns:a16="http://schemas.microsoft.com/office/drawing/2014/main" id="{7B68DA17-BAF8-604B-895D-24AAC50F8715}"/>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2894010661"/>
      </p:ext>
    </p:extLst>
  </p:cSld>
  <p:clrMapOvr>
    <a:overrideClrMapping bg1="dk1" tx1="lt1" bg2="dk2" tx2="lt2" accent1="accent1" accent2="accent2" accent3="accent3" accent4="accent4" accent5="accent5" accent6="accent6" hlink="hlink" folHlink="folHlink"/>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CiscoSansTT Light" panose="020B0503020201020303" pitchFamily="34" charset="0"/>
                <a:cs typeface="CiscoSans ExtraLight"/>
              </a:defRPr>
            </a:lvl1pPr>
          </a:lstStyle>
          <a:p>
            <a:pPr lvl="0"/>
            <a:r>
              <a:rPr lang="en-GB" noProof="0"/>
              <a:t>Click icon to add picture</a:t>
            </a:r>
            <a:endParaRPr lang="en-US" noProof="0"/>
          </a:p>
        </p:txBody>
      </p:sp>
      <p:sp>
        <p:nvSpPr>
          <p:cNvPr id="6" name="Text Placeholder 2"/>
          <p:cNvSpPr>
            <a:spLocks noGrp="1"/>
          </p:cNvSpPr>
          <p:nvPr>
            <p:ph type="body" sz="quarter" idx="11"/>
          </p:nvPr>
        </p:nvSpPr>
        <p:spPr bwMode="auto">
          <a:xfrm>
            <a:off x="500063" y="3941828"/>
            <a:ext cx="8139112" cy="464230"/>
          </a:xfrm>
          <a:prstGeom prst="rect">
            <a:avLst/>
          </a:prstGeom>
          <a:noFill/>
        </p:spPr>
        <p:txBody>
          <a:bodyPr wrap="square" lIns="91440" tIns="45720" rIns="91440" bIns="45720" numCol="1" anchor="ctr" anchorCtr="0" compatLnSpc="1">
            <a:prstTxWarp prst="textNoShape">
              <a:avLst/>
            </a:prstTxWarp>
            <a:spAutoFit/>
          </a:bodyPr>
          <a:lstStyle>
            <a:lvl1pPr marL="0" indent="0" algn="ctr">
              <a:lnSpc>
                <a:spcPts val="2900"/>
              </a:lnSpc>
              <a:spcBef>
                <a:spcPts val="0"/>
              </a:spcBef>
              <a:buNone/>
              <a:defRPr sz="2400" i="0">
                <a:solidFill>
                  <a:schemeClr val="bg1"/>
                </a:solidFill>
                <a:latin typeface="CiscoSansTT Light" panose="020B0503020201020303" pitchFamily="34" charset="0"/>
              </a:defRPr>
            </a:lvl1pPr>
          </a:lstStyle>
          <a:p>
            <a:pPr lvl="0"/>
            <a:r>
              <a:rPr lang="en-GB"/>
              <a:t>Click to edit Master text styles</a:t>
            </a:r>
          </a:p>
        </p:txBody>
      </p:sp>
      <p:sp>
        <p:nvSpPr>
          <p:cNvPr id="5"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7"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4"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pic>
        <p:nvPicPr>
          <p:cNvPr id="9" name="Picture 8">
            <a:extLst>
              <a:ext uri="{FF2B5EF4-FFF2-40B4-BE49-F238E27FC236}">
                <a16:creationId xmlns:a16="http://schemas.microsoft.com/office/drawing/2014/main" id="{DFAEAE2E-7D3D-7C43-9D12-A6709612FB95}"/>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913F7A64-C9CE-1D4B-90DB-320DF8DA4CC6}"/>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51199593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CiscoSansTT Light" panose="020B0503020201020303" pitchFamily="34" charset="0"/>
                <a:cs typeface="CiscoSans ExtraLight"/>
              </a:defRPr>
            </a:lvl1pPr>
          </a:lstStyle>
          <a:p>
            <a:pPr lvl="0"/>
            <a:r>
              <a:rPr lang="en-GB" noProof="0"/>
              <a:t>Click icon to add picture</a:t>
            </a:r>
            <a:endParaRPr lang="en-US" noProof="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CiscoSansTT Light" panose="020B0503020201020303" pitchFamily="34" charset="0"/>
              </a:defRPr>
            </a:lvl1pPr>
          </a:lstStyle>
          <a:p>
            <a:pPr lvl="0"/>
            <a:r>
              <a:rPr lang="en-GB"/>
              <a:t>Click to edit Master text styles</a:t>
            </a:r>
          </a:p>
        </p:txBody>
      </p:sp>
      <p:sp>
        <p:nvSpPr>
          <p:cNvPr id="5"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6"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7"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9" name="Picture 8">
            <a:extLst>
              <a:ext uri="{FF2B5EF4-FFF2-40B4-BE49-F238E27FC236}">
                <a16:creationId xmlns:a16="http://schemas.microsoft.com/office/drawing/2014/main" id="{A4BE6A65-AE48-5247-8FEC-CD58CCF475B1}"/>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8" name="Picture 7">
            <a:extLst>
              <a:ext uri="{FF2B5EF4-FFF2-40B4-BE49-F238E27FC236}">
                <a16:creationId xmlns:a16="http://schemas.microsoft.com/office/drawing/2014/main" id="{FAE5AB58-F62F-1D46-BEAA-598DF7B8D9BC}"/>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331007587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CiscoSansTT Light" panose="020B0503020201020303" pitchFamily="34" charset="0"/>
                <a:cs typeface="CiscoSans ExtraLight"/>
              </a:defRPr>
            </a:lvl1pPr>
          </a:lstStyle>
          <a:p>
            <a:pPr lvl="0"/>
            <a:r>
              <a:rPr lang="en-GB" noProof="0"/>
              <a:t>Click icon to add picture</a:t>
            </a:r>
            <a:endParaRPr lang="en-US" noProof="0"/>
          </a:p>
        </p:txBody>
      </p:sp>
      <p:sp>
        <p:nvSpPr>
          <p:cNvPr id="4"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5"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8" name="Picture 7">
            <a:extLst>
              <a:ext uri="{FF2B5EF4-FFF2-40B4-BE49-F238E27FC236}">
                <a16:creationId xmlns:a16="http://schemas.microsoft.com/office/drawing/2014/main" id="{3ACF8F36-9042-8D4F-89E5-FFC355C12033}"/>
              </a:ext>
            </a:extLst>
          </p:cNvPr>
          <p:cNvPicPr>
            <a:picLocks noChangeAspect="1"/>
          </p:cNvPicPr>
          <p:nvPr/>
        </p:nvPicPr>
        <p:blipFill rotWithShape="1">
          <a:blip r:embed="rId2"/>
          <a:srcRect b="25725"/>
          <a:stretch/>
        </p:blipFill>
        <p:spPr>
          <a:xfrm>
            <a:off x="534485" y="4714924"/>
            <a:ext cx="1108685" cy="369548"/>
          </a:xfrm>
          <a:prstGeom prst="rect">
            <a:avLst/>
          </a:prstGeom>
        </p:spPr>
      </p:pic>
      <p:pic>
        <p:nvPicPr>
          <p:cNvPr id="7" name="Picture 6">
            <a:extLst>
              <a:ext uri="{FF2B5EF4-FFF2-40B4-BE49-F238E27FC236}">
                <a16:creationId xmlns:a16="http://schemas.microsoft.com/office/drawing/2014/main" id="{C99518FD-AEB4-3D40-BA15-41C880B45C7C}"/>
              </a:ext>
            </a:extLst>
          </p:cNvPr>
          <p:cNvPicPr>
            <a:picLocks noChangeAspect="1"/>
          </p:cNvPicPr>
          <p:nvPr/>
        </p:nvPicPr>
        <p:blipFill rotWithShape="1">
          <a:blip r:embed="rId2"/>
          <a:srcRect b="25725"/>
          <a:stretch/>
        </p:blipFill>
        <p:spPr>
          <a:xfrm>
            <a:off x="534485" y="4714924"/>
            <a:ext cx="1108685" cy="369548"/>
          </a:xfrm>
          <a:prstGeom prst="rect">
            <a:avLst/>
          </a:prstGeom>
        </p:spPr>
      </p:pic>
    </p:spTree>
    <p:extLst>
      <p:ext uri="{BB962C8B-B14F-4D97-AF65-F5344CB8AC3E}">
        <p14:creationId xmlns:p14="http://schemas.microsoft.com/office/powerpoint/2010/main" val="15318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816433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sp>
        <p:nvSpPr>
          <p:cNvPr id="4" name="Text Placeholder 3"/>
          <p:cNvSpPr>
            <a:spLocks noGrp="1"/>
          </p:cNvSpPr>
          <p:nvPr>
            <p:ph type="body" sz="quarter" idx="10" hasCustomPrompt="1"/>
          </p:nvPr>
        </p:nvSpPr>
        <p:spPr>
          <a:xfrm>
            <a:off x="462301" y="1665182"/>
            <a:ext cx="3915970" cy="2925868"/>
          </a:xfrm>
          <a:prstGeom prst="rect">
            <a:avLst/>
          </a:prstGeom>
        </p:spPr>
        <p:txBody>
          <a:bodyPr lIns="91420" tIns="45710" rIns="91420" bIns="45710">
            <a:noAutofit/>
          </a:bodyPr>
          <a:lstStyle>
            <a:lvl1pPr marL="174625" indent="-174625">
              <a:lnSpc>
                <a:spcPct val="95000"/>
              </a:lnSpc>
              <a:spcBef>
                <a:spcPts val="1110"/>
              </a:spcBef>
              <a:buClr>
                <a:schemeClr val="bg1">
                  <a:lumMod val="75000"/>
                </a:schemeClr>
              </a:buClr>
              <a:buSzPct val="80000"/>
              <a:buFont typeface="Arial"/>
              <a:buChar char="•"/>
              <a:defRPr sz="2000" b="0" i="0">
                <a:solidFill>
                  <a:schemeClr val="bg1">
                    <a:lumMod val="75000"/>
                  </a:schemeClr>
                </a:solidFill>
                <a:latin typeface="CiscoSansTT Light" panose="020B0503020201020303" pitchFamily="34" charset="0"/>
                <a:ea typeface="CiscoSansTT Thin" charset="0"/>
                <a:cs typeface="CiscoSansTT Thin" charset="0"/>
              </a:defRPr>
            </a:lvl1pPr>
            <a:lvl2pPr marL="341313" indent="-166688">
              <a:lnSpc>
                <a:spcPct val="95000"/>
              </a:lnSpc>
              <a:spcBef>
                <a:spcPts val="600"/>
              </a:spcBef>
              <a:buClr>
                <a:schemeClr val="bg1">
                  <a:lumMod val="75000"/>
                </a:schemeClr>
              </a:buClr>
              <a:buSzPct val="80000"/>
              <a:buFont typeface="Arial"/>
              <a:buChar char="•"/>
              <a:defRPr sz="1800" b="0" i="0">
                <a:solidFill>
                  <a:schemeClr val="bg1">
                    <a:lumMod val="75000"/>
                  </a:schemeClr>
                </a:solidFill>
                <a:latin typeface="CiscoSansTT Light" panose="020B0503020201020303" pitchFamily="34" charset="0"/>
                <a:ea typeface="CiscoSansTT Thin" charset="0"/>
                <a:cs typeface="CiscoSansTT Thin" charset="0"/>
              </a:defRPr>
            </a:lvl2pPr>
            <a:lvl3pPr marL="511175" indent="-169863">
              <a:spcBef>
                <a:spcPts val="600"/>
              </a:spcBef>
              <a:buClr>
                <a:schemeClr val="bg1">
                  <a:lumMod val="75000"/>
                </a:schemeClr>
              </a:buClr>
              <a:buSzPct val="8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CiscoSansTT Light" panose="020B0503020201020303" pitchFamily="34" charset="0"/>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CiscoSansTT Light" panose="020B0503020201020303" pitchFamily="34" charset="0"/>
                <a:ea typeface="CiscoSansTT Thin" charset="0"/>
                <a:cs typeface="CiscoSansTT Thin" charset="0"/>
              </a:defRPr>
            </a:lvl5pPr>
          </a:lstStyle>
          <a:p>
            <a:pPr lvl="0"/>
            <a:r>
              <a:rPr lang="en-GB"/>
              <a:t>First level</a:t>
            </a:r>
          </a:p>
          <a:p>
            <a:pPr lvl="1"/>
            <a:r>
              <a:rPr lang="en-GB"/>
              <a:t>Second level</a:t>
            </a:r>
          </a:p>
          <a:p>
            <a:pPr lvl="2"/>
            <a:r>
              <a:rPr lang="en-GB"/>
              <a:t>Third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200">
                <a:solidFill>
                  <a:schemeClr val="bg1">
                    <a:lumMod val="75000"/>
                  </a:schemeClr>
                </a:solidFill>
                <a:latin typeface="CiscoSansTT Light" panose="020B0503020201020303" pitchFamily="34" charset="0"/>
              </a:defRPr>
            </a:lvl1pPr>
          </a:lstStyle>
          <a:p>
            <a:pPr lvl="0"/>
            <a:r>
              <a:rPr lang="en-GB"/>
              <a:t>Click to edit Master title style</a:t>
            </a:r>
          </a:p>
        </p:txBody>
      </p:sp>
      <p:sp>
        <p:nvSpPr>
          <p:cNvPr id="7"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11"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12" name="Picture 11">
            <a:extLst>
              <a:ext uri="{FF2B5EF4-FFF2-40B4-BE49-F238E27FC236}">
                <a16:creationId xmlns:a16="http://schemas.microsoft.com/office/drawing/2014/main" id="{1C778071-34D0-B246-A13D-75E4A4B8C020}"/>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9" name="Rectangle 8">
            <a:extLst>
              <a:ext uri="{FF2B5EF4-FFF2-40B4-BE49-F238E27FC236}">
                <a16:creationId xmlns:a16="http://schemas.microsoft.com/office/drawing/2014/main" id="{603C0199-F3BD-D04E-B1D4-6DE4ECDB2EE7}"/>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pic>
        <p:nvPicPr>
          <p:cNvPr id="13" name="Picture 12">
            <a:extLst>
              <a:ext uri="{FF2B5EF4-FFF2-40B4-BE49-F238E27FC236}">
                <a16:creationId xmlns:a16="http://schemas.microsoft.com/office/drawing/2014/main" id="{38233B45-2CB5-1445-8731-D13FA52878ED}"/>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479700115"/>
      </p:ext>
    </p:extLst>
  </p:cSld>
  <p:clrMapOvr>
    <a:masterClrMapping/>
  </p:clrMapOvr>
  <p:extLst>
    <p:ext uri="{DCECCB84-F9BA-43D5-87BE-67443E8EF086}">
      <p15:sldGuideLst xmlns:p15="http://schemas.microsoft.com/office/powerpoint/2012/main">
        <p15:guide id="4">
          <p15:clr>
            <a:srgbClr val="FBAE40"/>
          </p15:clr>
        </p15:guide>
        <p15:guide id="5" pos="2598">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hasCustomPrompt="1"/>
          </p:nvPr>
        </p:nvSpPr>
        <p:spPr>
          <a:xfrm>
            <a:off x="5097463" y="531812"/>
            <a:ext cx="3551237" cy="4059237"/>
          </a:xfrm>
          <a:prstGeom prst="rect">
            <a:avLst/>
          </a:prstGeom>
        </p:spPr>
        <p:txBody>
          <a:bodyPr lIns="91440" rIns="91440" anchor="t" anchorCtr="0"/>
          <a:lstStyle>
            <a:lvl1pPr marL="169863" indent="-169863">
              <a:lnSpc>
                <a:spcPct val="95000"/>
              </a:lnSpc>
              <a:spcBef>
                <a:spcPts val="1110"/>
              </a:spcBef>
              <a:buClr>
                <a:schemeClr val="tx1"/>
              </a:buClr>
              <a:buSzPct val="80000"/>
              <a:buFont typeface="Arial" panose="020B0604020202020204" pitchFamily="34" charset="0"/>
              <a:buChar char="•"/>
              <a:tabLst/>
              <a:defRPr sz="1600">
                <a:latin typeface="CiscoSansTT Light" panose="020B0503020201020303" pitchFamily="34" charset="0"/>
              </a:defRPr>
            </a:lvl1pPr>
            <a:lvl2pPr marL="346075" indent="-176213">
              <a:lnSpc>
                <a:spcPct val="95000"/>
              </a:lnSpc>
              <a:spcBef>
                <a:spcPts val="600"/>
              </a:spcBef>
              <a:buClr>
                <a:schemeClr val="tx1"/>
              </a:buClr>
              <a:buSzPct val="80000"/>
              <a:buFont typeface="Arial" panose="020B0604020202020204" pitchFamily="34" charset="0"/>
              <a:buChar char="•"/>
              <a:defRPr sz="1200">
                <a:latin typeface="CiscoSansTT Light" panose="020B0503020201020303" pitchFamily="34" charset="0"/>
              </a:defRPr>
            </a:lvl2pPr>
            <a:lvl3pPr marL="511175" indent="-171450">
              <a:lnSpc>
                <a:spcPct val="95000"/>
              </a:lnSpc>
              <a:spcBef>
                <a:spcPts val="600"/>
              </a:spcBef>
              <a:buClr>
                <a:schemeClr val="tx1"/>
              </a:buClr>
              <a:buSzPct val="80000"/>
              <a:buFont typeface="Arial" panose="020B0604020202020204" pitchFamily="34" charset="0"/>
              <a:buChar char="•"/>
              <a:defRPr sz="1100">
                <a:latin typeface="CiscoSansTT Light" panose="020B0503020201020303" pitchFamily="34" charset="0"/>
              </a:defRPr>
            </a:lvl3pPr>
            <a:lvl4pPr marL="574675" indent="-117475">
              <a:lnSpc>
                <a:spcPct val="100000"/>
              </a:lnSpc>
              <a:buClr>
                <a:schemeClr val="tx1"/>
              </a:buClr>
              <a:buSzPct val="60000"/>
              <a:buFont typeface="Arial" panose="020B0604020202020204" pitchFamily="34" charset="0"/>
              <a:buChar char="•"/>
              <a:tabLst/>
              <a:defRPr sz="1800">
                <a:latin typeface="CiscoSansTT Light" panose="020B0503020201020303" pitchFamily="34" charset="0"/>
              </a:defRPr>
            </a:lvl4pPr>
            <a:lvl5pPr marL="744538" indent="-112713">
              <a:lnSpc>
                <a:spcPct val="100000"/>
              </a:lnSpc>
              <a:buClr>
                <a:schemeClr val="tx1"/>
              </a:buClr>
              <a:buSzPct val="60000"/>
              <a:buFont typeface="Arial" panose="020B0604020202020204" pitchFamily="34" charset="0"/>
              <a:buChar char="•"/>
              <a:defRPr sz="1800">
                <a:latin typeface="CiscoSansTT Light" panose="020B0503020201020303" pitchFamily="34" charset="0"/>
              </a:defRPr>
            </a:lvl5pPr>
          </a:lstStyle>
          <a:p>
            <a:pPr lvl="0"/>
            <a:r>
              <a:rPr lang="en-US"/>
              <a:t>Click to edit Master text styles</a:t>
            </a:r>
          </a:p>
          <a:p>
            <a:pPr lvl="1"/>
            <a:r>
              <a:rPr lang="en-US"/>
              <a:t>Second level</a:t>
            </a:r>
          </a:p>
          <a:p>
            <a:pPr lvl="2"/>
            <a:r>
              <a:rPr lang="en-US"/>
              <a:t>Third level</a:t>
            </a:r>
          </a:p>
        </p:txBody>
      </p:sp>
      <p:sp>
        <p:nvSpPr>
          <p:cNvPr id="8"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11" name="Picture 10">
            <a:extLst>
              <a:ext uri="{FF2B5EF4-FFF2-40B4-BE49-F238E27FC236}">
                <a16:creationId xmlns:a16="http://schemas.microsoft.com/office/drawing/2014/main" id="{688215FC-458B-4B40-ADAC-A71BB29F0811}"/>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2" name="Rectangle 11">
            <a:extLst>
              <a:ext uri="{FF2B5EF4-FFF2-40B4-BE49-F238E27FC236}">
                <a16:creationId xmlns:a16="http://schemas.microsoft.com/office/drawing/2014/main" id="{9328ADCA-49EE-2749-BCE3-BB1258582706}"/>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pic>
        <p:nvPicPr>
          <p:cNvPr id="13" name="Picture 12">
            <a:extLst>
              <a:ext uri="{FF2B5EF4-FFF2-40B4-BE49-F238E27FC236}">
                <a16:creationId xmlns:a16="http://schemas.microsoft.com/office/drawing/2014/main" id="{15887734-3EE2-9C48-9314-CF310C20ABDD}"/>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1442608585"/>
      </p:ext>
    </p:extLst>
  </p:cSld>
  <p:clrMapOvr>
    <a:masterClrMapping/>
  </p:clrMapOvr>
  <p:extLst>
    <p:ext uri="{DCECCB84-F9BA-43D5-87BE-67443E8EF086}">
      <p15:sldGuideLst xmlns:p15="http://schemas.microsoft.com/office/powerpoint/2012/main">
        <p15:guide id="1" orient="horz" pos="1044">
          <p15:clr>
            <a:srgbClr val="FBAE40"/>
          </p15:clr>
        </p15:guide>
        <p15:guide id="4" pos="2675">
          <p15:clr>
            <a:srgbClr val="FBAE40"/>
          </p15:clr>
        </p15:guide>
        <p15:guide id="5" pos="168">
          <p15:clr>
            <a:srgbClr val="FBAE40"/>
          </p15:clr>
        </p15:guide>
        <p15:guide id="6" orient="horz" pos="2196">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hasCustomPrompt="1"/>
          </p:nvPr>
        </p:nvSpPr>
        <p:spPr>
          <a:xfrm>
            <a:off x="5097463" y="530352"/>
            <a:ext cx="3551237" cy="4080510"/>
          </a:xfrm>
          <a:prstGeom prst="rect">
            <a:avLst/>
          </a:prstGeom>
        </p:spPr>
        <p:txBody>
          <a:bodyPr lIns="91440" rIns="91440"/>
          <a:lstStyle>
            <a:lvl1pPr marL="169863" indent="-169863">
              <a:lnSpc>
                <a:spcPct val="95000"/>
              </a:lnSpc>
              <a:spcBef>
                <a:spcPts val="1110"/>
              </a:spcBef>
              <a:buClr>
                <a:schemeClr val="tx1"/>
              </a:buClr>
              <a:buSzPct val="80000"/>
              <a:defRPr sz="1600">
                <a:latin typeface="CiscoSansTT Light" panose="020B0503020201020303" pitchFamily="34" charset="0"/>
              </a:defRPr>
            </a:lvl1pPr>
            <a:lvl2pPr marL="341313" indent="-171450">
              <a:lnSpc>
                <a:spcPct val="95000"/>
              </a:lnSpc>
              <a:spcBef>
                <a:spcPts val="600"/>
              </a:spcBef>
              <a:buClr>
                <a:schemeClr val="tx1"/>
              </a:buClr>
              <a:buSzPct val="80000"/>
              <a:defRPr sz="1200">
                <a:latin typeface="CiscoSansTT Light" panose="020B0503020201020303" pitchFamily="34" charset="0"/>
              </a:defRPr>
            </a:lvl2pPr>
            <a:lvl3pPr marL="511175" indent="-169863">
              <a:lnSpc>
                <a:spcPct val="95000"/>
              </a:lnSpc>
              <a:spcBef>
                <a:spcPts val="600"/>
              </a:spcBef>
              <a:buClr>
                <a:schemeClr val="tx1"/>
              </a:buClr>
              <a:buSzPct val="80000"/>
              <a:defRPr sz="1100">
                <a:latin typeface="CiscoSansTT Light" panose="020B0503020201020303" pitchFamily="34" charset="0"/>
              </a:defRPr>
            </a:lvl3pPr>
            <a:lvl4pPr marL="457200" indent="-123825">
              <a:lnSpc>
                <a:spcPct val="100000"/>
              </a:lnSpc>
              <a:buClr>
                <a:schemeClr val="tx1"/>
              </a:buClr>
              <a:buSzPct val="60000"/>
              <a:defRPr sz="1600">
                <a:latin typeface="CiscoSansTT Light" panose="020B0503020201020303" pitchFamily="34" charset="0"/>
              </a:defRPr>
            </a:lvl4pPr>
            <a:lvl5pPr marL="574675" indent="-117475">
              <a:lnSpc>
                <a:spcPct val="100000"/>
              </a:lnSpc>
              <a:buClr>
                <a:schemeClr val="tx1"/>
              </a:buClr>
              <a:buSzPct val="60000"/>
              <a:defRPr sz="1600">
                <a:latin typeface="CiscoSansTT Light" panose="020B0503020201020303" pitchFamily="34" charset="0"/>
              </a:defRPr>
            </a:lvl5pPr>
          </a:lstStyle>
          <a:p>
            <a:pPr lvl="0"/>
            <a:r>
              <a:rPr lang="en-US"/>
              <a:t>Click to edit Master text styles</a:t>
            </a:r>
          </a:p>
          <a:p>
            <a:pPr lvl="1"/>
            <a:r>
              <a:rPr lang="en-US"/>
              <a:t>Second level</a:t>
            </a:r>
          </a:p>
          <a:p>
            <a:pPr lvl="2"/>
            <a:r>
              <a:rPr lang="en-US"/>
              <a:t>Third level</a:t>
            </a:r>
          </a:p>
        </p:txBody>
      </p:sp>
      <p:sp>
        <p:nvSpPr>
          <p:cNvPr id="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10"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1"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sp>
        <p:nvSpPr>
          <p:cNvPr id="24" name="Text Placeholder 3"/>
          <p:cNvSpPr>
            <a:spLocks noGrp="1"/>
          </p:cNvSpPr>
          <p:nvPr>
            <p:ph type="body" sz="quarter" idx="12" hasCustomPrompt="1"/>
          </p:nvPr>
        </p:nvSpPr>
        <p:spPr>
          <a:xfrm>
            <a:off x="443528" y="1643459"/>
            <a:ext cx="3915970" cy="2925868"/>
          </a:xfrm>
          <a:prstGeom prst="rect">
            <a:avLst/>
          </a:prstGeom>
        </p:spPr>
        <p:txBody>
          <a:bodyPr lIns="91420" tIns="45710" rIns="91420" bIns="45710">
            <a:noAutofit/>
          </a:bodyPr>
          <a:lstStyle>
            <a:lvl1pPr marL="174625" indent="-174625" algn="l" defTabSz="684213" rtl="0" eaLnBrk="1" fontAlgn="base" hangingPunct="1">
              <a:lnSpc>
                <a:spcPct val="95000"/>
              </a:lnSpc>
              <a:spcBef>
                <a:spcPts val="1110"/>
              </a:spcBef>
              <a:spcAft>
                <a:spcPct val="0"/>
              </a:spcAft>
              <a:buClr>
                <a:schemeClr val="bg1">
                  <a:lumMod val="75000"/>
                </a:schemeClr>
              </a:buClr>
              <a:buSzPct val="80000"/>
              <a:buFont typeface="Arial"/>
              <a:buChar char="•"/>
              <a:defRPr sz="2400" b="0" i="0">
                <a:solidFill>
                  <a:schemeClr val="bg1">
                    <a:lumMod val="75000"/>
                  </a:schemeClr>
                </a:solidFill>
                <a:latin typeface="CiscoSansTT Light" panose="020B0503020201020303" pitchFamily="34" charset="0"/>
                <a:ea typeface="CiscoSansTT Thin" charset="0"/>
                <a:cs typeface="CiscoSansTT Thin" charset="0"/>
              </a:defRPr>
            </a:lvl1pPr>
            <a:lvl2pPr marL="341313" indent="-166688">
              <a:lnSpc>
                <a:spcPct val="95000"/>
              </a:lnSpc>
              <a:spcBef>
                <a:spcPts val="600"/>
              </a:spcBef>
              <a:buClr>
                <a:schemeClr val="bg1">
                  <a:lumMod val="75000"/>
                </a:schemeClr>
              </a:buClr>
              <a:buSzPct val="80000"/>
              <a:buFont typeface="Arial"/>
              <a:buChar char="•"/>
              <a:defRPr sz="1800" b="0" i="0">
                <a:solidFill>
                  <a:schemeClr val="bg1">
                    <a:lumMod val="75000"/>
                  </a:schemeClr>
                </a:solidFill>
                <a:latin typeface="CiscoSansTT Light" panose="020B0503020201020303" pitchFamily="34" charset="0"/>
                <a:ea typeface="CiscoSansTT Thin" charset="0"/>
                <a:cs typeface="CiscoSansTT Thin" charset="0"/>
              </a:defRPr>
            </a:lvl2pPr>
            <a:lvl3pPr marL="511175" indent="-169863">
              <a:spcBef>
                <a:spcPts val="600"/>
              </a:spcBef>
              <a:buClr>
                <a:schemeClr val="bg1">
                  <a:lumMod val="75000"/>
                </a:schemeClr>
              </a:buClr>
              <a:buSzPct val="8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CiscoSansTT Light" panose="020B0503020201020303" pitchFamily="34" charset="0"/>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CiscoSansTT Light" panose="020B0503020201020303" pitchFamily="34" charset="0"/>
                <a:ea typeface="CiscoSansTT Thin" charset="0"/>
                <a:cs typeface="CiscoSansTT Thin" charset="0"/>
              </a:defRPr>
            </a:lvl5pPr>
          </a:lstStyle>
          <a:p>
            <a:pPr marL="174625" lvl="0" indent="-174625" algn="l" defTabSz="684213" rtl="0" eaLnBrk="1" fontAlgn="base" hangingPunct="1">
              <a:lnSpc>
                <a:spcPct val="95000"/>
              </a:lnSpc>
              <a:spcBef>
                <a:spcPts val="1110"/>
              </a:spcBef>
              <a:spcAft>
                <a:spcPct val="0"/>
              </a:spcAft>
              <a:buClr>
                <a:schemeClr val="bg1">
                  <a:lumMod val="75000"/>
                </a:schemeClr>
              </a:buClr>
              <a:buSzPct val="80000"/>
              <a:buFont typeface="Arial"/>
              <a:buChar char="•"/>
            </a:pPr>
            <a:r>
              <a:rPr lang="en-US"/>
              <a:t>Click to edit Master text styles</a:t>
            </a:r>
          </a:p>
          <a:p>
            <a:pPr lvl="1"/>
            <a:r>
              <a:rPr lang="en-GB"/>
              <a:t>Second level</a:t>
            </a:r>
          </a:p>
          <a:p>
            <a:pPr lvl="2"/>
            <a:r>
              <a:rPr lang="en-GB"/>
              <a:t>Third level</a:t>
            </a:r>
            <a:endParaRPr lang="en-US"/>
          </a:p>
        </p:txBody>
      </p:sp>
      <p:pic>
        <p:nvPicPr>
          <p:cNvPr id="12" name="Picture 11">
            <a:extLst>
              <a:ext uri="{FF2B5EF4-FFF2-40B4-BE49-F238E27FC236}">
                <a16:creationId xmlns:a16="http://schemas.microsoft.com/office/drawing/2014/main" id="{3FC506B6-F70F-594C-AE4E-3FAED6F79EEA}"/>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3" name="Rectangle 12">
            <a:extLst>
              <a:ext uri="{FF2B5EF4-FFF2-40B4-BE49-F238E27FC236}">
                <a16:creationId xmlns:a16="http://schemas.microsoft.com/office/drawing/2014/main" id="{6A31D762-6701-6047-AF92-A8D14BF80B37}"/>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spTree>
    <p:extLst>
      <p:ext uri="{BB962C8B-B14F-4D97-AF65-F5344CB8AC3E}">
        <p14:creationId xmlns:p14="http://schemas.microsoft.com/office/powerpoint/2010/main" val="3013592972"/>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latin typeface="CiscoSansTT Light" panose="020B0503020201020303" pitchFamily="34" charset="0"/>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atin typeface="CiscoSansTT Light" panose="020B0503020201020303" pitchFamily="34" charset="0"/>
              </a:defRPr>
            </a:lvl1pPr>
          </a:lstStyle>
          <a:p>
            <a:r>
              <a:rPr lang="en-GB"/>
              <a:t>Click icon to add picture</a:t>
            </a:r>
            <a:endParaRPr lang="en-US"/>
          </a:p>
        </p:txBody>
      </p:sp>
      <p:sp>
        <p:nvSpPr>
          <p:cNvPr id="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11" name="Picture 10">
            <a:extLst>
              <a:ext uri="{FF2B5EF4-FFF2-40B4-BE49-F238E27FC236}">
                <a16:creationId xmlns:a16="http://schemas.microsoft.com/office/drawing/2014/main" id="{CC27062B-B8ED-C942-B053-BFC02C5D0792}"/>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2" name="Rectangle 11">
            <a:extLst>
              <a:ext uri="{FF2B5EF4-FFF2-40B4-BE49-F238E27FC236}">
                <a16:creationId xmlns:a16="http://schemas.microsoft.com/office/drawing/2014/main" id="{C61ADA88-B26A-AE41-88A5-1A88ED94AC7D}"/>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latin typeface="CiscoSansTT Light" panose="020B0503020201020303" pitchFamily="34" charset="0"/>
            </a:endParaRPr>
          </a:p>
        </p:txBody>
      </p:sp>
      <p:pic>
        <p:nvPicPr>
          <p:cNvPr id="13" name="Picture 12">
            <a:extLst>
              <a:ext uri="{FF2B5EF4-FFF2-40B4-BE49-F238E27FC236}">
                <a16:creationId xmlns:a16="http://schemas.microsoft.com/office/drawing/2014/main" id="{0AF18B4F-CAF7-874A-B3E9-107443D8559A}"/>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292847776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5"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7"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8" name="Picture 7">
            <a:extLst>
              <a:ext uri="{FF2B5EF4-FFF2-40B4-BE49-F238E27FC236}">
                <a16:creationId xmlns:a16="http://schemas.microsoft.com/office/drawing/2014/main" id="{16E46AF7-2D53-B54D-AE9D-C449771307F3}"/>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9" name="Rectangle 8">
            <a:extLst>
              <a:ext uri="{FF2B5EF4-FFF2-40B4-BE49-F238E27FC236}">
                <a16:creationId xmlns:a16="http://schemas.microsoft.com/office/drawing/2014/main" id="{F565F682-03AC-FE4F-8214-F4A0F5D3C0C7}"/>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CiscoSansTT Light" panose="020B0503020201020303" pitchFamily="34" charset="0"/>
            </a:endParaRPr>
          </a:p>
        </p:txBody>
      </p:sp>
      <p:pic>
        <p:nvPicPr>
          <p:cNvPr id="10" name="Picture 9">
            <a:extLst>
              <a:ext uri="{FF2B5EF4-FFF2-40B4-BE49-F238E27FC236}">
                <a16:creationId xmlns:a16="http://schemas.microsoft.com/office/drawing/2014/main" id="{A9EE2FBF-AC4D-D245-AC19-5F008DCE9BBC}"/>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305444901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atin typeface="CiscoSansTT Light" panose="020B0503020201020303" pitchFamily="34" charset="0"/>
              </a:defRPr>
            </a:lvl1pPr>
          </a:lstStyle>
          <a:p>
            <a:r>
              <a:rPr lang="en-GB"/>
              <a:t>Click icon to add picture</a:t>
            </a:r>
            <a:endParaRPr lang="en-US"/>
          </a:p>
        </p:txBody>
      </p:sp>
      <p:sp>
        <p:nvSpPr>
          <p:cNvPr id="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11" name="Picture 10">
            <a:extLst>
              <a:ext uri="{FF2B5EF4-FFF2-40B4-BE49-F238E27FC236}">
                <a16:creationId xmlns:a16="http://schemas.microsoft.com/office/drawing/2014/main" id="{48E63F1F-FE95-1A48-97D7-6B8A5697C3D6}"/>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2" name="Rectangle 11">
            <a:extLst>
              <a:ext uri="{FF2B5EF4-FFF2-40B4-BE49-F238E27FC236}">
                <a16:creationId xmlns:a16="http://schemas.microsoft.com/office/drawing/2014/main" id="{18CCCC48-8733-D24D-BA56-303DF380D1CB}"/>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pic>
        <p:nvPicPr>
          <p:cNvPr id="13" name="Picture 12">
            <a:extLst>
              <a:ext uri="{FF2B5EF4-FFF2-40B4-BE49-F238E27FC236}">
                <a16:creationId xmlns:a16="http://schemas.microsoft.com/office/drawing/2014/main" id="{CB9F645A-B7B1-6F4A-BE5E-5223FAB05245}"/>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297940207"/>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atin typeface="CiscoSansTT Light" panose="020B0503020201020303" pitchFamily="34" charset="0"/>
              </a:defRPr>
            </a:lvl1pPr>
          </a:lstStyle>
          <a:p>
            <a:r>
              <a:rPr lang="en-GB"/>
              <a:t>Click icon to add chart</a:t>
            </a:r>
            <a:endParaRPr lang="en-US"/>
          </a:p>
        </p:txBody>
      </p:sp>
      <p:sp>
        <p:nvSpPr>
          <p:cNvPr id="7"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11" name="Picture 10">
            <a:extLst>
              <a:ext uri="{FF2B5EF4-FFF2-40B4-BE49-F238E27FC236}">
                <a16:creationId xmlns:a16="http://schemas.microsoft.com/office/drawing/2014/main" id="{2F94A4C4-65AC-564C-80D7-62106AC06578}"/>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2" name="Rectangle 11">
            <a:extLst>
              <a:ext uri="{FF2B5EF4-FFF2-40B4-BE49-F238E27FC236}">
                <a16:creationId xmlns:a16="http://schemas.microsoft.com/office/drawing/2014/main" id="{5E4C7494-AECE-0E45-995C-96CABD144E8F}"/>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pic>
        <p:nvPicPr>
          <p:cNvPr id="13" name="Picture 12">
            <a:extLst>
              <a:ext uri="{FF2B5EF4-FFF2-40B4-BE49-F238E27FC236}">
                <a16:creationId xmlns:a16="http://schemas.microsoft.com/office/drawing/2014/main" id="{CEB2762E-48D9-CA43-B38A-2CF100C6F8AE}"/>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910562596"/>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atin typeface="CiscoSansTT Light" panose="020B0503020201020303" pitchFamily="34" charset="0"/>
              </a:defRPr>
            </a:lvl1pPr>
          </a:lstStyle>
          <a:p>
            <a:r>
              <a:rPr lang="en-GB"/>
              <a:t>Click icon to add table</a:t>
            </a:r>
            <a:endParaRPr lang="en-US"/>
          </a:p>
        </p:txBody>
      </p:sp>
      <p:sp>
        <p:nvSpPr>
          <p:cNvPr id="6"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9"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10"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Presentation</a:t>
            </a:r>
          </a:p>
        </p:txBody>
      </p:sp>
      <p:pic>
        <p:nvPicPr>
          <p:cNvPr id="11" name="Picture 10">
            <a:extLst>
              <a:ext uri="{FF2B5EF4-FFF2-40B4-BE49-F238E27FC236}">
                <a16:creationId xmlns:a16="http://schemas.microsoft.com/office/drawing/2014/main" id="{87BE9B87-DB13-7C4A-89CA-3A74DD667C3E}"/>
              </a:ext>
            </a:extLst>
          </p:cNvPr>
          <p:cNvPicPr>
            <a:picLocks noChangeAspect="1"/>
          </p:cNvPicPr>
          <p:nvPr/>
        </p:nvPicPr>
        <p:blipFill rotWithShape="1">
          <a:blip r:embed="rId2"/>
          <a:srcRect b="25357"/>
          <a:stretch/>
        </p:blipFill>
        <p:spPr>
          <a:xfrm>
            <a:off x="535208" y="4713094"/>
            <a:ext cx="1108685" cy="371377"/>
          </a:xfrm>
          <a:prstGeom prst="rect">
            <a:avLst/>
          </a:prstGeom>
        </p:spPr>
      </p:pic>
      <p:sp>
        <p:nvSpPr>
          <p:cNvPr id="12" name="Rectangle 11">
            <a:extLst>
              <a:ext uri="{FF2B5EF4-FFF2-40B4-BE49-F238E27FC236}">
                <a16:creationId xmlns:a16="http://schemas.microsoft.com/office/drawing/2014/main" id="{C1360BD3-77E4-D645-BB16-B42CD4711210}"/>
              </a:ext>
            </a:extLst>
          </p:cNvPr>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iscoSansTT Light" panose="020B0503020201020303" pitchFamily="34" charset="0"/>
            </a:endParaRPr>
          </a:p>
        </p:txBody>
      </p:sp>
      <p:pic>
        <p:nvPicPr>
          <p:cNvPr id="13" name="Picture 12">
            <a:extLst>
              <a:ext uri="{FF2B5EF4-FFF2-40B4-BE49-F238E27FC236}">
                <a16:creationId xmlns:a16="http://schemas.microsoft.com/office/drawing/2014/main" id="{0AA8968C-5A4B-3345-9A19-ECA10344BAC4}"/>
              </a:ext>
            </a:extLst>
          </p:cNvPr>
          <p:cNvPicPr>
            <a:picLocks noChangeAspect="1"/>
          </p:cNvPicPr>
          <p:nvPr/>
        </p:nvPicPr>
        <p:blipFill rotWithShape="1">
          <a:blip r:embed="rId2"/>
          <a:srcRect b="25357"/>
          <a:stretch/>
        </p:blipFill>
        <p:spPr>
          <a:xfrm>
            <a:off x="535208" y="4713094"/>
            <a:ext cx="1108685" cy="371377"/>
          </a:xfrm>
          <a:prstGeom prst="rect">
            <a:avLst/>
          </a:prstGeom>
        </p:spPr>
      </p:pic>
    </p:spTree>
    <p:extLst>
      <p:ext uri="{BB962C8B-B14F-4D97-AF65-F5344CB8AC3E}">
        <p14:creationId xmlns:p14="http://schemas.microsoft.com/office/powerpoint/2010/main" val="22116849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Webex Team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F9DF690-445E-4695-9858-F70FE06B0E52}"/>
              </a:ext>
            </a:extLst>
          </p:cNvPr>
          <p:cNvSpPr/>
          <p:nvPr/>
        </p:nvSpPr>
        <p:spPr>
          <a:xfrm>
            <a:off x="5640390" y="0"/>
            <a:ext cx="3503610" cy="5143500"/>
          </a:xfrm>
          <a:prstGeom prst="rect">
            <a:avLst/>
          </a:prstGeom>
          <a:solidFill>
            <a:srgbClr val="00263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Light"/>
              <a:ea typeface="+mn-ea"/>
              <a:cs typeface="+mn-cs"/>
            </a:endParaRPr>
          </a:p>
        </p:txBody>
      </p:sp>
      <p:grpSp>
        <p:nvGrpSpPr>
          <p:cNvPr id="11" name="Group 10">
            <a:extLst>
              <a:ext uri="{FF2B5EF4-FFF2-40B4-BE49-F238E27FC236}">
                <a16:creationId xmlns:a16="http://schemas.microsoft.com/office/drawing/2014/main" id="{50A4FAAC-ECC1-4A3A-84EA-E005793208F5}"/>
              </a:ext>
            </a:extLst>
          </p:cNvPr>
          <p:cNvGrpSpPr/>
          <p:nvPr/>
        </p:nvGrpSpPr>
        <p:grpSpPr>
          <a:xfrm>
            <a:off x="6191555" y="340451"/>
            <a:ext cx="2401279" cy="3657600"/>
            <a:chOff x="6191555" y="340451"/>
            <a:chExt cx="2401279" cy="3657600"/>
          </a:xfrm>
        </p:grpSpPr>
        <p:grpSp>
          <p:nvGrpSpPr>
            <p:cNvPr id="12" name="Group 11">
              <a:extLst>
                <a:ext uri="{FF2B5EF4-FFF2-40B4-BE49-F238E27FC236}">
                  <a16:creationId xmlns:a16="http://schemas.microsoft.com/office/drawing/2014/main" id="{44F294D6-0E3F-4939-87A7-BE484F736BAD}"/>
                </a:ext>
              </a:extLst>
            </p:cNvPr>
            <p:cNvGrpSpPr>
              <a:grpSpLocks noChangeAspect="1"/>
            </p:cNvGrpSpPr>
            <p:nvPr/>
          </p:nvGrpSpPr>
          <p:grpSpPr>
            <a:xfrm>
              <a:off x="6191555" y="340451"/>
              <a:ext cx="2401279" cy="3657600"/>
              <a:chOff x="6220438" y="677235"/>
              <a:chExt cx="2430648" cy="3702334"/>
            </a:xfrm>
          </p:grpSpPr>
          <p:sp>
            <p:nvSpPr>
              <p:cNvPr id="16" name="Rectangle 15">
                <a:extLst>
                  <a:ext uri="{FF2B5EF4-FFF2-40B4-BE49-F238E27FC236}">
                    <a16:creationId xmlns:a16="http://schemas.microsoft.com/office/drawing/2014/main" id="{E5379949-441E-4B67-AE80-9D84B32B2E83}"/>
                  </a:ext>
                </a:extLst>
              </p:cNvPr>
              <p:cNvSpPr/>
              <p:nvPr/>
            </p:nvSpPr>
            <p:spPr bwMode="auto">
              <a:xfrm>
                <a:off x="6754834" y="1318727"/>
                <a:ext cx="1378094" cy="2396023"/>
              </a:xfrm>
              <a:prstGeom prst="rect">
                <a:avLst/>
              </a:prstGeom>
              <a:solidFill>
                <a:schemeClr val="bg2"/>
              </a:solidFill>
              <a:ln w="12700" cap="flat">
                <a:noFill/>
                <a:miter lim="800000"/>
                <a:headEnd type="none" w="med" len="med"/>
                <a:tailEnd type="none" w="med" len="med"/>
              </a:ln>
            </p:spPr>
            <p:txBody>
              <a:bodyPr lIns="91440" tIns="45720" rIns="91440" bIns="45720" rtlCol="0" anchor="ctr"/>
              <a:lstStyle/>
              <a:p>
                <a:pPr marL="0" marR="0" lvl="0" indent="0" algn="ctr" defTabSz="51435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005073"/>
                  </a:solidFill>
                  <a:effectLst/>
                  <a:uLnTx/>
                  <a:uFillTx/>
                  <a:latin typeface="Arial" charset="0"/>
                  <a:ea typeface="Arial" pitchFamily="-107" charset="0"/>
                  <a:cs typeface="Arial" pitchFamily="-107" charset="0"/>
                  <a:sym typeface="Arial" pitchFamily="-107" charset="0"/>
                </a:endParaRPr>
              </a:p>
            </p:txBody>
          </p:sp>
          <p:grpSp>
            <p:nvGrpSpPr>
              <p:cNvPr id="19" name="Group 18">
                <a:extLst>
                  <a:ext uri="{FF2B5EF4-FFF2-40B4-BE49-F238E27FC236}">
                    <a16:creationId xmlns:a16="http://schemas.microsoft.com/office/drawing/2014/main" id="{612EB6E4-D766-4897-9162-180ED311FFFB}"/>
                  </a:ext>
                </a:extLst>
              </p:cNvPr>
              <p:cNvGrpSpPr/>
              <p:nvPr/>
            </p:nvGrpSpPr>
            <p:grpSpPr>
              <a:xfrm>
                <a:off x="6220438" y="677235"/>
                <a:ext cx="2430648" cy="3702334"/>
                <a:chOff x="5964516" y="720583"/>
                <a:chExt cx="2430648" cy="3702334"/>
              </a:xfrm>
            </p:grpSpPr>
            <p:pic>
              <p:nvPicPr>
                <p:cNvPr id="21" name="Picture 20">
                  <a:extLst>
                    <a:ext uri="{FF2B5EF4-FFF2-40B4-BE49-F238E27FC236}">
                      <a16:creationId xmlns:a16="http://schemas.microsoft.com/office/drawing/2014/main" id="{909C2594-E2FD-4E7D-978C-DA7B38060030}"/>
                    </a:ext>
                  </a:extLst>
                </p:cNvPr>
                <p:cNvPicPr>
                  <a:picLocks noChangeAspect="1"/>
                </p:cNvPicPr>
                <p:nvPr/>
              </p:nvPicPr>
              <p:blipFill rotWithShape="1">
                <a:blip r:embed="rId2"/>
                <a:srcRect t="393" b="393"/>
                <a:stretch/>
              </p:blipFill>
              <p:spPr>
                <a:xfrm>
                  <a:off x="6519384" y="1362075"/>
                  <a:ext cx="1321831" cy="2316047"/>
                </a:xfrm>
                <a:prstGeom prst="rect">
                  <a:avLst/>
                </a:prstGeom>
                <a:noFill/>
                <a:ln>
                  <a:noFill/>
                </a:ln>
              </p:spPr>
            </p:pic>
            <p:pic>
              <p:nvPicPr>
                <p:cNvPr id="22" name="Picture 21">
                  <a:extLst>
                    <a:ext uri="{FF2B5EF4-FFF2-40B4-BE49-F238E27FC236}">
                      <a16:creationId xmlns:a16="http://schemas.microsoft.com/office/drawing/2014/main" id="{1D0AE8F2-416B-4A97-957A-80FAAC116A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4516" y="720583"/>
                  <a:ext cx="2430648" cy="3702334"/>
                </a:xfrm>
                <a:prstGeom prst="rect">
                  <a:avLst/>
                </a:prstGeom>
              </p:spPr>
            </p:pic>
          </p:grpSp>
        </p:grpSp>
        <p:grpSp>
          <p:nvGrpSpPr>
            <p:cNvPr id="13" name="Group 12">
              <a:extLst>
                <a:ext uri="{FF2B5EF4-FFF2-40B4-BE49-F238E27FC236}">
                  <a16:creationId xmlns:a16="http://schemas.microsoft.com/office/drawing/2014/main" id="{D0765B87-D869-4755-ACA0-749BC4BF8FF5}"/>
                </a:ext>
              </a:extLst>
            </p:cNvPr>
            <p:cNvGrpSpPr/>
            <p:nvPr/>
          </p:nvGrpSpPr>
          <p:grpSpPr>
            <a:xfrm>
              <a:off x="6764331" y="2738257"/>
              <a:ext cx="155448" cy="146304"/>
              <a:chOff x="6764331" y="2738380"/>
              <a:chExt cx="155448" cy="146304"/>
            </a:xfrm>
          </p:grpSpPr>
          <p:sp>
            <p:nvSpPr>
              <p:cNvPr id="14" name="Rectangle 13">
                <a:extLst>
                  <a:ext uri="{FF2B5EF4-FFF2-40B4-BE49-F238E27FC236}">
                    <a16:creationId xmlns:a16="http://schemas.microsoft.com/office/drawing/2014/main" id="{9AB7B583-D851-4E57-AB91-1D71763AC553}"/>
                  </a:ext>
                </a:extLst>
              </p:cNvPr>
              <p:cNvSpPr/>
              <p:nvPr/>
            </p:nvSpPr>
            <p:spPr>
              <a:xfrm>
                <a:off x="6764331" y="2738380"/>
                <a:ext cx="155448" cy="1463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Light"/>
                  <a:ea typeface="+mn-ea"/>
                  <a:cs typeface="+mn-cs"/>
                </a:endParaRPr>
              </a:p>
            </p:txBody>
          </p:sp>
          <p:pic>
            <p:nvPicPr>
              <p:cNvPr id="15" name="Picture 14">
                <a:extLst>
                  <a:ext uri="{FF2B5EF4-FFF2-40B4-BE49-F238E27FC236}">
                    <a16:creationId xmlns:a16="http://schemas.microsoft.com/office/drawing/2014/main" id="{29666361-A28C-44EE-AE7A-A940F01E1728}"/>
                  </a:ext>
                </a:extLst>
              </p:cNvPr>
              <p:cNvPicPr>
                <a:picLocks noChangeAspect="1"/>
              </p:cNvPicPr>
              <p:nvPr/>
            </p:nvPicPr>
            <p:blipFill>
              <a:blip r:embed="rId4"/>
              <a:stretch>
                <a:fillRect/>
              </a:stretch>
            </p:blipFill>
            <p:spPr>
              <a:xfrm>
                <a:off x="6778047" y="2747524"/>
                <a:ext cx="128016" cy="128016"/>
              </a:xfrm>
              <a:prstGeom prst="rect">
                <a:avLst/>
              </a:prstGeom>
            </p:spPr>
          </p:pic>
        </p:grpSp>
      </p:grpSp>
      <p:sp>
        <p:nvSpPr>
          <p:cNvPr id="23" name="Text Placeholder 4">
            <a:extLst>
              <a:ext uri="{FF2B5EF4-FFF2-40B4-BE49-F238E27FC236}">
                <a16:creationId xmlns:a16="http://schemas.microsoft.com/office/drawing/2014/main" id="{3B9AC477-04F4-4894-A3FB-C83D726B3645}"/>
              </a:ext>
            </a:extLst>
          </p:cNvPr>
          <p:cNvSpPr txBox="1">
            <a:spLocks/>
          </p:cNvSpPr>
          <p:nvPr/>
        </p:nvSpPr>
        <p:spPr>
          <a:xfrm>
            <a:off x="447233" y="1262811"/>
            <a:ext cx="5002737" cy="693253"/>
          </a:xfrm>
          <a:prstGeom prst="rect">
            <a:avLst/>
          </a:prstGeom>
        </p:spPr>
        <p:txBody>
          <a:bodyPr anchor="ct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marR="0" lvl="0" indent="0" algn="l" defTabSz="914378" rtl="0" eaLnBrk="1" fontAlgn="base" latinLnBrk="0" hangingPunct="1">
              <a:lnSpc>
                <a:spcPct val="90000"/>
              </a:lnSpc>
              <a:spcBef>
                <a:spcPts val="0"/>
              </a:spcBef>
              <a:spcAft>
                <a:spcPts val="600"/>
              </a:spcAft>
              <a:buClrTx/>
              <a:buSzPct val="80000"/>
              <a:buFont typeface="Arial" panose="020B0604020202020204" pitchFamily="34" charset="0"/>
              <a:buNone/>
              <a:tabLst/>
              <a:defRPr/>
            </a:pPr>
            <a:r>
              <a:rPr kumimoji="0" lang="en-US" sz="1800" b="0" i="0" u="none" strike="noStrike" kern="0" cap="none" spc="0" normalizeH="0" baseline="0" noProof="0">
                <a:ln>
                  <a:noFill/>
                </a:ln>
                <a:solidFill>
                  <a:schemeClr val="accent1"/>
                </a:solidFill>
                <a:effectLst/>
                <a:uLnTx/>
                <a:uFillTx/>
                <a:latin typeface="CiscoSansTT Light" panose="020B0503020201020303" pitchFamily="34" charset="0"/>
                <a:ea typeface="+mn-ea"/>
                <a:cs typeface="CiscoSansTT Light" panose="020B0503020201020303" pitchFamily="34" charset="0"/>
                <a:sym typeface="Arial" pitchFamily="34" charset="0"/>
              </a:rPr>
              <a:t>Questions? </a:t>
            </a:r>
            <a:br>
              <a:rPr kumimoji="0" lang="en-US" sz="1800" b="0" i="0" u="none" strike="noStrike" kern="0" cap="none" spc="0" normalizeH="0" baseline="0" noProof="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b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Use Cisco Webex Teams</a:t>
            </a:r>
            <a:r>
              <a:rPr lang="en-US" sz="1400" kern="0">
                <a:latin typeface="CiscoSansTT Light" panose="020B0503020201020303" pitchFamily="34" charset="0"/>
                <a:cs typeface="CiscoSansTT Light" panose="020B0503020201020303" pitchFamily="34" charset="0"/>
              </a:rPr>
              <a:t> </a:t>
            </a: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to chat </a:t>
            </a:r>
            <a:b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b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with the speaker after the session</a:t>
            </a:r>
            <a:endParaRPr kumimoji="0" lang="en-US" sz="18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endParaRPr>
          </a:p>
        </p:txBody>
      </p:sp>
      <p:sp>
        <p:nvSpPr>
          <p:cNvPr id="24" name="Text Placeholder 4">
            <a:extLst>
              <a:ext uri="{FF2B5EF4-FFF2-40B4-BE49-F238E27FC236}">
                <a16:creationId xmlns:a16="http://schemas.microsoft.com/office/drawing/2014/main" id="{F1A2B9BB-2D98-4A35-95B2-F7C53A426159}"/>
              </a:ext>
            </a:extLst>
          </p:cNvPr>
          <p:cNvSpPr txBox="1">
            <a:spLocks/>
          </p:cNvSpPr>
          <p:nvPr/>
        </p:nvSpPr>
        <p:spPr>
          <a:xfrm>
            <a:off x="767904" y="2376835"/>
            <a:ext cx="4754880" cy="121675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588" marR="0" lvl="0" indent="0" algn="l" defTabSz="914378" rtl="0" eaLnBrk="1" fontAlgn="base" latinLnBrk="0" hangingPunct="1">
              <a:lnSpc>
                <a:spcPct val="100000"/>
              </a:lnSpc>
              <a:spcBef>
                <a:spcPts val="0"/>
              </a:spcBef>
              <a:spcAft>
                <a:spcPts val="600"/>
              </a:spcAft>
              <a:buClrTx/>
              <a:buSzPct val="80000"/>
              <a:buFont typeface="Arial" panose="020B0604020202020204" pitchFamily="34" charset="0"/>
              <a:buNone/>
              <a:tabLst/>
              <a:defRPr/>
            </a:pP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Find this session in the Cisco Events Mobile App</a:t>
            </a:r>
          </a:p>
          <a:p>
            <a:pPr marL="1588" marR="0" lvl="0" indent="0" algn="l" defTabSz="914378" rtl="0" eaLnBrk="1" fontAlgn="base" latinLnBrk="0" hangingPunct="1">
              <a:lnSpc>
                <a:spcPct val="100000"/>
              </a:lnSpc>
              <a:spcBef>
                <a:spcPts val="0"/>
              </a:spcBef>
              <a:spcAft>
                <a:spcPts val="600"/>
              </a:spcAft>
              <a:buClrTx/>
              <a:buSzPct val="80000"/>
              <a:buFont typeface="Arial" panose="020B0604020202020204" pitchFamily="34" charset="0"/>
              <a:buNone/>
              <a:tabLst/>
              <a:defRPr/>
            </a:pP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Click “Join the Discussion”</a:t>
            </a:r>
          </a:p>
          <a:p>
            <a:pPr marL="1588" marR="0" lvl="0" indent="0" algn="l" defTabSz="914378" rtl="0" eaLnBrk="1" fontAlgn="base" latinLnBrk="0" hangingPunct="1">
              <a:lnSpc>
                <a:spcPct val="100000"/>
              </a:lnSpc>
              <a:spcBef>
                <a:spcPts val="0"/>
              </a:spcBef>
              <a:spcAft>
                <a:spcPts val="600"/>
              </a:spcAft>
              <a:buClrTx/>
              <a:buSzPct val="80000"/>
              <a:buFont typeface="Arial" panose="020B0604020202020204" pitchFamily="34" charset="0"/>
              <a:buNone/>
              <a:tabLst/>
              <a:defRPr/>
            </a:pP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Install Webex Teams or go directly to the team space</a:t>
            </a:r>
          </a:p>
          <a:p>
            <a:pPr marL="1588" marR="0" lvl="0" indent="0" algn="l" defTabSz="914378" rtl="0" eaLnBrk="1" fontAlgn="base" latinLnBrk="0" hangingPunct="1">
              <a:lnSpc>
                <a:spcPct val="100000"/>
              </a:lnSpc>
              <a:spcBef>
                <a:spcPts val="0"/>
              </a:spcBef>
              <a:spcAft>
                <a:spcPts val="600"/>
              </a:spcAft>
              <a:buClrTx/>
              <a:buSzPct val="80000"/>
              <a:buFont typeface="Arial" panose="020B0604020202020204" pitchFamily="34" charset="0"/>
              <a:buNone/>
              <a:tabLst/>
              <a:defRPr/>
            </a:pPr>
            <a:r>
              <a:rPr kumimoji="0" lang="en-US" sz="1400" b="0" i="0" u="none" strike="noStrike" kern="0" cap="none" spc="0" normalizeH="0" baseline="0" noProof="0">
                <a:ln>
                  <a:noFill/>
                </a:ln>
                <a:effectLst/>
                <a:uLnTx/>
                <a:uFillTx/>
                <a:latin typeface="CiscoSansTT Light" panose="020B0503020201020303" pitchFamily="34" charset="0"/>
                <a:ea typeface="+mn-ea"/>
                <a:cs typeface="CiscoSansTT Light" panose="020B0503020201020303" pitchFamily="34" charset="0"/>
                <a:sym typeface="Arial" pitchFamily="34" charset="0"/>
              </a:rPr>
              <a:t>Enter messages/questions in the team space</a:t>
            </a:r>
          </a:p>
        </p:txBody>
      </p:sp>
      <p:sp>
        <p:nvSpPr>
          <p:cNvPr id="25" name="Text Placeholder 4">
            <a:extLst>
              <a:ext uri="{FF2B5EF4-FFF2-40B4-BE49-F238E27FC236}">
                <a16:creationId xmlns:a16="http://schemas.microsoft.com/office/drawing/2014/main" id="{EBAF03E6-8D9E-4F71-8DAF-403DEE2BC87D}"/>
              </a:ext>
            </a:extLst>
          </p:cNvPr>
          <p:cNvSpPr txBox="1">
            <a:spLocks/>
          </p:cNvSpPr>
          <p:nvPr/>
        </p:nvSpPr>
        <p:spPr>
          <a:xfrm>
            <a:off x="447234" y="2039679"/>
            <a:ext cx="3047999" cy="389419"/>
          </a:xfrm>
          <a:prstGeom prst="rect">
            <a:avLst/>
          </a:prstGeom>
        </p:spPr>
        <p:txBody>
          <a:bodyPr anchor="ct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85" marR="0" lvl="0" indent="0" algn="l" defTabSz="914378" rtl="0" eaLnBrk="1" fontAlgn="base" latinLnBrk="0" hangingPunct="1">
              <a:lnSpc>
                <a:spcPct val="90000"/>
              </a:lnSpc>
              <a:spcBef>
                <a:spcPts val="1200"/>
              </a:spcBef>
              <a:spcAft>
                <a:spcPct val="0"/>
              </a:spcAft>
              <a:buClrTx/>
              <a:buSzPct val="80000"/>
              <a:buFont typeface="Arial" panose="020B0604020202020204" pitchFamily="34" charset="0"/>
              <a:buNone/>
              <a:tabLst/>
              <a:defRPr/>
            </a:pPr>
            <a:r>
              <a:rPr kumimoji="0" lang="en-US" sz="1800" b="0" i="0" u="none" strike="noStrike" kern="0" cap="none" spc="0" normalizeH="0" baseline="0" noProof="0">
                <a:ln>
                  <a:noFill/>
                </a:ln>
                <a:solidFill>
                  <a:srgbClr val="00BCEB"/>
                </a:solidFill>
                <a:effectLst/>
                <a:uLnTx/>
                <a:uFillTx/>
                <a:latin typeface="CiscoSansTT Light" panose="020B0503020201020303" pitchFamily="34" charset="0"/>
                <a:ea typeface="+mn-ea"/>
                <a:cs typeface="CiscoSansTT Light" panose="020B0503020201020303" pitchFamily="34" charset="0"/>
                <a:sym typeface="Arial" pitchFamily="34" charset="0"/>
              </a:rPr>
              <a:t>How</a:t>
            </a:r>
            <a:endParaRPr kumimoji="0" lang="en-US" sz="1600" b="0" i="0" u="none" strike="noStrike" kern="0" cap="none" spc="0" normalizeH="0" baseline="0" noProof="0">
              <a:ln>
                <a:noFill/>
              </a:ln>
              <a:solidFill>
                <a:srgbClr val="00BCEB"/>
              </a:solidFill>
              <a:effectLst/>
              <a:uLnTx/>
              <a:uFillTx/>
              <a:latin typeface="CiscoSansTT Light" panose="020B0503020201020303" pitchFamily="34" charset="0"/>
              <a:ea typeface="+mn-ea"/>
              <a:cs typeface="CiscoSansTT Light" panose="020B0503020201020303" pitchFamily="34" charset="0"/>
              <a:sym typeface="Arial" pitchFamily="34" charset="0"/>
            </a:endParaRPr>
          </a:p>
        </p:txBody>
      </p:sp>
      <p:sp>
        <p:nvSpPr>
          <p:cNvPr id="27" name="Rounded Rectangle 22">
            <a:extLst>
              <a:ext uri="{FF2B5EF4-FFF2-40B4-BE49-F238E27FC236}">
                <a16:creationId xmlns:a16="http://schemas.microsoft.com/office/drawing/2014/main" id="{157AE1BF-1A3C-409A-BE31-66897CEA0857}"/>
              </a:ext>
            </a:extLst>
          </p:cNvPr>
          <p:cNvSpPr/>
          <p:nvPr/>
        </p:nvSpPr>
        <p:spPr bwMode="auto">
          <a:xfrm>
            <a:off x="6351221" y="2682456"/>
            <a:ext cx="1554480" cy="257907"/>
          </a:xfrm>
          <a:prstGeom prst="roundRect">
            <a:avLst>
              <a:gd name="adj" fmla="val 50000"/>
            </a:avLst>
          </a:prstGeom>
          <a:noFill/>
          <a:ln w="19050" cap="flat">
            <a:solidFill>
              <a:schemeClr val="accent1"/>
            </a:solidFill>
            <a:miter lim="800000"/>
            <a:headEnd type="none" w="med" len="med"/>
            <a:tailEnd type="none" w="med" len="med"/>
          </a:ln>
        </p:spPr>
        <p:txBody>
          <a:bodyPr lIns="91440" tIns="45720" rIns="91440" bIns="45720" rtlCol="0" anchor="ctr"/>
          <a:lstStyle/>
          <a:p>
            <a:pPr marL="0" marR="0" lvl="0" indent="0" algn="ctr" defTabSz="51435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err="1">
              <a:ln>
                <a:noFill/>
              </a:ln>
              <a:solidFill>
                <a:srgbClr val="005073"/>
              </a:solidFill>
              <a:effectLst/>
              <a:uLnTx/>
              <a:uFillTx/>
              <a:latin typeface="Arial" charset="0"/>
              <a:ea typeface="Arial" pitchFamily="-107" charset="0"/>
              <a:cs typeface="Arial" pitchFamily="-107" charset="0"/>
              <a:sym typeface="Arial" pitchFamily="-107" charset="0"/>
            </a:endParaRPr>
          </a:p>
        </p:txBody>
      </p:sp>
      <p:sp>
        <p:nvSpPr>
          <p:cNvPr id="28" name="Line 9">
            <a:extLst>
              <a:ext uri="{FF2B5EF4-FFF2-40B4-BE49-F238E27FC236}">
                <a16:creationId xmlns:a16="http://schemas.microsoft.com/office/drawing/2014/main" id="{EE7A223D-E40D-4E8D-AFAB-AA5C57CFACD3}"/>
              </a:ext>
            </a:extLst>
          </p:cNvPr>
          <p:cNvSpPr>
            <a:spLocks noChangeShapeType="1"/>
          </p:cNvSpPr>
          <p:nvPr/>
        </p:nvSpPr>
        <p:spPr bwMode="auto">
          <a:xfrm flipH="1">
            <a:off x="3132051" y="2811409"/>
            <a:ext cx="3383280" cy="0"/>
          </a:xfrm>
          <a:prstGeom prst="line">
            <a:avLst/>
          </a:prstGeom>
          <a:noFill/>
          <a:ln w="9525" cap="rnd">
            <a:solidFill>
              <a:schemeClr val="accent1"/>
            </a:solidFill>
            <a:round/>
            <a:headEnd type="oval"/>
            <a:tailEnd/>
          </a:ln>
          <a:extLst>
            <a:ext uri="{909E8E84-426E-40dd-AFC4-6F175D3DCCD1}">
              <a14:hiddenFill xmlns="" xmlns:a14="http://schemas.microsoft.com/office/drawing/2010/main">
                <a:noFill/>
              </a14:hiddenFill>
            </a:ext>
          </a:extLst>
        </p:spPr>
        <p:txBody>
          <a:bodyPr lIns="0" tIns="0" rIns="0" bIns="0"/>
          <a:lstStyle/>
          <a:p>
            <a:pPr marL="0" marR="0" lvl="0" indent="0" algn="l" defTabSz="51435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sym typeface="Arial" pitchFamily="34" charset="0"/>
            </a:endParaRPr>
          </a:p>
        </p:txBody>
      </p:sp>
      <p:sp>
        <p:nvSpPr>
          <p:cNvPr id="29" name="Oval 28">
            <a:extLst>
              <a:ext uri="{FF2B5EF4-FFF2-40B4-BE49-F238E27FC236}">
                <a16:creationId xmlns:a16="http://schemas.microsoft.com/office/drawing/2014/main" id="{9B5F58E2-3718-4CC4-AD1B-9CD7011CD382}"/>
              </a:ext>
            </a:extLst>
          </p:cNvPr>
          <p:cNvSpPr>
            <a:spLocks noChangeAspect="1"/>
          </p:cNvSpPr>
          <p:nvPr/>
        </p:nvSpPr>
        <p:spPr>
          <a:xfrm>
            <a:off x="539304" y="2425389"/>
            <a:ext cx="228600" cy="228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1</a:t>
            </a:r>
          </a:p>
        </p:txBody>
      </p:sp>
      <p:sp>
        <p:nvSpPr>
          <p:cNvPr id="30" name="Oval 29">
            <a:extLst>
              <a:ext uri="{FF2B5EF4-FFF2-40B4-BE49-F238E27FC236}">
                <a16:creationId xmlns:a16="http://schemas.microsoft.com/office/drawing/2014/main" id="{B2238E70-A16F-4BD0-9EAB-32155A4A6478}"/>
              </a:ext>
            </a:extLst>
          </p:cNvPr>
          <p:cNvSpPr>
            <a:spLocks noChangeAspect="1"/>
          </p:cNvSpPr>
          <p:nvPr/>
        </p:nvSpPr>
        <p:spPr>
          <a:xfrm>
            <a:off x="539304" y="2711740"/>
            <a:ext cx="228600" cy="228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2</a:t>
            </a:r>
          </a:p>
        </p:txBody>
      </p:sp>
      <p:sp>
        <p:nvSpPr>
          <p:cNvPr id="31" name="Oval 30">
            <a:extLst>
              <a:ext uri="{FF2B5EF4-FFF2-40B4-BE49-F238E27FC236}">
                <a16:creationId xmlns:a16="http://schemas.microsoft.com/office/drawing/2014/main" id="{28CBE1AC-DA28-450F-BC46-A9E05DBD04BF}"/>
              </a:ext>
            </a:extLst>
          </p:cNvPr>
          <p:cNvSpPr>
            <a:spLocks noChangeAspect="1"/>
          </p:cNvSpPr>
          <p:nvPr/>
        </p:nvSpPr>
        <p:spPr>
          <a:xfrm>
            <a:off x="539304" y="2998091"/>
            <a:ext cx="228600" cy="228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3</a:t>
            </a:r>
          </a:p>
        </p:txBody>
      </p:sp>
      <p:sp>
        <p:nvSpPr>
          <p:cNvPr id="32" name="Oval 31">
            <a:extLst>
              <a:ext uri="{FF2B5EF4-FFF2-40B4-BE49-F238E27FC236}">
                <a16:creationId xmlns:a16="http://schemas.microsoft.com/office/drawing/2014/main" id="{98DAAAD4-97D5-4E38-AB36-134CED964EEB}"/>
              </a:ext>
            </a:extLst>
          </p:cNvPr>
          <p:cNvSpPr>
            <a:spLocks noChangeAspect="1"/>
          </p:cNvSpPr>
          <p:nvPr/>
        </p:nvSpPr>
        <p:spPr>
          <a:xfrm>
            <a:off x="539304" y="3284443"/>
            <a:ext cx="228600" cy="2286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chemeClr val="bg1">
                    <a:lumMod val="75000"/>
                  </a:schemeClr>
                </a:solidFill>
                <a:effectLst/>
                <a:uLnTx/>
                <a:uFillTx/>
                <a:latin typeface="CiscoSansTT Light" panose="020B0503020201020303" pitchFamily="34" charset="0"/>
                <a:ea typeface="+mn-ea"/>
                <a:cs typeface="CiscoSansTT Light" panose="020B0503020201020303" pitchFamily="34" charset="0"/>
              </a:rPr>
              <a:t>4</a:t>
            </a:r>
          </a:p>
        </p:txBody>
      </p:sp>
      <p:sp>
        <p:nvSpPr>
          <p:cNvPr id="34" name="Rectangle 4">
            <a:extLst>
              <a:ext uri="{FF2B5EF4-FFF2-40B4-BE49-F238E27FC236}">
                <a16:creationId xmlns:a16="http://schemas.microsoft.com/office/drawing/2014/main" id="{5879ED1F-60D1-47DA-B068-0A4CE174A510}"/>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20"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sp>
        <p:nvSpPr>
          <p:cNvPr id="36" name="Footer Placeholder 2"/>
          <p:cNvSpPr>
            <a:spLocks noGrp="1"/>
          </p:cNvSpPr>
          <p:nvPr>
            <p:ph type="ftr" sz="quarter" idx="3"/>
          </p:nvPr>
        </p:nvSpPr>
        <p:spPr>
          <a:xfrm>
            <a:off x="7493929" y="3823345"/>
            <a:ext cx="1182547" cy="223768"/>
          </a:xfrm>
          <a:prstGeom prst="rect">
            <a:avLst/>
          </a:prstGeom>
          <a:noFill/>
          <a:ln w="9525">
            <a:noFill/>
            <a:miter lim="800000"/>
            <a:headEnd/>
            <a:tailEnd/>
          </a:ln>
          <a:effectLst/>
        </p:spPr>
        <p:txBody>
          <a:bodyPr wrap="square" lIns="61586" tIns="30792" rIns="61586" bIns="30792" anchor="b">
            <a:spAutoFit/>
          </a:bodyPr>
          <a:lstStyle>
            <a:lvl1pPr marL="0" marR="0" indent="0" algn="l" defTabSz="457200" rtl="0" eaLnBrk="1" fontAlgn="base" latinLnBrk="0" hangingPunct="1">
              <a:lnSpc>
                <a:spcPct val="100000"/>
              </a:lnSpc>
              <a:spcBef>
                <a:spcPct val="0"/>
              </a:spcBef>
              <a:spcAft>
                <a:spcPct val="0"/>
              </a:spcAft>
              <a:buClrTx/>
              <a:buSzTx/>
              <a:buFontTx/>
              <a:buNone/>
              <a:tabLst/>
              <a:defRPr kumimoji="0" lang="en-US" sz="1050" b="0" i="0" u="none" strike="noStrike" kern="1200" cap="none" spc="0" normalizeH="0" baseline="0">
                <a:ln>
                  <a:noFill/>
                </a:ln>
                <a:solidFill>
                  <a:schemeClr val="accent1"/>
                </a:solidFill>
                <a:effectLst/>
                <a:uLnTx/>
                <a:uFillTx/>
                <a:latin typeface="CiscoSansTT Light" panose="020B0503020201020303" pitchFamily="34" charset="0"/>
                <a:ea typeface="ＭＳ Ｐゴシック" charset="0"/>
                <a:cs typeface="CiscoSansTT Light" panose="020B0503020201020303" pitchFamily="34" charset="0"/>
              </a:defRPr>
            </a:lvl1pPr>
          </a:lstStyle>
          <a:p>
            <a:pPr>
              <a:defRPr/>
            </a:pPr>
            <a:r>
              <a:rPr lang="en-US"/>
              <a:t>BRKXXX-xxxx</a:t>
            </a:r>
          </a:p>
        </p:txBody>
      </p:sp>
      <p:sp>
        <p:nvSpPr>
          <p:cNvPr id="41" name="Rectangle 40">
            <a:extLst>
              <a:ext uri="{FF2B5EF4-FFF2-40B4-BE49-F238E27FC236}">
                <a16:creationId xmlns:a16="http://schemas.microsoft.com/office/drawing/2014/main" id="{5C18556C-D96F-400E-99A7-D71A1FD850D3}"/>
              </a:ext>
            </a:extLst>
          </p:cNvPr>
          <p:cNvSpPr/>
          <p:nvPr/>
        </p:nvSpPr>
        <p:spPr>
          <a:xfrm>
            <a:off x="6285672" y="3806925"/>
            <a:ext cx="1375698" cy="253916"/>
          </a:xfrm>
          <a:prstGeom prst="rect">
            <a:avLst/>
          </a:prstGeom>
        </p:spPr>
        <p:txBody>
          <a:bodyPr wrap="non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chemeClr val="accent1"/>
                </a:solidFill>
                <a:effectLst/>
                <a:uLnTx/>
                <a:uFillTx/>
                <a:latin typeface="CiscoSansTT Light" panose="020B0503020201020303" pitchFamily="34" charset="0"/>
                <a:ea typeface="ＭＳ Ｐゴシック" charset="0"/>
                <a:cs typeface="CiscoSansTT Light" panose="020B0503020201020303" pitchFamily="34" charset="0"/>
              </a:rPr>
              <a:t>cs.co/</a:t>
            </a:r>
            <a:r>
              <a:rPr kumimoji="0" lang="en-US" sz="1050" b="0" i="0" u="none" strike="noStrike" kern="1200" cap="none" spc="0" normalizeH="0" baseline="0" noProof="0" err="1">
                <a:ln>
                  <a:noFill/>
                </a:ln>
                <a:solidFill>
                  <a:schemeClr val="accent1"/>
                </a:solidFill>
                <a:effectLst/>
                <a:uLnTx/>
                <a:uFillTx/>
                <a:latin typeface="CiscoSansTT Light" panose="020B0503020201020303" pitchFamily="34" charset="0"/>
                <a:ea typeface="ＭＳ Ｐゴシック" charset="0"/>
                <a:cs typeface="CiscoSansTT Light" panose="020B0503020201020303" pitchFamily="34" charset="0"/>
              </a:rPr>
              <a:t>ciscolivebot</a:t>
            </a:r>
            <a:r>
              <a:rPr kumimoji="0" lang="en-US" sz="1050" b="0" i="0" u="none" strike="noStrike" kern="1200" cap="none" spc="0" normalizeH="0" baseline="0" noProof="0">
                <a:ln>
                  <a:noFill/>
                </a:ln>
                <a:solidFill>
                  <a:schemeClr val="accent1"/>
                </a:solidFill>
                <a:effectLst/>
                <a:uLnTx/>
                <a:uFillTx/>
                <a:latin typeface="CiscoSansTT Light" panose="020B0503020201020303" pitchFamily="34" charset="0"/>
                <a:ea typeface="ＭＳ Ｐゴシック" charset="0"/>
                <a:cs typeface="CiscoSansTT Light" panose="020B0503020201020303" pitchFamily="34" charset="0"/>
              </a:rPr>
              <a:t>#</a:t>
            </a:r>
          </a:p>
        </p:txBody>
      </p:sp>
      <p:pic>
        <p:nvPicPr>
          <p:cNvPr id="35" name="Picture 34">
            <a:extLst>
              <a:ext uri="{FF2B5EF4-FFF2-40B4-BE49-F238E27FC236}">
                <a16:creationId xmlns:a16="http://schemas.microsoft.com/office/drawing/2014/main" id="{7F9EA1A5-0826-EA40-9C65-5979BB5122EC}"/>
              </a:ext>
            </a:extLst>
          </p:cNvPr>
          <p:cNvPicPr>
            <a:picLocks noChangeAspect="1"/>
          </p:cNvPicPr>
          <p:nvPr/>
        </p:nvPicPr>
        <p:blipFill rotWithShape="1">
          <a:blip r:embed="rId5"/>
          <a:srcRect b="25725"/>
          <a:stretch/>
        </p:blipFill>
        <p:spPr>
          <a:xfrm>
            <a:off x="534485" y="4714924"/>
            <a:ext cx="1108685" cy="369548"/>
          </a:xfrm>
          <a:prstGeom prst="rect">
            <a:avLst/>
          </a:prstGeom>
        </p:spPr>
      </p:pic>
      <p:sp>
        <p:nvSpPr>
          <p:cNvPr id="4" name="Title 3">
            <a:extLst>
              <a:ext uri="{FF2B5EF4-FFF2-40B4-BE49-F238E27FC236}">
                <a16:creationId xmlns:a16="http://schemas.microsoft.com/office/drawing/2014/main" id="{BDB2FED7-9435-B549-8744-759D86373C1F}"/>
              </a:ext>
            </a:extLst>
          </p:cNvPr>
          <p:cNvSpPr>
            <a:spLocks noGrp="1"/>
          </p:cNvSpPr>
          <p:nvPr>
            <p:ph type="title"/>
          </p:nvPr>
        </p:nvSpPr>
        <p:spPr/>
        <p:txBody>
          <a:bodyPr anchor="t"/>
          <a:lstStyle/>
          <a:p>
            <a:r>
              <a:rPr lang="en-GB"/>
              <a:t>Click to edit Master title style</a:t>
            </a:r>
            <a:endParaRPr lang="en-US"/>
          </a:p>
        </p:txBody>
      </p:sp>
    </p:spTree>
    <p:extLst>
      <p:ext uri="{BB962C8B-B14F-4D97-AF65-F5344CB8AC3E}">
        <p14:creationId xmlns:p14="http://schemas.microsoft.com/office/powerpoint/2010/main" val="2236516213"/>
      </p:ext>
    </p:extLst>
  </p:cSld>
  <p:clrMapOvr>
    <a:masterClrMapping/>
  </p:clrMapOvr>
  <p:hf hd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Evaluation Layout">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C099A8C1-CE9A-434D-8828-AA823B7F4256}"/>
              </a:ext>
            </a:extLst>
          </p:cNvPr>
          <p:cNvSpPr/>
          <p:nvPr/>
        </p:nvSpPr>
        <p:spPr>
          <a:xfrm>
            <a:off x="-8792" y="-79131"/>
            <a:ext cx="3502152" cy="5234661"/>
          </a:xfrm>
          <a:prstGeom prst="rect">
            <a:avLst/>
          </a:prstGeom>
          <a:solidFill>
            <a:srgbClr val="00263A"/>
          </a:solidFill>
          <a:ln w="12700" cap="flat">
            <a:noFill/>
            <a:miter lim="800000"/>
            <a:headEnd type="none" w="med" len="med"/>
            <a:tailEnd type="none" w="med" len="med"/>
          </a:ln>
        </p:spPr>
        <p:txBody>
          <a:bodyPr lIns="91440" tIns="45720" rIns="91440" bIns="45720" rtlCol="0" anchor="ctr"/>
          <a:lstStyle/>
          <a:p>
            <a:pPr algn="ctr" defTabSz="514350"/>
            <a:endParaRPr lang="en-US" sz="1400">
              <a:solidFill>
                <a:srgbClr val="00BCEB"/>
              </a:solidFill>
              <a:latin typeface="CiscoSansTT Light" panose="020B0503020201020303" pitchFamily="34" charset="0"/>
            </a:endParaRPr>
          </a:p>
        </p:txBody>
      </p:sp>
      <p:grpSp>
        <p:nvGrpSpPr>
          <p:cNvPr id="31" name="Group 30">
            <a:extLst>
              <a:ext uri="{FF2B5EF4-FFF2-40B4-BE49-F238E27FC236}">
                <a16:creationId xmlns:a16="http://schemas.microsoft.com/office/drawing/2014/main" id="{5EB21BDC-1284-41A7-B3ED-07C3296871D7}"/>
              </a:ext>
            </a:extLst>
          </p:cNvPr>
          <p:cNvGrpSpPr>
            <a:grpSpLocks noChangeAspect="1"/>
          </p:cNvGrpSpPr>
          <p:nvPr/>
        </p:nvGrpSpPr>
        <p:grpSpPr>
          <a:xfrm>
            <a:off x="404156" y="1797471"/>
            <a:ext cx="2676257" cy="1609347"/>
            <a:chOff x="6189528" y="3389683"/>
            <a:chExt cx="930658" cy="559644"/>
          </a:xfrm>
        </p:grpSpPr>
        <p:grpSp>
          <p:nvGrpSpPr>
            <p:cNvPr id="32" name="Group 31">
              <a:extLst>
                <a:ext uri="{FF2B5EF4-FFF2-40B4-BE49-F238E27FC236}">
                  <a16:creationId xmlns:a16="http://schemas.microsoft.com/office/drawing/2014/main" id="{B62D52DD-E918-4DC1-9142-DC34B023A75C}"/>
                </a:ext>
              </a:extLst>
            </p:cNvPr>
            <p:cNvGrpSpPr>
              <a:grpSpLocks noChangeAspect="1"/>
            </p:cNvGrpSpPr>
            <p:nvPr/>
          </p:nvGrpSpPr>
          <p:grpSpPr>
            <a:xfrm>
              <a:off x="6826496" y="3560595"/>
              <a:ext cx="293690" cy="388732"/>
              <a:chOff x="1631724" y="3365528"/>
              <a:chExt cx="342990" cy="453986"/>
            </a:xfrm>
          </p:grpSpPr>
          <p:sp>
            <p:nvSpPr>
              <p:cNvPr id="51" name="Freeform 312">
                <a:extLst>
                  <a:ext uri="{FF2B5EF4-FFF2-40B4-BE49-F238E27FC236}">
                    <a16:creationId xmlns:a16="http://schemas.microsoft.com/office/drawing/2014/main" id="{24C0A353-F79D-441E-9764-94F4C37F5E41}"/>
                  </a:ext>
                </a:extLst>
              </p:cNvPr>
              <p:cNvSpPr>
                <a:spLocks/>
              </p:cNvSpPr>
              <p:nvPr/>
            </p:nvSpPr>
            <p:spPr bwMode="auto">
              <a:xfrm>
                <a:off x="1631724" y="3365528"/>
                <a:ext cx="342990" cy="453986"/>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2" name="Oval 313">
                <a:extLst>
                  <a:ext uri="{FF2B5EF4-FFF2-40B4-BE49-F238E27FC236}">
                    <a16:creationId xmlns:a16="http://schemas.microsoft.com/office/drawing/2014/main" id="{864D2AAE-7D98-48C5-829C-C33A684E05A7}"/>
                  </a:ext>
                </a:extLst>
              </p:cNvPr>
              <p:cNvSpPr>
                <a:spLocks noChangeArrowheads="1"/>
              </p:cNvSpPr>
              <p:nvPr/>
            </p:nvSpPr>
            <p:spPr bwMode="auto">
              <a:xfrm>
                <a:off x="1787720" y="3773644"/>
                <a:ext cx="30998" cy="29999"/>
              </a:xfrm>
              <a:prstGeom prst="ellipse">
                <a:avLst/>
              </a:prstGeom>
              <a:solidFill>
                <a:srgbClr val="002B49"/>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314">
                <a:extLst>
                  <a:ext uri="{FF2B5EF4-FFF2-40B4-BE49-F238E27FC236}">
                    <a16:creationId xmlns:a16="http://schemas.microsoft.com/office/drawing/2014/main" id="{3378A5B4-4C29-4071-9E9A-A67F85D78C16}"/>
                  </a:ext>
                </a:extLst>
              </p:cNvPr>
              <p:cNvSpPr>
                <a:spLocks/>
              </p:cNvSpPr>
              <p:nvPr/>
            </p:nvSpPr>
            <p:spPr bwMode="auto">
              <a:xfrm>
                <a:off x="1775719" y="3590519"/>
                <a:ext cx="56998" cy="4000"/>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Rectangle 315">
                <a:extLst>
                  <a:ext uri="{FF2B5EF4-FFF2-40B4-BE49-F238E27FC236}">
                    <a16:creationId xmlns:a16="http://schemas.microsoft.com/office/drawing/2014/main" id="{127D323A-11A4-48A0-932D-2B0AB94C910F}"/>
                  </a:ext>
                </a:extLst>
              </p:cNvPr>
              <p:cNvSpPr>
                <a:spLocks noChangeArrowheads="1"/>
              </p:cNvSpPr>
              <p:nvPr/>
            </p:nvSpPr>
            <p:spPr bwMode="auto">
              <a:xfrm>
                <a:off x="1657723" y="3426521"/>
                <a:ext cx="290991" cy="333990"/>
              </a:xfrm>
              <a:prstGeom prst="rect">
                <a:avLst/>
              </a:prstGeom>
              <a:solidFill>
                <a:srgbClr val="00263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E6A10A22-063D-4982-8FA4-21C94C6DC5CF}"/>
                </a:ext>
              </a:extLst>
            </p:cNvPr>
            <p:cNvGrpSpPr/>
            <p:nvPr/>
          </p:nvGrpSpPr>
          <p:grpSpPr>
            <a:xfrm>
              <a:off x="6189528" y="3389683"/>
              <a:ext cx="777368" cy="481616"/>
              <a:chOff x="6189528" y="3389683"/>
              <a:chExt cx="777368" cy="481616"/>
            </a:xfrm>
          </p:grpSpPr>
          <p:sp>
            <p:nvSpPr>
              <p:cNvPr id="48" name="Freeform: Shape 47">
                <a:extLst>
                  <a:ext uri="{FF2B5EF4-FFF2-40B4-BE49-F238E27FC236}">
                    <a16:creationId xmlns:a16="http://schemas.microsoft.com/office/drawing/2014/main" id="{93174F1E-DC58-4886-A21D-8F588AD147E5}"/>
                  </a:ext>
                </a:extLst>
              </p:cNvPr>
              <p:cNvSpPr/>
              <p:nvPr/>
            </p:nvSpPr>
            <p:spPr>
              <a:xfrm>
                <a:off x="6189528" y="3816435"/>
                <a:ext cx="599982" cy="54864"/>
              </a:xfrm>
              <a:custGeom>
                <a:avLst/>
                <a:gdLst>
                  <a:gd name="connsiteX0" fmla="*/ 27432 w 599982"/>
                  <a:gd name="connsiteY0" fmla="*/ 0 h 54864"/>
                  <a:gd name="connsiteX1" fmla="*/ 599982 w 599982"/>
                  <a:gd name="connsiteY1" fmla="*/ 0 h 54864"/>
                  <a:gd name="connsiteX2" fmla="*/ 599982 w 599982"/>
                  <a:gd name="connsiteY2" fmla="*/ 54864 h 54864"/>
                  <a:gd name="connsiteX3" fmla="*/ 27432 w 599982"/>
                  <a:gd name="connsiteY3" fmla="*/ 54864 h 54864"/>
                  <a:gd name="connsiteX4" fmla="*/ 0 w 599982"/>
                  <a:gd name="connsiteY4" fmla="*/ 27432 h 54864"/>
                  <a:gd name="connsiteX5" fmla="*/ 27432 w 599982"/>
                  <a:gd name="connsiteY5" fmla="*/ 0 h 5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9982" h="54864">
                    <a:moveTo>
                      <a:pt x="27432" y="0"/>
                    </a:moveTo>
                    <a:lnTo>
                      <a:pt x="599982" y="0"/>
                    </a:lnTo>
                    <a:lnTo>
                      <a:pt x="599982" y="54864"/>
                    </a:lnTo>
                    <a:lnTo>
                      <a:pt x="27432" y="54864"/>
                    </a:lnTo>
                    <a:cubicBezTo>
                      <a:pt x="12282" y="54864"/>
                      <a:pt x="0" y="42582"/>
                      <a:pt x="0" y="27432"/>
                    </a:cubicBezTo>
                    <a:cubicBezTo>
                      <a:pt x="0" y="12282"/>
                      <a:pt x="12282" y="0"/>
                      <a:pt x="27432"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Freeform: Shape 48">
                <a:extLst>
                  <a:ext uri="{FF2B5EF4-FFF2-40B4-BE49-F238E27FC236}">
                    <a16:creationId xmlns:a16="http://schemas.microsoft.com/office/drawing/2014/main" id="{2DDE3BD9-7D90-46FB-847C-6A04A1AFECD5}"/>
                  </a:ext>
                </a:extLst>
              </p:cNvPr>
              <p:cNvSpPr/>
              <p:nvPr/>
            </p:nvSpPr>
            <p:spPr>
              <a:xfrm>
                <a:off x="6288930" y="3389683"/>
                <a:ext cx="677966" cy="128833"/>
              </a:xfrm>
              <a:custGeom>
                <a:avLst/>
                <a:gdLst>
                  <a:gd name="connsiteX0" fmla="*/ 42675 w 677966"/>
                  <a:gd name="connsiteY0" fmla="*/ 0 h 128833"/>
                  <a:gd name="connsiteX1" fmla="*/ 635291 w 677966"/>
                  <a:gd name="connsiteY1" fmla="*/ 0 h 128833"/>
                  <a:gd name="connsiteX2" fmla="*/ 677966 w 677966"/>
                  <a:gd name="connsiteY2" fmla="*/ 42675 h 128833"/>
                  <a:gd name="connsiteX3" fmla="*/ 677966 w 677966"/>
                  <a:gd name="connsiteY3" fmla="*/ 128833 h 128833"/>
                  <a:gd name="connsiteX4" fmla="*/ 649879 w 677966"/>
                  <a:gd name="connsiteY4" fmla="*/ 128833 h 128833"/>
                  <a:gd name="connsiteX5" fmla="*/ 649879 w 677966"/>
                  <a:gd name="connsiteY5" fmla="*/ 45027 h 128833"/>
                  <a:gd name="connsiteX6" fmla="*/ 635432 w 677966"/>
                  <a:gd name="connsiteY6" fmla="*/ 30580 h 128833"/>
                  <a:gd name="connsiteX7" fmla="*/ 42534 w 677966"/>
                  <a:gd name="connsiteY7" fmla="*/ 30580 h 128833"/>
                  <a:gd name="connsiteX8" fmla="*/ 28087 w 677966"/>
                  <a:gd name="connsiteY8" fmla="*/ 45027 h 128833"/>
                  <a:gd name="connsiteX9" fmla="*/ 28087 w 677966"/>
                  <a:gd name="connsiteY9" fmla="*/ 63014 h 128833"/>
                  <a:gd name="connsiteX10" fmla="*/ 0 w 677966"/>
                  <a:gd name="connsiteY10" fmla="*/ 63014 h 128833"/>
                  <a:gd name="connsiteX11" fmla="*/ 0 w 677966"/>
                  <a:gd name="connsiteY11" fmla="*/ 42675 h 128833"/>
                  <a:gd name="connsiteX12" fmla="*/ 42675 w 677966"/>
                  <a:gd name="connsiteY12" fmla="*/ 0 h 128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966" h="128833">
                    <a:moveTo>
                      <a:pt x="42675" y="0"/>
                    </a:moveTo>
                    <a:lnTo>
                      <a:pt x="635291" y="0"/>
                    </a:lnTo>
                    <a:cubicBezTo>
                      <a:pt x="658860" y="0"/>
                      <a:pt x="677966" y="19106"/>
                      <a:pt x="677966" y="42675"/>
                    </a:cubicBezTo>
                    <a:lnTo>
                      <a:pt x="677966" y="128833"/>
                    </a:lnTo>
                    <a:lnTo>
                      <a:pt x="649879" y="128833"/>
                    </a:lnTo>
                    <a:lnTo>
                      <a:pt x="649879" y="45027"/>
                    </a:lnTo>
                    <a:cubicBezTo>
                      <a:pt x="649879" y="37048"/>
                      <a:pt x="643411" y="30580"/>
                      <a:pt x="635432" y="30580"/>
                    </a:cubicBezTo>
                    <a:lnTo>
                      <a:pt x="42534" y="30580"/>
                    </a:lnTo>
                    <a:cubicBezTo>
                      <a:pt x="34555" y="30580"/>
                      <a:pt x="28087" y="37048"/>
                      <a:pt x="28087" y="45027"/>
                    </a:cubicBezTo>
                    <a:lnTo>
                      <a:pt x="28087" y="63014"/>
                    </a:lnTo>
                    <a:lnTo>
                      <a:pt x="0" y="63014"/>
                    </a:lnTo>
                    <a:lnTo>
                      <a:pt x="0" y="42675"/>
                    </a:lnTo>
                    <a:cubicBezTo>
                      <a:pt x="0" y="19106"/>
                      <a:pt x="19106" y="0"/>
                      <a:pt x="42675" y="0"/>
                    </a:cubicBez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Freeform: Shape 49">
                <a:extLst>
                  <a:ext uri="{FF2B5EF4-FFF2-40B4-BE49-F238E27FC236}">
                    <a16:creationId xmlns:a16="http://schemas.microsoft.com/office/drawing/2014/main" id="{58E8600A-BEC5-4898-881C-349A65BFE363}"/>
                  </a:ext>
                </a:extLst>
              </p:cNvPr>
              <p:cNvSpPr/>
              <p:nvPr/>
            </p:nvSpPr>
            <p:spPr>
              <a:xfrm>
                <a:off x="6399537" y="3740303"/>
                <a:ext cx="389975" cy="30581"/>
              </a:xfrm>
              <a:custGeom>
                <a:avLst/>
                <a:gdLst>
                  <a:gd name="connsiteX0" fmla="*/ 0 w 389975"/>
                  <a:gd name="connsiteY0" fmla="*/ 0 h 30581"/>
                  <a:gd name="connsiteX1" fmla="*/ 389975 w 389975"/>
                  <a:gd name="connsiteY1" fmla="*/ 0 h 30581"/>
                  <a:gd name="connsiteX2" fmla="*/ 389975 w 389975"/>
                  <a:gd name="connsiteY2" fmla="*/ 30581 h 30581"/>
                  <a:gd name="connsiteX3" fmla="*/ 0 w 389975"/>
                  <a:gd name="connsiteY3" fmla="*/ 30581 h 30581"/>
                  <a:gd name="connsiteX4" fmla="*/ 0 w 389975"/>
                  <a:gd name="connsiteY4" fmla="*/ 0 h 30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9975" h="30581">
                    <a:moveTo>
                      <a:pt x="0" y="0"/>
                    </a:moveTo>
                    <a:lnTo>
                      <a:pt x="389975" y="0"/>
                    </a:lnTo>
                    <a:lnTo>
                      <a:pt x="389975" y="30581"/>
                    </a:lnTo>
                    <a:lnTo>
                      <a:pt x="0" y="30581"/>
                    </a:lnTo>
                    <a:lnTo>
                      <a:pt x="0"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4" name="Group 33">
              <a:extLst>
                <a:ext uri="{FF2B5EF4-FFF2-40B4-BE49-F238E27FC236}">
                  <a16:creationId xmlns:a16="http://schemas.microsoft.com/office/drawing/2014/main" id="{0A8ACDA5-4B16-4864-974A-A701E08E5643}"/>
                </a:ext>
              </a:extLst>
            </p:cNvPr>
            <p:cNvGrpSpPr>
              <a:grpSpLocks noChangeAspect="1"/>
            </p:cNvGrpSpPr>
            <p:nvPr/>
          </p:nvGrpSpPr>
          <p:grpSpPr>
            <a:xfrm>
              <a:off x="6195815" y="3489732"/>
              <a:ext cx="167145" cy="296483"/>
              <a:chOff x="839748" y="3892513"/>
              <a:chExt cx="167995" cy="297991"/>
            </a:xfrm>
          </p:grpSpPr>
          <p:sp>
            <p:nvSpPr>
              <p:cNvPr id="35" name="Freeform 307">
                <a:extLst>
                  <a:ext uri="{FF2B5EF4-FFF2-40B4-BE49-F238E27FC236}">
                    <a16:creationId xmlns:a16="http://schemas.microsoft.com/office/drawing/2014/main" id="{B356AF09-C31F-4CCF-98E8-F8C7C840FC85}"/>
                  </a:ext>
                </a:extLst>
              </p:cNvPr>
              <p:cNvSpPr>
                <a:spLocks/>
              </p:cNvSpPr>
              <p:nvPr/>
            </p:nvSpPr>
            <p:spPr bwMode="auto">
              <a:xfrm>
                <a:off x="839748" y="3892513"/>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Oval 308">
                <a:extLst>
                  <a:ext uri="{FF2B5EF4-FFF2-40B4-BE49-F238E27FC236}">
                    <a16:creationId xmlns:a16="http://schemas.microsoft.com/office/drawing/2014/main" id="{59577B0A-547F-4492-BCBF-01701981D924}"/>
                  </a:ext>
                </a:extLst>
              </p:cNvPr>
              <p:cNvSpPr>
                <a:spLocks noChangeArrowheads="1"/>
              </p:cNvSpPr>
              <p:nvPr/>
            </p:nvSpPr>
            <p:spPr bwMode="auto">
              <a:xfrm>
                <a:off x="914246" y="4159501"/>
                <a:ext cx="18999" cy="18999"/>
              </a:xfrm>
              <a:prstGeom prst="ellipse">
                <a:avLst/>
              </a:prstGeom>
              <a:solidFill>
                <a:srgbClr val="00263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309">
                <a:extLst>
                  <a:ext uri="{FF2B5EF4-FFF2-40B4-BE49-F238E27FC236}">
                    <a16:creationId xmlns:a16="http://schemas.microsoft.com/office/drawing/2014/main" id="{CDA35281-A94F-4E32-9AA2-A5D673165452}"/>
                  </a:ext>
                </a:extLst>
              </p:cNvPr>
              <p:cNvSpPr>
                <a:spLocks/>
              </p:cNvSpPr>
              <p:nvPr/>
            </p:nvSpPr>
            <p:spPr bwMode="auto">
              <a:xfrm>
                <a:off x="905746" y="3909509"/>
                <a:ext cx="35999" cy="3487"/>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rgbClr val="00263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Rectangle 310">
                <a:extLst>
                  <a:ext uri="{FF2B5EF4-FFF2-40B4-BE49-F238E27FC236}">
                    <a16:creationId xmlns:a16="http://schemas.microsoft.com/office/drawing/2014/main" id="{53C8EE27-AEF9-4CBD-A91A-C9C3A10818F7}"/>
                  </a:ext>
                </a:extLst>
              </p:cNvPr>
              <p:cNvSpPr>
                <a:spLocks noChangeArrowheads="1"/>
              </p:cNvSpPr>
              <p:nvPr/>
            </p:nvSpPr>
            <p:spPr bwMode="auto">
              <a:xfrm>
                <a:off x="856747" y="3935508"/>
                <a:ext cx="133996" cy="205994"/>
              </a:xfrm>
              <a:prstGeom prst="rect">
                <a:avLst/>
              </a:prstGeom>
              <a:solidFill>
                <a:schemeClr val="accent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 name="Rectangle 311">
                <a:extLst>
                  <a:ext uri="{FF2B5EF4-FFF2-40B4-BE49-F238E27FC236}">
                    <a16:creationId xmlns:a16="http://schemas.microsoft.com/office/drawing/2014/main" id="{0CD274C0-F1D3-44D8-B614-ECCBAE8A0135}"/>
                  </a:ext>
                </a:extLst>
              </p:cNvPr>
              <p:cNvSpPr>
                <a:spLocks noChangeArrowheads="1"/>
              </p:cNvSpPr>
              <p:nvPr/>
            </p:nvSpPr>
            <p:spPr bwMode="auto">
              <a:xfrm>
                <a:off x="856747" y="3935508"/>
                <a:ext cx="133996" cy="205994"/>
              </a:xfrm>
              <a:prstGeom prst="rect">
                <a:avLst/>
              </a:prstGeom>
              <a:solidFill>
                <a:srgbClr val="00263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55" name="TextBox 54">
            <a:extLst>
              <a:ext uri="{FF2B5EF4-FFF2-40B4-BE49-F238E27FC236}">
                <a16:creationId xmlns:a16="http://schemas.microsoft.com/office/drawing/2014/main" id="{4201EC9E-4258-4F4E-9E3E-6F22C83C65B9}"/>
              </a:ext>
            </a:extLst>
          </p:cNvPr>
          <p:cNvSpPr txBox="1"/>
          <p:nvPr/>
        </p:nvSpPr>
        <p:spPr>
          <a:xfrm>
            <a:off x="448056" y="124674"/>
            <a:ext cx="2834640" cy="1188720"/>
          </a:xfrm>
          <a:prstGeom prst="rect">
            <a:avLst/>
          </a:prstGeom>
          <a:noFill/>
          <a:ln>
            <a:noFill/>
          </a:ln>
        </p:spPr>
        <p:txBody>
          <a:bodyPr vert="horz" wrap="square" lIns="91440" tIns="45720" rIns="91440" bIns="45720" numCol="1" anchor="b" anchorCtr="0" compatLnSpc="1">
            <a:prstTxWarp prst="textNoShape">
              <a:avLst/>
            </a:prstTxWarp>
          </a:bodyPr>
          <a:lstStyle>
            <a:defPPr>
              <a:defRPr lang="en-US"/>
            </a:defPPr>
            <a:lvl1pPr marL="6251" indent="-6251" eaLnBrk="0" hangingPunct="0">
              <a:lnSpc>
                <a:spcPct val="80000"/>
              </a:lnSpc>
              <a:defRPr sz="2800">
                <a:solidFill>
                  <a:schemeClr val="bg2"/>
                </a:solidFill>
                <a:latin typeface="CiscoSansTT Light" panose="020B0503020201020303" pitchFamily="34" charset="0"/>
                <a:cs typeface="CiscoSansTT Light" panose="020B0503020201020303" pitchFamily="34" charset="0"/>
              </a:defRPr>
            </a:lvl1pPr>
          </a:lstStyle>
          <a:p>
            <a:r>
              <a:rPr lang="en-US"/>
              <a:t>Complete your </a:t>
            </a:r>
            <a:br>
              <a:rPr lang="en-US"/>
            </a:br>
            <a:r>
              <a:rPr lang="en-US"/>
              <a:t>online session </a:t>
            </a:r>
            <a:br>
              <a:rPr lang="en-US"/>
            </a:br>
            <a:r>
              <a:rPr lang="en-US"/>
              <a:t>survey</a:t>
            </a:r>
          </a:p>
        </p:txBody>
      </p:sp>
      <p:grpSp>
        <p:nvGrpSpPr>
          <p:cNvPr id="4" name="Group 3">
            <a:extLst>
              <a:ext uri="{FF2B5EF4-FFF2-40B4-BE49-F238E27FC236}">
                <a16:creationId xmlns:a16="http://schemas.microsoft.com/office/drawing/2014/main" id="{275DAC7E-B3F0-4594-99C0-59367C864BFD}"/>
              </a:ext>
            </a:extLst>
          </p:cNvPr>
          <p:cNvGrpSpPr/>
          <p:nvPr/>
        </p:nvGrpSpPr>
        <p:grpSpPr>
          <a:xfrm>
            <a:off x="4128323" y="878826"/>
            <a:ext cx="4830228" cy="3405052"/>
            <a:chOff x="4128323" y="878826"/>
            <a:chExt cx="4830228" cy="3109193"/>
          </a:xfrm>
        </p:grpSpPr>
        <p:sp>
          <p:nvSpPr>
            <p:cNvPr id="29" name="Content Placeholder 2">
              <a:extLst>
                <a:ext uri="{FF2B5EF4-FFF2-40B4-BE49-F238E27FC236}">
                  <a16:creationId xmlns:a16="http://schemas.microsoft.com/office/drawing/2014/main" id="{3FD817B1-7ED1-405A-95FB-33984E2DF36E}"/>
                </a:ext>
              </a:extLst>
            </p:cNvPr>
            <p:cNvSpPr txBox="1">
              <a:spLocks/>
            </p:cNvSpPr>
            <p:nvPr/>
          </p:nvSpPr>
          <p:spPr>
            <a:xfrm>
              <a:off x="4128323" y="878826"/>
              <a:ext cx="4830228" cy="2388793"/>
            </a:xfrm>
            <a:prstGeom prst="rect">
              <a:avLst/>
            </a:prstGeom>
          </p:spPr>
          <p:txBody>
            <a:bodyPr wrap="square">
              <a:spAutoFit/>
            </a:bodyPr>
            <a:lstStyle>
              <a:lvl1pPr marL="187523" indent="-185738" algn="l" rtl="0" eaLnBrk="0" fontAlgn="base" hangingPunct="0">
                <a:lnSpc>
                  <a:spcPct val="90000"/>
                </a:lnSpc>
                <a:spcBef>
                  <a:spcPts val="1200"/>
                </a:spcBef>
                <a:spcAft>
                  <a:spcPct val="0"/>
                </a:spcAft>
                <a:buClr>
                  <a:srgbClr val="0C65B7"/>
                </a:buClr>
                <a:buSzPct val="10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171450" indent="-169863">
                <a:buClr>
                  <a:schemeClr val="bg1"/>
                </a:buClr>
                <a:buSzPct val="80000"/>
              </a:pPr>
              <a:r>
                <a:rPr lang="en-US" sz="1600">
                  <a:solidFill>
                    <a:schemeClr val="bg1"/>
                  </a:solidFill>
                  <a:latin typeface="CiscoSansTT Light" panose="020B0503020201020303" pitchFamily="34" charset="0"/>
                  <a:cs typeface="CiscoSansTT Light" panose="020B0503020201020303" pitchFamily="34" charset="0"/>
                </a:rPr>
                <a:t>Please complete your session survey </a:t>
              </a:r>
              <a:br>
                <a:rPr lang="en-US" sz="1600">
                  <a:solidFill>
                    <a:schemeClr val="bg1"/>
                  </a:solidFill>
                  <a:latin typeface="CiscoSansTT Light" panose="020B0503020201020303" pitchFamily="34" charset="0"/>
                  <a:cs typeface="CiscoSansTT Light" panose="020B0503020201020303" pitchFamily="34" charset="0"/>
                </a:rPr>
              </a:br>
              <a:r>
                <a:rPr lang="en-US" sz="1600">
                  <a:solidFill>
                    <a:schemeClr val="bg1"/>
                  </a:solidFill>
                  <a:latin typeface="CiscoSansTT Light" panose="020B0503020201020303" pitchFamily="34" charset="0"/>
                  <a:cs typeface="CiscoSansTT Light" panose="020B0503020201020303" pitchFamily="34" charset="0"/>
                </a:rPr>
                <a:t>after each session. Your feedback </a:t>
              </a:r>
              <a:br>
                <a:rPr lang="en-US" sz="1600">
                  <a:solidFill>
                    <a:schemeClr val="bg1"/>
                  </a:solidFill>
                  <a:latin typeface="CiscoSansTT Light" panose="020B0503020201020303" pitchFamily="34" charset="0"/>
                  <a:cs typeface="CiscoSansTT Light" panose="020B0503020201020303" pitchFamily="34" charset="0"/>
                </a:rPr>
              </a:br>
              <a:r>
                <a:rPr lang="en-US" sz="1600">
                  <a:solidFill>
                    <a:schemeClr val="bg1"/>
                  </a:solidFill>
                  <a:latin typeface="CiscoSansTT Light" panose="020B0503020201020303" pitchFamily="34" charset="0"/>
                  <a:cs typeface="CiscoSansTT Light" panose="020B0503020201020303" pitchFamily="34" charset="0"/>
                </a:rPr>
                <a:t>is very important.</a:t>
              </a:r>
            </a:p>
            <a:p>
              <a:pPr marL="171450" indent="-169863">
                <a:buClr>
                  <a:schemeClr val="bg1"/>
                </a:buClr>
                <a:buSzPct val="80000"/>
              </a:pPr>
              <a:r>
                <a:rPr lang="en-US" sz="1600">
                  <a:solidFill>
                    <a:schemeClr val="bg1"/>
                  </a:solidFill>
                  <a:latin typeface="CiscoSansTT Light" panose="020B0503020201020303" pitchFamily="34" charset="0"/>
                  <a:cs typeface="CiscoSansTT Light" panose="020B0503020201020303" pitchFamily="34" charset="0"/>
                </a:rPr>
                <a:t>Complete a minimum of 4 session </a:t>
              </a:r>
              <a:br>
                <a:rPr lang="en-US" sz="1600">
                  <a:solidFill>
                    <a:schemeClr val="bg1"/>
                  </a:solidFill>
                  <a:latin typeface="CiscoSansTT Light" panose="020B0503020201020303" pitchFamily="34" charset="0"/>
                  <a:cs typeface="CiscoSansTT Light" panose="020B0503020201020303" pitchFamily="34" charset="0"/>
                </a:rPr>
              </a:br>
              <a:r>
                <a:rPr lang="en-US" sz="1600">
                  <a:solidFill>
                    <a:schemeClr val="bg1"/>
                  </a:solidFill>
                  <a:latin typeface="CiscoSansTT Light" panose="020B0503020201020303" pitchFamily="34" charset="0"/>
                  <a:cs typeface="CiscoSansTT Light" panose="020B0503020201020303" pitchFamily="34" charset="0"/>
                </a:rPr>
                <a:t>surveys and the Overall Conference </a:t>
              </a:r>
              <a:br>
                <a:rPr lang="en-US" sz="1600">
                  <a:solidFill>
                    <a:schemeClr val="bg1"/>
                  </a:solidFill>
                  <a:latin typeface="CiscoSansTT Light" panose="020B0503020201020303" pitchFamily="34" charset="0"/>
                  <a:cs typeface="CiscoSansTT Light" panose="020B0503020201020303" pitchFamily="34" charset="0"/>
                </a:rPr>
              </a:br>
              <a:r>
                <a:rPr lang="en-US" sz="1600">
                  <a:solidFill>
                    <a:schemeClr val="bg1"/>
                  </a:solidFill>
                  <a:latin typeface="CiscoSansTT Light" panose="020B0503020201020303" pitchFamily="34" charset="0"/>
                  <a:cs typeface="CiscoSansTT Light" panose="020B0503020201020303" pitchFamily="34" charset="0"/>
                </a:rPr>
                <a:t>survey (starting on Thursday) to </a:t>
              </a:r>
              <a:br>
                <a:rPr lang="en-US" sz="1600">
                  <a:solidFill>
                    <a:schemeClr val="bg1"/>
                  </a:solidFill>
                  <a:latin typeface="CiscoSansTT Light" panose="020B0503020201020303" pitchFamily="34" charset="0"/>
                  <a:cs typeface="CiscoSansTT Light" panose="020B0503020201020303" pitchFamily="34" charset="0"/>
                </a:rPr>
              </a:br>
              <a:r>
                <a:rPr lang="en-US" sz="1600">
                  <a:solidFill>
                    <a:schemeClr val="bg1"/>
                  </a:solidFill>
                  <a:latin typeface="CiscoSansTT Light" panose="020B0503020201020303" pitchFamily="34" charset="0"/>
                  <a:cs typeface="CiscoSansTT Light" panose="020B0503020201020303" pitchFamily="34" charset="0"/>
                </a:rPr>
                <a:t>receive your Cisco Live t-shirt.  </a:t>
              </a:r>
            </a:p>
            <a:p>
              <a:pPr marL="171450" indent="-169863">
                <a:buClr>
                  <a:schemeClr val="bg1"/>
                </a:buClr>
                <a:buSzPct val="80000"/>
              </a:pPr>
              <a:r>
                <a:rPr lang="en-US" sz="1600" kern="1200">
                  <a:solidFill>
                    <a:schemeClr val="bg1"/>
                  </a:solidFill>
                  <a:latin typeface="CiscoSansTT Light" panose="020B0503020201020303" pitchFamily="34" charset="0"/>
                  <a:ea typeface="+mn-ea"/>
                  <a:cs typeface="CiscoSansTT Light" panose="020B0503020201020303" pitchFamily="34" charset="0"/>
                  <a:sym typeface="Arial" pitchFamily="34" charset="0"/>
                </a:rPr>
                <a:t>All surveys can be taken in the Cisco Events Mobile App or by logging in to the </a:t>
              </a:r>
              <a:r>
                <a:rPr lang="en-GB" sz="1600" b="0" i="0" u="none" strike="noStrike" kern="1200">
                  <a:solidFill>
                    <a:schemeClr val="bg1"/>
                  </a:solidFill>
                  <a:effectLst/>
                  <a:latin typeface="+mn-lt"/>
                  <a:ea typeface="+mn-ea"/>
                  <a:cs typeface="+mn-cs"/>
                  <a:sym typeface="Arial" pitchFamily="34" charset="0"/>
                </a:rPr>
                <a:t>Content </a:t>
              </a:r>
              <a:r>
                <a:rPr lang="en-GB" sz="1600" b="0" i="0" u="none" strike="noStrike" kern="1200" err="1">
                  <a:solidFill>
                    <a:schemeClr val="bg1"/>
                  </a:solidFill>
                  <a:effectLst/>
                  <a:latin typeface="+mn-lt"/>
                  <a:ea typeface="+mn-ea"/>
                  <a:cs typeface="+mn-cs"/>
                  <a:sym typeface="Arial" pitchFamily="34" charset="0"/>
                </a:rPr>
                <a:t>Catalog</a:t>
              </a:r>
              <a:r>
                <a:rPr lang="en-US" sz="1600" kern="1200">
                  <a:solidFill>
                    <a:schemeClr val="bg1"/>
                  </a:solidFill>
                  <a:latin typeface="CiscoSansTT Light" panose="020B0503020201020303" pitchFamily="34" charset="0"/>
                  <a:ea typeface="+mn-ea"/>
                  <a:cs typeface="CiscoSansTT Light" panose="020B0503020201020303" pitchFamily="34" charset="0"/>
                  <a:sym typeface="Arial" pitchFamily="34" charset="0"/>
                </a:rPr>
                <a:t> on </a:t>
              </a:r>
              <a:r>
                <a:rPr lang="en-GB" sz="1600" b="0" i="0" u="sng" kern="1200">
                  <a:solidFill>
                    <a:schemeClr val="tx1"/>
                  </a:solidFill>
                  <a:effectLst/>
                  <a:latin typeface="+mn-lt"/>
                  <a:ea typeface="+mn-ea"/>
                  <a:cs typeface="+mn-cs"/>
                  <a:sym typeface="Arial" pitchFamily="34" charset="0"/>
                  <a:hlinkClick r:id="rId2" tooltip="Original URL:&#10;https://www.ciscolive.com/emea.html&#10;&#10;Click to follow link."/>
                </a:rPr>
                <a:t>ciscolive.com/emea</a:t>
              </a:r>
              <a:r>
                <a:rPr lang="en-US" sz="1600" kern="1200">
                  <a:solidFill>
                    <a:schemeClr val="bg1"/>
                  </a:solidFill>
                  <a:latin typeface="CiscoSansTT Light" panose="020B0503020201020303" pitchFamily="34" charset="0"/>
                  <a:ea typeface="+mn-ea"/>
                  <a:cs typeface="CiscoSansTT Light" panose="020B0503020201020303" pitchFamily="34" charset="0"/>
                  <a:sym typeface="Arial" pitchFamily="34" charset="0"/>
                </a:rPr>
                <a:t>.</a:t>
              </a:r>
            </a:p>
          </p:txBody>
        </p:sp>
        <p:sp>
          <p:nvSpPr>
            <p:cNvPr id="30" name="TextBox 29">
              <a:extLst>
                <a:ext uri="{FF2B5EF4-FFF2-40B4-BE49-F238E27FC236}">
                  <a16:creationId xmlns:a16="http://schemas.microsoft.com/office/drawing/2014/main" id="{25AAA40C-4A63-4445-A366-78242E0BEB3F}"/>
                </a:ext>
              </a:extLst>
            </p:cNvPr>
            <p:cNvSpPr txBox="1"/>
            <p:nvPr/>
          </p:nvSpPr>
          <p:spPr>
            <a:xfrm>
              <a:off x="4304712" y="3600191"/>
              <a:ext cx="4298716" cy="387828"/>
            </a:xfrm>
            <a:prstGeom prst="rect">
              <a:avLst/>
            </a:prstGeom>
            <a:noFill/>
          </p:spPr>
          <p:txBody>
            <a:bodyPr wrap="square" rtlCol="0">
              <a:spAutoFit/>
            </a:bodyPr>
            <a:lstStyle/>
            <a:p>
              <a:pPr defTabSz="914400">
                <a:lnSpc>
                  <a:spcPct val="90000"/>
                </a:lnSpc>
                <a:spcBef>
                  <a:spcPts val="0"/>
                </a:spcBef>
                <a:defRPr/>
              </a:pPr>
              <a:r>
                <a:rPr lang="en-US" sz="1200">
                  <a:solidFill>
                    <a:schemeClr val="bg1"/>
                  </a:solidFill>
                  <a:latin typeface="CiscoSansTT Light" panose="020B0503020201020303" pitchFamily="34" charset="0"/>
                  <a:cs typeface="CiscoSansTT Light" panose="020B0503020201020303" pitchFamily="34" charset="0"/>
                </a:rPr>
                <a:t>Cisco Live sessions will be available for viewing on demand after the event at </a:t>
              </a:r>
              <a:r>
                <a:rPr lang="en-US" sz="1200">
                  <a:solidFill>
                    <a:schemeClr val="bg1"/>
                  </a:solidFill>
                  <a:latin typeface="CiscoSansTT Light" panose="020B0503020201020303" pitchFamily="34" charset="0"/>
                  <a:cs typeface="CiscoSansTT Light" panose="020B0503020201020303" pitchFamily="34" charset="0"/>
                  <a:hlinkClick r:id="rId3"/>
                </a:rPr>
                <a:t>ciscolive.com</a:t>
              </a:r>
              <a:r>
                <a:rPr lang="en-US" sz="1200">
                  <a:solidFill>
                    <a:schemeClr val="bg1"/>
                  </a:solidFill>
                  <a:latin typeface="CiscoSansTT Light" panose="020B0503020201020303" pitchFamily="34" charset="0"/>
                  <a:cs typeface="CiscoSansTT Light" panose="020B0503020201020303" pitchFamily="34" charset="0"/>
                </a:rPr>
                <a:t>. </a:t>
              </a:r>
            </a:p>
          </p:txBody>
        </p:sp>
      </p:grpSp>
      <p:sp>
        <p:nvSpPr>
          <p:cNvPr id="36" name="Rectangle 4">
            <a:extLst>
              <a:ext uri="{FF2B5EF4-FFF2-40B4-BE49-F238E27FC236}">
                <a16:creationId xmlns:a16="http://schemas.microsoft.com/office/drawing/2014/main" id="{AED59B0F-C472-469F-8983-6C5A6F04ED5F}"/>
              </a:ext>
            </a:extLst>
          </p:cNvPr>
          <p:cNvSpPr>
            <a:spLocks noChangeArrowheads="1"/>
          </p:cNvSpPr>
          <p:nvPr/>
        </p:nvSpPr>
        <p:spPr bwMode="black">
          <a:xfrm>
            <a:off x="5849925" y="4946904"/>
            <a:ext cx="2544460" cy="154518"/>
          </a:xfrm>
          <a:prstGeom prst="rect">
            <a:avLst/>
          </a:prstGeom>
          <a:noFill/>
          <a:ln w="9525">
            <a:noFill/>
            <a:miter lim="800000"/>
            <a:headEnd/>
            <a:tailEnd/>
          </a:ln>
          <a:effectLst/>
        </p:spPr>
        <p:txBody>
          <a:bodyPr wrap="square" lIns="61586" tIns="30792" rIns="61586" bIns="30792" anchor="b">
            <a:spAutoFit/>
          </a:bodyPr>
          <a:lstStyle/>
          <a:p>
            <a:pPr marL="0" marR="0" lvl="0" indent="0" algn="r" defTabSz="610744"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20  Cisco and/or its affiliates. All rights reserved.   Cisco Public</a:t>
            </a:r>
          </a:p>
        </p:txBody>
      </p:sp>
      <p:sp>
        <p:nvSpPr>
          <p:cNvPr id="38" name="Footer Placeholder 2"/>
          <p:cNvSpPr>
            <a:spLocks noGrp="1"/>
          </p:cNvSpPr>
          <p:nvPr>
            <p:ph type="ftr" sz="quarter" idx="3"/>
          </p:nvPr>
        </p:nvSpPr>
        <p:spPr>
          <a:xfrm>
            <a:off x="5222533" y="4946904"/>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tx1"/>
                </a:solidFill>
                <a:latin typeface="CiscoSansTT Light" panose="020B0503020201020303" pitchFamily="34" charset="0"/>
                <a:cs typeface="CiscoSans Thin"/>
              </a:defRPr>
            </a:lvl1pPr>
          </a:lstStyle>
          <a:p>
            <a:pPr defTabSz="610744"/>
            <a:r>
              <a:rPr lang="en-US"/>
              <a:t>Session ID</a:t>
            </a:r>
          </a:p>
        </p:txBody>
      </p:sp>
      <p:sp>
        <p:nvSpPr>
          <p:cNvPr id="39" name="Slide Number Placeholder 1"/>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lvl1pPr algn="r">
              <a:defRPr lang="en-US" sz="6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a:p>
        </p:txBody>
      </p:sp>
      <p:pic>
        <p:nvPicPr>
          <p:cNvPr id="37" name="Picture 36">
            <a:extLst>
              <a:ext uri="{FF2B5EF4-FFF2-40B4-BE49-F238E27FC236}">
                <a16:creationId xmlns:a16="http://schemas.microsoft.com/office/drawing/2014/main" id="{2E4E6C20-DE8A-C548-B311-2900479A7405}"/>
              </a:ext>
            </a:extLst>
          </p:cNvPr>
          <p:cNvPicPr>
            <a:picLocks noChangeAspect="1"/>
          </p:cNvPicPr>
          <p:nvPr/>
        </p:nvPicPr>
        <p:blipFill rotWithShape="1">
          <a:blip r:embed="rId4"/>
          <a:srcRect b="23902"/>
          <a:stretch/>
        </p:blipFill>
        <p:spPr>
          <a:xfrm>
            <a:off x="601371" y="4787863"/>
            <a:ext cx="965211" cy="277454"/>
          </a:xfrm>
          <a:prstGeom prst="rect">
            <a:avLst/>
          </a:prstGeom>
        </p:spPr>
      </p:pic>
    </p:spTree>
    <p:extLst>
      <p:ext uri="{BB962C8B-B14F-4D97-AF65-F5344CB8AC3E}">
        <p14:creationId xmlns:p14="http://schemas.microsoft.com/office/powerpoint/2010/main" val="2682882067"/>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0013287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792270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Thank You">
    <p:bg>
      <p:bgPr>
        <a:solidFill>
          <a:srgbClr val="00263A"/>
        </a:solidFill>
        <a:effectLst/>
      </p:bgPr>
    </p:bg>
    <p:spTree>
      <p:nvGrpSpPr>
        <p:cNvPr id="1" name=""/>
        <p:cNvGrpSpPr/>
        <p:nvPr/>
      </p:nvGrpSpPr>
      <p:grpSpPr>
        <a:xfrm>
          <a:off x="0" y="0"/>
          <a:ext cx="0" cy="0"/>
          <a:chOff x="0" y="0"/>
          <a:chExt cx="0" cy="0"/>
        </a:xfrm>
      </p:grpSpPr>
      <p:sp>
        <p:nvSpPr>
          <p:cNvPr id="80" name="Freeform 6">
            <a:extLst>
              <a:ext uri="{FF2B5EF4-FFF2-40B4-BE49-F238E27FC236}">
                <a16:creationId xmlns:a16="http://schemas.microsoft.com/office/drawing/2014/main" id="{0D21382F-1630-2F4D-870C-A1590E6F67F0}"/>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sp>
        <p:nvSpPr>
          <p:cNvPr id="43" name="Title 1">
            <a:extLst>
              <a:ext uri="{FF2B5EF4-FFF2-40B4-BE49-F238E27FC236}">
                <a16:creationId xmlns:a16="http://schemas.microsoft.com/office/drawing/2014/main" id="{17D1F662-2240-4EA1-80F7-6B74E0FD509D}"/>
              </a:ext>
            </a:extLst>
          </p:cNvPr>
          <p:cNvSpPr txBox="1">
            <a:spLocks/>
          </p:cNvSpPr>
          <p:nvPr/>
        </p:nvSpPr>
        <p:spPr>
          <a:xfrm>
            <a:off x="425765" y="2071644"/>
            <a:ext cx="2935468" cy="1000213"/>
          </a:xfrm>
          <a:prstGeom prst="rect">
            <a:avLst/>
          </a:prstGeom>
        </p:spPr>
        <p:txBody>
          <a:bodyPr anchor="ctr"/>
          <a:lst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l"/>
            <a:r>
              <a:rPr lang="en-US" sz="4000">
                <a:solidFill>
                  <a:schemeClr val="bg2"/>
                </a:solidFill>
                <a:latin typeface="CiscoSansTT Light" panose="020B0503020201020303" pitchFamily="34" charset="0"/>
                <a:cs typeface="CiscoSansTT Light" panose="020B0503020201020303" pitchFamily="34" charset="0"/>
              </a:rPr>
              <a:t>Thank you</a:t>
            </a:r>
          </a:p>
        </p:txBody>
      </p:sp>
      <p:grpSp>
        <p:nvGrpSpPr>
          <p:cNvPr id="7" name="Group 6">
            <a:extLst>
              <a:ext uri="{FF2B5EF4-FFF2-40B4-BE49-F238E27FC236}">
                <a16:creationId xmlns:a16="http://schemas.microsoft.com/office/drawing/2014/main" id="{74C1DD50-407C-45B3-8A90-F6F21E4CA56B}"/>
              </a:ext>
            </a:extLst>
          </p:cNvPr>
          <p:cNvGrpSpPr>
            <a:grpSpLocks noChangeAspect="1"/>
          </p:cNvGrpSpPr>
          <p:nvPr/>
        </p:nvGrpSpPr>
        <p:grpSpPr>
          <a:xfrm>
            <a:off x="5157216" y="471144"/>
            <a:ext cx="3986784" cy="4201213"/>
            <a:chOff x="5540375" y="2120900"/>
            <a:chExt cx="3187700" cy="3359150"/>
          </a:xfrm>
        </p:grpSpPr>
        <p:sp>
          <p:nvSpPr>
            <p:cNvPr id="8" name="Freeform 1">
              <a:extLst>
                <a:ext uri="{FF2B5EF4-FFF2-40B4-BE49-F238E27FC236}">
                  <a16:creationId xmlns:a16="http://schemas.microsoft.com/office/drawing/2014/main" id="{E4A2B723-4817-464D-8287-C0CBB1B16DCA}"/>
                </a:ext>
              </a:extLst>
            </p:cNvPr>
            <p:cNvSpPr>
              <a:spLocks noChangeAspect="1" noChangeArrowheads="1"/>
            </p:cNvSpPr>
            <p:nvPr/>
          </p:nvSpPr>
          <p:spPr bwMode="auto">
            <a:xfrm>
              <a:off x="6518275" y="2566988"/>
              <a:ext cx="1557338" cy="2503487"/>
            </a:xfrm>
            <a:custGeom>
              <a:avLst/>
              <a:gdLst>
                <a:gd name="T0" fmla="*/ 705 w 4327"/>
                <a:gd name="T1" fmla="*/ 352 h 6953"/>
                <a:gd name="T2" fmla="*/ 705 w 4327"/>
                <a:gd name="T3" fmla="*/ 2923 h 6953"/>
                <a:gd name="T4" fmla="*/ 353 w 4327"/>
                <a:gd name="T5" fmla="*/ 3276 h 6953"/>
                <a:gd name="T6" fmla="*/ 353 w 4327"/>
                <a:gd name="T7" fmla="*/ 3276 h 6953"/>
                <a:gd name="T8" fmla="*/ 0 w 4327"/>
                <a:gd name="T9" fmla="*/ 2923 h 6953"/>
                <a:gd name="T10" fmla="*/ 0 w 4327"/>
                <a:gd name="T11" fmla="*/ 352 h 6953"/>
                <a:gd name="T12" fmla="*/ 353 w 4327"/>
                <a:gd name="T13" fmla="*/ 0 h 6953"/>
                <a:gd name="T14" fmla="*/ 353 w 4327"/>
                <a:gd name="T15" fmla="*/ 0 h 6953"/>
                <a:gd name="T16" fmla="*/ 705 w 4327"/>
                <a:gd name="T17" fmla="*/ 352 h 6953"/>
                <a:gd name="T18" fmla="*/ 1259 w 4327"/>
                <a:gd name="T19" fmla="*/ 2438 h 6953"/>
                <a:gd name="T20" fmla="*/ 1259 w 4327"/>
                <a:gd name="T21" fmla="*/ 2438 h 6953"/>
                <a:gd name="T22" fmla="*/ 906 w 4327"/>
                <a:gd name="T23" fmla="*/ 2791 h 6953"/>
                <a:gd name="T24" fmla="*/ 906 w 4327"/>
                <a:gd name="T25" fmla="*/ 5361 h 6953"/>
                <a:gd name="T26" fmla="*/ 1259 w 4327"/>
                <a:gd name="T27" fmla="*/ 5713 h 6953"/>
                <a:gd name="T28" fmla="*/ 1259 w 4327"/>
                <a:gd name="T29" fmla="*/ 5713 h 6953"/>
                <a:gd name="T30" fmla="*/ 1611 w 4327"/>
                <a:gd name="T31" fmla="*/ 5361 h 6953"/>
                <a:gd name="T32" fmla="*/ 1611 w 4327"/>
                <a:gd name="T33" fmla="*/ 2791 h 6953"/>
                <a:gd name="T34" fmla="*/ 1259 w 4327"/>
                <a:gd name="T35" fmla="*/ 2438 h 6953"/>
                <a:gd name="T36" fmla="*/ 3973 w 4327"/>
                <a:gd name="T37" fmla="*/ 3676 h 6953"/>
                <a:gd name="T38" fmla="*/ 3973 w 4327"/>
                <a:gd name="T39" fmla="*/ 3676 h 6953"/>
                <a:gd name="T40" fmla="*/ 3621 w 4327"/>
                <a:gd name="T41" fmla="*/ 4029 h 6953"/>
                <a:gd name="T42" fmla="*/ 3621 w 4327"/>
                <a:gd name="T43" fmla="*/ 6600 h 6953"/>
                <a:gd name="T44" fmla="*/ 3973 w 4327"/>
                <a:gd name="T45" fmla="*/ 6952 h 6953"/>
                <a:gd name="T46" fmla="*/ 3973 w 4327"/>
                <a:gd name="T47" fmla="*/ 6952 h 6953"/>
                <a:gd name="T48" fmla="*/ 4326 w 4327"/>
                <a:gd name="T49" fmla="*/ 6600 h 6953"/>
                <a:gd name="T50" fmla="*/ 4326 w 4327"/>
                <a:gd name="T51" fmla="*/ 4029 h 6953"/>
                <a:gd name="T52" fmla="*/ 3973 w 4327"/>
                <a:gd name="T53" fmla="*/ 3676 h 6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27" h="6953">
                  <a:moveTo>
                    <a:pt x="705" y="352"/>
                  </a:moveTo>
                  <a:lnTo>
                    <a:pt x="705" y="2923"/>
                  </a:lnTo>
                  <a:cubicBezTo>
                    <a:pt x="705" y="3118"/>
                    <a:pt x="547" y="3276"/>
                    <a:pt x="353" y="3276"/>
                  </a:cubicBezTo>
                  <a:lnTo>
                    <a:pt x="353" y="3276"/>
                  </a:lnTo>
                  <a:cubicBezTo>
                    <a:pt x="158" y="3276"/>
                    <a:pt x="0" y="3118"/>
                    <a:pt x="0" y="2923"/>
                  </a:cubicBezTo>
                  <a:lnTo>
                    <a:pt x="0" y="352"/>
                  </a:lnTo>
                  <a:cubicBezTo>
                    <a:pt x="0" y="158"/>
                    <a:pt x="158" y="0"/>
                    <a:pt x="353" y="0"/>
                  </a:cubicBezTo>
                  <a:lnTo>
                    <a:pt x="353" y="0"/>
                  </a:lnTo>
                  <a:cubicBezTo>
                    <a:pt x="547" y="0"/>
                    <a:pt x="705" y="158"/>
                    <a:pt x="705" y="352"/>
                  </a:cubicBezTo>
                  <a:close/>
                  <a:moveTo>
                    <a:pt x="1259" y="2438"/>
                  </a:moveTo>
                  <a:lnTo>
                    <a:pt x="1259" y="2438"/>
                  </a:lnTo>
                  <a:cubicBezTo>
                    <a:pt x="1064" y="2438"/>
                    <a:pt x="906" y="2596"/>
                    <a:pt x="906" y="2791"/>
                  </a:cubicBezTo>
                  <a:lnTo>
                    <a:pt x="906" y="5361"/>
                  </a:lnTo>
                  <a:cubicBezTo>
                    <a:pt x="906" y="5555"/>
                    <a:pt x="1064" y="5713"/>
                    <a:pt x="1259" y="5713"/>
                  </a:cubicBezTo>
                  <a:lnTo>
                    <a:pt x="1259" y="5713"/>
                  </a:lnTo>
                  <a:cubicBezTo>
                    <a:pt x="1453" y="5713"/>
                    <a:pt x="1611" y="5555"/>
                    <a:pt x="1611" y="5361"/>
                  </a:cubicBezTo>
                  <a:lnTo>
                    <a:pt x="1611" y="2791"/>
                  </a:lnTo>
                  <a:cubicBezTo>
                    <a:pt x="1611" y="2596"/>
                    <a:pt x="1453" y="2438"/>
                    <a:pt x="1259" y="2438"/>
                  </a:cubicBezTo>
                  <a:close/>
                  <a:moveTo>
                    <a:pt x="3973" y="3676"/>
                  </a:moveTo>
                  <a:lnTo>
                    <a:pt x="3973" y="3676"/>
                  </a:lnTo>
                  <a:cubicBezTo>
                    <a:pt x="3779" y="3676"/>
                    <a:pt x="3621" y="3834"/>
                    <a:pt x="3621" y="4029"/>
                  </a:cubicBezTo>
                  <a:lnTo>
                    <a:pt x="3621" y="6600"/>
                  </a:lnTo>
                  <a:cubicBezTo>
                    <a:pt x="3621" y="6794"/>
                    <a:pt x="3779" y="6952"/>
                    <a:pt x="3973" y="6952"/>
                  </a:cubicBezTo>
                  <a:lnTo>
                    <a:pt x="3973" y="6952"/>
                  </a:lnTo>
                  <a:cubicBezTo>
                    <a:pt x="4168" y="6952"/>
                    <a:pt x="4326" y="6794"/>
                    <a:pt x="4326" y="6600"/>
                  </a:cubicBezTo>
                  <a:lnTo>
                    <a:pt x="4326" y="4029"/>
                  </a:lnTo>
                  <a:cubicBezTo>
                    <a:pt x="4326" y="3834"/>
                    <a:pt x="4168" y="3676"/>
                    <a:pt x="3973" y="3676"/>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9" name="Freeform 2">
              <a:extLst>
                <a:ext uri="{FF2B5EF4-FFF2-40B4-BE49-F238E27FC236}">
                  <a16:creationId xmlns:a16="http://schemas.microsoft.com/office/drawing/2014/main" id="{A5C1388C-2652-4471-9E6B-61111C29CE20}"/>
                </a:ext>
              </a:extLst>
            </p:cNvPr>
            <p:cNvSpPr>
              <a:spLocks noChangeAspect="1" noChangeArrowheads="1"/>
            </p:cNvSpPr>
            <p:nvPr/>
          </p:nvSpPr>
          <p:spPr bwMode="auto">
            <a:xfrm>
              <a:off x="6192838" y="2120900"/>
              <a:ext cx="2535237" cy="3359150"/>
            </a:xfrm>
            <a:custGeom>
              <a:avLst/>
              <a:gdLst>
                <a:gd name="T0" fmla="*/ 705 w 7042"/>
                <a:gd name="T1" fmla="*/ 4030 h 9332"/>
                <a:gd name="T2" fmla="*/ 705 w 7042"/>
                <a:gd name="T3" fmla="*/ 6600 h 9332"/>
                <a:gd name="T4" fmla="*/ 353 w 7042"/>
                <a:gd name="T5" fmla="*/ 6952 h 9332"/>
                <a:gd name="T6" fmla="*/ 353 w 7042"/>
                <a:gd name="T7" fmla="*/ 6952 h 9332"/>
                <a:gd name="T8" fmla="*/ 0 w 7042"/>
                <a:gd name="T9" fmla="*/ 6600 h 9332"/>
                <a:gd name="T10" fmla="*/ 0 w 7042"/>
                <a:gd name="T11" fmla="*/ 4030 h 9332"/>
                <a:gd name="T12" fmla="*/ 353 w 7042"/>
                <a:gd name="T13" fmla="*/ 3677 h 9332"/>
                <a:gd name="T14" fmla="*/ 353 w 7042"/>
                <a:gd name="T15" fmla="*/ 3677 h 9332"/>
                <a:gd name="T16" fmla="*/ 705 w 7042"/>
                <a:gd name="T17" fmla="*/ 4030 h 9332"/>
                <a:gd name="T18" fmla="*/ 3973 w 7042"/>
                <a:gd name="T19" fmla="*/ 0 h 9332"/>
                <a:gd name="T20" fmla="*/ 3973 w 7042"/>
                <a:gd name="T21" fmla="*/ 0 h 9332"/>
                <a:gd name="T22" fmla="*/ 3621 w 7042"/>
                <a:gd name="T23" fmla="*/ 353 h 9332"/>
                <a:gd name="T24" fmla="*/ 3621 w 7042"/>
                <a:gd name="T25" fmla="*/ 2923 h 9332"/>
                <a:gd name="T26" fmla="*/ 3973 w 7042"/>
                <a:gd name="T27" fmla="*/ 3276 h 9332"/>
                <a:gd name="T28" fmla="*/ 3973 w 7042"/>
                <a:gd name="T29" fmla="*/ 3276 h 9332"/>
                <a:gd name="T30" fmla="*/ 4326 w 7042"/>
                <a:gd name="T31" fmla="*/ 2923 h 9332"/>
                <a:gd name="T32" fmla="*/ 4326 w 7042"/>
                <a:gd name="T33" fmla="*/ 353 h 9332"/>
                <a:gd name="T34" fmla="*/ 3973 w 7042"/>
                <a:gd name="T35" fmla="*/ 0 h 9332"/>
                <a:gd name="T36" fmla="*/ 6688 w 7042"/>
                <a:gd name="T37" fmla="*/ 6055 h 9332"/>
                <a:gd name="T38" fmla="*/ 6688 w 7042"/>
                <a:gd name="T39" fmla="*/ 6055 h 9332"/>
                <a:gd name="T40" fmla="*/ 6335 w 7042"/>
                <a:gd name="T41" fmla="*/ 6408 h 9332"/>
                <a:gd name="T42" fmla="*/ 6335 w 7042"/>
                <a:gd name="T43" fmla="*/ 8979 h 9332"/>
                <a:gd name="T44" fmla="*/ 6688 w 7042"/>
                <a:gd name="T45" fmla="*/ 9331 h 9332"/>
                <a:gd name="T46" fmla="*/ 6688 w 7042"/>
                <a:gd name="T47" fmla="*/ 9331 h 9332"/>
                <a:gd name="T48" fmla="*/ 7041 w 7042"/>
                <a:gd name="T49" fmla="*/ 8979 h 9332"/>
                <a:gd name="T50" fmla="*/ 7041 w 7042"/>
                <a:gd name="T51" fmla="*/ 6408 h 9332"/>
                <a:gd name="T52" fmla="*/ 6688 w 7042"/>
                <a:gd name="T53" fmla="*/ 6055 h 9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42" h="9332">
                  <a:moveTo>
                    <a:pt x="705" y="4030"/>
                  </a:moveTo>
                  <a:lnTo>
                    <a:pt x="705" y="6600"/>
                  </a:lnTo>
                  <a:cubicBezTo>
                    <a:pt x="705" y="6794"/>
                    <a:pt x="547" y="6952"/>
                    <a:pt x="353" y="6952"/>
                  </a:cubicBezTo>
                  <a:lnTo>
                    <a:pt x="353" y="6952"/>
                  </a:lnTo>
                  <a:cubicBezTo>
                    <a:pt x="158" y="6952"/>
                    <a:pt x="0" y="6794"/>
                    <a:pt x="0" y="6600"/>
                  </a:cubicBezTo>
                  <a:lnTo>
                    <a:pt x="0" y="4030"/>
                  </a:lnTo>
                  <a:cubicBezTo>
                    <a:pt x="0" y="3835"/>
                    <a:pt x="158" y="3677"/>
                    <a:pt x="353" y="3677"/>
                  </a:cubicBezTo>
                  <a:lnTo>
                    <a:pt x="353" y="3677"/>
                  </a:lnTo>
                  <a:cubicBezTo>
                    <a:pt x="547" y="3677"/>
                    <a:pt x="705" y="3835"/>
                    <a:pt x="705" y="4030"/>
                  </a:cubicBezTo>
                  <a:close/>
                  <a:moveTo>
                    <a:pt x="3973" y="0"/>
                  </a:moveTo>
                  <a:lnTo>
                    <a:pt x="3973" y="0"/>
                  </a:lnTo>
                  <a:cubicBezTo>
                    <a:pt x="3779" y="0"/>
                    <a:pt x="3621" y="158"/>
                    <a:pt x="3621" y="353"/>
                  </a:cubicBezTo>
                  <a:lnTo>
                    <a:pt x="3621" y="2923"/>
                  </a:lnTo>
                  <a:cubicBezTo>
                    <a:pt x="3621" y="3118"/>
                    <a:pt x="3779" y="3276"/>
                    <a:pt x="3973" y="3276"/>
                  </a:cubicBezTo>
                  <a:lnTo>
                    <a:pt x="3973" y="3276"/>
                  </a:lnTo>
                  <a:cubicBezTo>
                    <a:pt x="4168" y="3276"/>
                    <a:pt x="4326" y="3118"/>
                    <a:pt x="4326" y="2923"/>
                  </a:cubicBezTo>
                  <a:lnTo>
                    <a:pt x="4326" y="353"/>
                  </a:lnTo>
                  <a:cubicBezTo>
                    <a:pt x="4326" y="158"/>
                    <a:pt x="4168" y="0"/>
                    <a:pt x="3973" y="0"/>
                  </a:cubicBezTo>
                  <a:close/>
                  <a:moveTo>
                    <a:pt x="6688" y="6055"/>
                  </a:moveTo>
                  <a:lnTo>
                    <a:pt x="6688" y="6055"/>
                  </a:lnTo>
                  <a:cubicBezTo>
                    <a:pt x="6493" y="6055"/>
                    <a:pt x="6335" y="6213"/>
                    <a:pt x="6335" y="6408"/>
                  </a:cubicBezTo>
                  <a:lnTo>
                    <a:pt x="6335" y="8979"/>
                  </a:lnTo>
                  <a:cubicBezTo>
                    <a:pt x="6335" y="9173"/>
                    <a:pt x="6493" y="9331"/>
                    <a:pt x="6688" y="9331"/>
                  </a:cubicBezTo>
                  <a:lnTo>
                    <a:pt x="6688" y="9331"/>
                  </a:lnTo>
                  <a:cubicBezTo>
                    <a:pt x="6883" y="9331"/>
                    <a:pt x="7041" y="9173"/>
                    <a:pt x="7041" y="8979"/>
                  </a:cubicBezTo>
                  <a:lnTo>
                    <a:pt x="7041" y="6408"/>
                  </a:lnTo>
                  <a:cubicBezTo>
                    <a:pt x="7041" y="6213"/>
                    <a:pt x="6883" y="6055"/>
                    <a:pt x="6688" y="6055"/>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0" name="Freeform 3">
              <a:extLst>
                <a:ext uri="{FF2B5EF4-FFF2-40B4-BE49-F238E27FC236}">
                  <a16:creationId xmlns:a16="http://schemas.microsoft.com/office/drawing/2014/main" id="{5157CACA-E449-4FAA-9B58-3D2C6DF04B25}"/>
                </a:ext>
              </a:extLst>
            </p:cNvPr>
            <p:cNvSpPr>
              <a:spLocks noChangeAspect="1" noChangeArrowheads="1"/>
            </p:cNvSpPr>
            <p:nvPr/>
          </p:nvSpPr>
          <p:spPr bwMode="auto">
            <a:xfrm>
              <a:off x="5867400" y="2976563"/>
              <a:ext cx="2860675" cy="2092325"/>
            </a:xfrm>
            <a:custGeom>
              <a:avLst/>
              <a:gdLst>
                <a:gd name="T0" fmla="*/ 2514 w 7948"/>
                <a:gd name="T1" fmla="*/ 2889 h 5813"/>
                <a:gd name="T2" fmla="*/ 2514 w 7948"/>
                <a:gd name="T3" fmla="*/ 5460 h 5813"/>
                <a:gd name="T4" fmla="*/ 2162 w 7948"/>
                <a:gd name="T5" fmla="*/ 5812 h 5813"/>
                <a:gd name="T6" fmla="*/ 2162 w 7948"/>
                <a:gd name="T7" fmla="*/ 5812 h 5813"/>
                <a:gd name="T8" fmla="*/ 1809 w 7948"/>
                <a:gd name="T9" fmla="*/ 5460 h 5813"/>
                <a:gd name="T10" fmla="*/ 1809 w 7948"/>
                <a:gd name="T11" fmla="*/ 2889 h 5813"/>
                <a:gd name="T12" fmla="*/ 2162 w 7948"/>
                <a:gd name="T13" fmla="*/ 2536 h 5813"/>
                <a:gd name="T14" fmla="*/ 2162 w 7948"/>
                <a:gd name="T15" fmla="*/ 2536 h 5813"/>
                <a:gd name="T16" fmla="*/ 2514 w 7948"/>
                <a:gd name="T17" fmla="*/ 2889 h 5813"/>
                <a:gd name="T18" fmla="*/ 3973 w 7948"/>
                <a:gd name="T19" fmla="*/ 0 h 5813"/>
                <a:gd name="T20" fmla="*/ 3973 w 7948"/>
                <a:gd name="T21" fmla="*/ 0 h 5813"/>
                <a:gd name="T22" fmla="*/ 3621 w 7948"/>
                <a:gd name="T23" fmla="*/ 353 h 5813"/>
                <a:gd name="T24" fmla="*/ 3621 w 7948"/>
                <a:gd name="T25" fmla="*/ 2922 h 5813"/>
                <a:gd name="T26" fmla="*/ 3973 w 7948"/>
                <a:gd name="T27" fmla="*/ 3275 h 5813"/>
                <a:gd name="T28" fmla="*/ 3973 w 7948"/>
                <a:gd name="T29" fmla="*/ 3275 h 5813"/>
                <a:gd name="T30" fmla="*/ 4326 w 7948"/>
                <a:gd name="T31" fmla="*/ 2922 h 5813"/>
                <a:gd name="T32" fmla="*/ 4326 w 7948"/>
                <a:gd name="T33" fmla="*/ 353 h 5813"/>
                <a:gd name="T34" fmla="*/ 3973 w 7948"/>
                <a:gd name="T35" fmla="*/ 0 h 5813"/>
                <a:gd name="T36" fmla="*/ 7594 w 7948"/>
                <a:gd name="T37" fmla="*/ 0 h 5813"/>
                <a:gd name="T38" fmla="*/ 7594 w 7948"/>
                <a:gd name="T39" fmla="*/ 0 h 5813"/>
                <a:gd name="T40" fmla="*/ 7241 w 7948"/>
                <a:gd name="T41" fmla="*/ 353 h 5813"/>
                <a:gd name="T42" fmla="*/ 7241 w 7948"/>
                <a:gd name="T43" fmla="*/ 2922 h 5813"/>
                <a:gd name="T44" fmla="*/ 7594 w 7948"/>
                <a:gd name="T45" fmla="*/ 3275 h 5813"/>
                <a:gd name="T46" fmla="*/ 7594 w 7948"/>
                <a:gd name="T47" fmla="*/ 3275 h 5813"/>
                <a:gd name="T48" fmla="*/ 7947 w 7948"/>
                <a:gd name="T49" fmla="*/ 2922 h 5813"/>
                <a:gd name="T50" fmla="*/ 7947 w 7948"/>
                <a:gd name="T51" fmla="*/ 353 h 5813"/>
                <a:gd name="T52" fmla="*/ 7594 w 7948"/>
                <a:gd name="T53" fmla="*/ 0 h 5813"/>
                <a:gd name="T54" fmla="*/ 353 w 7948"/>
                <a:gd name="T55" fmla="*/ 0 h 5813"/>
                <a:gd name="T56" fmla="*/ 353 w 7948"/>
                <a:gd name="T57" fmla="*/ 0 h 5813"/>
                <a:gd name="T58" fmla="*/ 0 w 7948"/>
                <a:gd name="T59" fmla="*/ 353 h 5813"/>
                <a:gd name="T60" fmla="*/ 0 w 7948"/>
                <a:gd name="T61" fmla="*/ 2922 h 5813"/>
                <a:gd name="T62" fmla="*/ 353 w 7948"/>
                <a:gd name="T63" fmla="*/ 3275 h 5813"/>
                <a:gd name="T64" fmla="*/ 353 w 7948"/>
                <a:gd name="T65" fmla="*/ 3275 h 5813"/>
                <a:gd name="T66" fmla="*/ 706 w 7948"/>
                <a:gd name="T67" fmla="*/ 2922 h 5813"/>
                <a:gd name="T68" fmla="*/ 706 w 7948"/>
                <a:gd name="T69" fmla="*/ 353 h 5813"/>
                <a:gd name="T70" fmla="*/ 353 w 7948"/>
                <a:gd name="T71" fmla="*/ 0 h 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48" h="5813">
                  <a:moveTo>
                    <a:pt x="2514" y="2889"/>
                  </a:moveTo>
                  <a:lnTo>
                    <a:pt x="2514" y="5460"/>
                  </a:lnTo>
                  <a:cubicBezTo>
                    <a:pt x="2514" y="5654"/>
                    <a:pt x="2356" y="5812"/>
                    <a:pt x="2162" y="5812"/>
                  </a:cubicBezTo>
                  <a:lnTo>
                    <a:pt x="2162" y="5812"/>
                  </a:lnTo>
                  <a:cubicBezTo>
                    <a:pt x="1967" y="5812"/>
                    <a:pt x="1809" y="5654"/>
                    <a:pt x="1809" y="5460"/>
                  </a:cubicBezTo>
                  <a:lnTo>
                    <a:pt x="1809" y="2889"/>
                  </a:lnTo>
                  <a:cubicBezTo>
                    <a:pt x="1809" y="2694"/>
                    <a:pt x="1967" y="2536"/>
                    <a:pt x="2162" y="2536"/>
                  </a:cubicBezTo>
                  <a:lnTo>
                    <a:pt x="2162" y="2536"/>
                  </a:lnTo>
                  <a:cubicBezTo>
                    <a:pt x="2356" y="2536"/>
                    <a:pt x="2514" y="2694"/>
                    <a:pt x="2514" y="2889"/>
                  </a:cubicBezTo>
                  <a:close/>
                  <a:moveTo>
                    <a:pt x="3973" y="0"/>
                  </a:moveTo>
                  <a:lnTo>
                    <a:pt x="3973" y="0"/>
                  </a:lnTo>
                  <a:cubicBezTo>
                    <a:pt x="3779" y="0"/>
                    <a:pt x="3621" y="158"/>
                    <a:pt x="3621" y="353"/>
                  </a:cubicBezTo>
                  <a:lnTo>
                    <a:pt x="3621" y="2922"/>
                  </a:lnTo>
                  <a:cubicBezTo>
                    <a:pt x="3621" y="3117"/>
                    <a:pt x="3779" y="3275"/>
                    <a:pt x="3973" y="3275"/>
                  </a:cubicBezTo>
                  <a:lnTo>
                    <a:pt x="3973" y="3275"/>
                  </a:lnTo>
                  <a:cubicBezTo>
                    <a:pt x="4168" y="3275"/>
                    <a:pt x="4326" y="3117"/>
                    <a:pt x="4326" y="2922"/>
                  </a:cubicBezTo>
                  <a:lnTo>
                    <a:pt x="4326" y="353"/>
                  </a:lnTo>
                  <a:cubicBezTo>
                    <a:pt x="4326" y="158"/>
                    <a:pt x="4168" y="0"/>
                    <a:pt x="3973" y="0"/>
                  </a:cubicBezTo>
                  <a:close/>
                  <a:moveTo>
                    <a:pt x="7594" y="0"/>
                  </a:moveTo>
                  <a:lnTo>
                    <a:pt x="7594" y="0"/>
                  </a:lnTo>
                  <a:cubicBezTo>
                    <a:pt x="7399" y="0"/>
                    <a:pt x="7241" y="158"/>
                    <a:pt x="7241" y="353"/>
                  </a:cubicBezTo>
                  <a:lnTo>
                    <a:pt x="7241" y="2922"/>
                  </a:lnTo>
                  <a:cubicBezTo>
                    <a:pt x="7241" y="3117"/>
                    <a:pt x="7399" y="3275"/>
                    <a:pt x="7594" y="3275"/>
                  </a:cubicBezTo>
                  <a:lnTo>
                    <a:pt x="7594" y="3275"/>
                  </a:lnTo>
                  <a:cubicBezTo>
                    <a:pt x="7789" y="3275"/>
                    <a:pt x="7947" y="3117"/>
                    <a:pt x="7947" y="2922"/>
                  </a:cubicBezTo>
                  <a:lnTo>
                    <a:pt x="7947" y="353"/>
                  </a:lnTo>
                  <a:cubicBezTo>
                    <a:pt x="7947" y="158"/>
                    <a:pt x="7789" y="0"/>
                    <a:pt x="7594" y="0"/>
                  </a:cubicBezTo>
                  <a:close/>
                  <a:moveTo>
                    <a:pt x="353" y="0"/>
                  </a:moveTo>
                  <a:lnTo>
                    <a:pt x="353" y="0"/>
                  </a:lnTo>
                  <a:cubicBezTo>
                    <a:pt x="158" y="0"/>
                    <a:pt x="0" y="158"/>
                    <a:pt x="0" y="353"/>
                  </a:cubicBezTo>
                  <a:lnTo>
                    <a:pt x="0" y="2922"/>
                  </a:lnTo>
                  <a:cubicBezTo>
                    <a:pt x="0" y="3117"/>
                    <a:pt x="158" y="3275"/>
                    <a:pt x="353" y="3275"/>
                  </a:cubicBezTo>
                  <a:lnTo>
                    <a:pt x="353" y="3275"/>
                  </a:lnTo>
                  <a:cubicBezTo>
                    <a:pt x="547" y="3275"/>
                    <a:pt x="706" y="3117"/>
                    <a:pt x="706" y="2922"/>
                  </a:cubicBezTo>
                  <a:lnTo>
                    <a:pt x="706" y="353"/>
                  </a:lnTo>
                  <a:cubicBezTo>
                    <a:pt x="706" y="158"/>
                    <a:pt x="547" y="0"/>
                    <a:pt x="353" y="0"/>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1" name="Freeform 4">
              <a:extLst>
                <a:ext uri="{FF2B5EF4-FFF2-40B4-BE49-F238E27FC236}">
                  <a16:creationId xmlns:a16="http://schemas.microsoft.com/office/drawing/2014/main" id="{B9E3D2E3-5758-4356-8081-C5C2713B14E9}"/>
                </a:ext>
              </a:extLst>
            </p:cNvPr>
            <p:cNvSpPr>
              <a:spLocks noChangeAspect="1" noChangeArrowheads="1"/>
            </p:cNvSpPr>
            <p:nvPr/>
          </p:nvSpPr>
          <p:spPr bwMode="auto">
            <a:xfrm>
              <a:off x="5540375" y="3444875"/>
              <a:ext cx="2860675" cy="2035175"/>
            </a:xfrm>
            <a:custGeom>
              <a:avLst/>
              <a:gdLst>
                <a:gd name="T0" fmla="*/ 6138 w 7948"/>
                <a:gd name="T1" fmla="*/ 353 h 5655"/>
                <a:gd name="T2" fmla="*/ 6138 w 7948"/>
                <a:gd name="T3" fmla="*/ 2923 h 5655"/>
                <a:gd name="T4" fmla="*/ 5785 w 7948"/>
                <a:gd name="T5" fmla="*/ 3275 h 5655"/>
                <a:gd name="T6" fmla="*/ 5785 w 7948"/>
                <a:gd name="T7" fmla="*/ 3275 h 5655"/>
                <a:gd name="T8" fmla="*/ 5433 w 7948"/>
                <a:gd name="T9" fmla="*/ 2923 h 5655"/>
                <a:gd name="T10" fmla="*/ 5433 w 7948"/>
                <a:gd name="T11" fmla="*/ 353 h 5655"/>
                <a:gd name="T12" fmla="*/ 5785 w 7948"/>
                <a:gd name="T13" fmla="*/ 0 h 5655"/>
                <a:gd name="T14" fmla="*/ 5785 w 7948"/>
                <a:gd name="T15" fmla="*/ 0 h 5655"/>
                <a:gd name="T16" fmla="*/ 6138 w 7948"/>
                <a:gd name="T17" fmla="*/ 353 h 5655"/>
                <a:gd name="T18" fmla="*/ 7594 w 7948"/>
                <a:gd name="T19" fmla="*/ 0 h 5655"/>
                <a:gd name="T20" fmla="*/ 7594 w 7948"/>
                <a:gd name="T21" fmla="*/ 0 h 5655"/>
                <a:gd name="T22" fmla="*/ 7241 w 7948"/>
                <a:gd name="T23" fmla="*/ 353 h 5655"/>
                <a:gd name="T24" fmla="*/ 7241 w 7948"/>
                <a:gd name="T25" fmla="*/ 2923 h 5655"/>
                <a:gd name="T26" fmla="*/ 7594 w 7948"/>
                <a:gd name="T27" fmla="*/ 3275 h 5655"/>
                <a:gd name="T28" fmla="*/ 7594 w 7948"/>
                <a:gd name="T29" fmla="*/ 3275 h 5655"/>
                <a:gd name="T30" fmla="*/ 7947 w 7948"/>
                <a:gd name="T31" fmla="*/ 2923 h 5655"/>
                <a:gd name="T32" fmla="*/ 7947 w 7948"/>
                <a:gd name="T33" fmla="*/ 353 h 5655"/>
                <a:gd name="T34" fmla="*/ 7594 w 7948"/>
                <a:gd name="T35" fmla="*/ 0 h 5655"/>
                <a:gd name="T36" fmla="*/ 353 w 7948"/>
                <a:gd name="T37" fmla="*/ 0 h 5655"/>
                <a:gd name="T38" fmla="*/ 353 w 7948"/>
                <a:gd name="T39" fmla="*/ 0 h 5655"/>
                <a:gd name="T40" fmla="*/ 0 w 7948"/>
                <a:gd name="T41" fmla="*/ 353 h 5655"/>
                <a:gd name="T42" fmla="*/ 0 w 7948"/>
                <a:gd name="T43" fmla="*/ 2923 h 5655"/>
                <a:gd name="T44" fmla="*/ 353 w 7948"/>
                <a:gd name="T45" fmla="*/ 3275 h 5655"/>
                <a:gd name="T46" fmla="*/ 353 w 7948"/>
                <a:gd name="T47" fmla="*/ 3275 h 5655"/>
                <a:gd name="T48" fmla="*/ 706 w 7948"/>
                <a:gd name="T49" fmla="*/ 2923 h 5655"/>
                <a:gd name="T50" fmla="*/ 706 w 7948"/>
                <a:gd name="T51" fmla="*/ 353 h 5655"/>
                <a:gd name="T52" fmla="*/ 353 w 7948"/>
                <a:gd name="T53" fmla="*/ 0 h 5655"/>
                <a:gd name="T54" fmla="*/ 1259 w 7948"/>
                <a:gd name="T55" fmla="*/ 2378 h 5655"/>
                <a:gd name="T56" fmla="*/ 1259 w 7948"/>
                <a:gd name="T57" fmla="*/ 2378 h 5655"/>
                <a:gd name="T58" fmla="*/ 906 w 7948"/>
                <a:gd name="T59" fmla="*/ 2731 h 5655"/>
                <a:gd name="T60" fmla="*/ 906 w 7948"/>
                <a:gd name="T61" fmla="*/ 5302 h 5655"/>
                <a:gd name="T62" fmla="*/ 1259 w 7948"/>
                <a:gd name="T63" fmla="*/ 5654 h 5655"/>
                <a:gd name="T64" fmla="*/ 1259 w 7948"/>
                <a:gd name="T65" fmla="*/ 5654 h 5655"/>
                <a:gd name="T66" fmla="*/ 1612 w 7948"/>
                <a:gd name="T67" fmla="*/ 5302 h 5655"/>
                <a:gd name="T68" fmla="*/ 1612 w 7948"/>
                <a:gd name="T69" fmla="*/ 2731 h 5655"/>
                <a:gd name="T70" fmla="*/ 1259 w 7948"/>
                <a:gd name="T71" fmla="*/ 2378 h 5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48" h="5655">
                  <a:moveTo>
                    <a:pt x="6138" y="353"/>
                  </a:moveTo>
                  <a:lnTo>
                    <a:pt x="6138" y="2923"/>
                  </a:lnTo>
                  <a:cubicBezTo>
                    <a:pt x="6138" y="3117"/>
                    <a:pt x="5980" y="3275"/>
                    <a:pt x="5785" y="3275"/>
                  </a:cubicBezTo>
                  <a:lnTo>
                    <a:pt x="5785" y="3275"/>
                  </a:lnTo>
                  <a:cubicBezTo>
                    <a:pt x="5591" y="3275"/>
                    <a:pt x="5433" y="3117"/>
                    <a:pt x="5433" y="2923"/>
                  </a:cubicBezTo>
                  <a:lnTo>
                    <a:pt x="5433" y="353"/>
                  </a:lnTo>
                  <a:cubicBezTo>
                    <a:pt x="5433" y="158"/>
                    <a:pt x="5591" y="0"/>
                    <a:pt x="5785" y="0"/>
                  </a:cubicBezTo>
                  <a:lnTo>
                    <a:pt x="5785" y="0"/>
                  </a:lnTo>
                  <a:cubicBezTo>
                    <a:pt x="5980" y="0"/>
                    <a:pt x="6138" y="158"/>
                    <a:pt x="6138" y="353"/>
                  </a:cubicBezTo>
                  <a:close/>
                  <a:moveTo>
                    <a:pt x="7594" y="0"/>
                  </a:moveTo>
                  <a:lnTo>
                    <a:pt x="7594" y="0"/>
                  </a:lnTo>
                  <a:cubicBezTo>
                    <a:pt x="7400" y="0"/>
                    <a:pt x="7241" y="158"/>
                    <a:pt x="7241" y="353"/>
                  </a:cubicBezTo>
                  <a:lnTo>
                    <a:pt x="7241" y="2923"/>
                  </a:lnTo>
                  <a:cubicBezTo>
                    <a:pt x="7241" y="3117"/>
                    <a:pt x="7400" y="3275"/>
                    <a:pt x="7594" y="3275"/>
                  </a:cubicBezTo>
                  <a:lnTo>
                    <a:pt x="7594" y="3275"/>
                  </a:lnTo>
                  <a:cubicBezTo>
                    <a:pt x="7789" y="3275"/>
                    <a:pt x="7947" y="3117"/>
                    <a:pt x="7947" y="2923"/>
                  </a:cubicBezTo>
                  <a:lnTo>
                    <a:pt x="7947" y="353"/>
                  </a:lnTo>
                  <a:cubicBezTo>
                    <a:pt x="7947" y="158"/>
                    <a:pt x="7789" y="0"/>
                    <a:pt x="7594" y="0"/>
                  </a:cubicBezTo>
                  <a:close/>
                  <a:moveTo>
                    <a:pt x="353" y="0"/>
                  </a:moveTo>
                  <a:lnTo>
                    <a:pt x="353" y="0"/>
                  </a:lnTo>
                  <a:cubicBezTo>
                    <a:pt x="158" y="0"/>
                    <a:pt x="0" y="158"/>
                    <a:pt x="0" y="353"/>
                  </a:cubicBezTo>
                  <a:lnTo>
                    <a:pt x="0" y="2923"/>
                  </a:lnTo>
                  <a:cubicBezTo>
                    <a:pt x="0" y="3117"/>
                    <a:pt x="158" y="3275"/>
                    <a:pt x="353" y="3275"/>
                  </a:cubicBezTo>
                  <a:lnTo>
                    <a:pt x="353" y="3275"/>
                  </a:lnTo>
                  <a:cubicBezTo>
                    <a:pt x="548" y="3275"/>
                    <a:pt x="706" y="3117"/>
                    <a:pt x="706" y="2923"/>
                  </a:cubicBezTo>
                  <a:lnTo>
                    <a:pt x="706" y="353"/>
                  </a:lnTo>
                  <a:cubicBezTo>
                    <a:pt x="706" y="158"/>
                    <a:pt x="548" y="0"/>
                    <a:pt x="353" y="0"/>
                  </a:cubicBezTo>
                  <a:close/>
                  <a:moveTo>
                    <a:pt x="1259" y="2378"/>
                  </a:moveTo>
                  <a:lnTo>
                    <a:pt x="1259" y="2378"/>
                  </a:lnTo>
                  <a:cubicBezTo>
                    <a:pt x="1064" y="2378"/>
                    <a:pt x="906" y="2536"/>
                    <a:pt x="906" y="2731"/>
                  </a:cubicBezTo>
                  <a:lnTo>
                    <a:pt x="906" y="5302"/>
                  </a:lnTo>
                  <a:cubicBezTo>
                    <a:pt x="906" y="5496"/>
                    <a:pt x="1064" y="5654"/>
                    <a:pt x="1259" y="5654"/>
                  </a:cubicBezTo>
                  <a:lnTo>
                    <a:pt x="1259" y="5654"/>
                  </a:lnTo>
                  <a:cubicBezTo>
                    <a:pt x="1453" y="5654"/>
                    <a:pt x="1612" y="5496"/>
                    <a:pt x="1612" y="5302"/>
                  </a:cubicBezTo>
                  <a:lnTo>
                    <a:pt x="1612" y="2731"/>
                  </a:lnTo>
                  <a:cubicBezTo>
                    <a:pt x="1612" y="2536"/>
                    <a:pt x="1453" y="2378"/>
                    <a:pt x="1259" y="2378"/>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pic>
        <p:nvPicPr>
          <p:cNvPr id="14" name="Picture 13">
            <a:extLst>
              <a:ext uri="{FF2B5EF4-FFF2-40B4-BE49-F238E27FC236}">
                <a16:creationId xmlns:a16="http://schemas.microsoft.com/office/drawing/2014/main" id="{E61DAC0C-CF53-D24E-A2C3-9EBE65E767E7}"/>
              </a:ext>
            </a:extLst>
          </p:cNvPr>
          <p:cNvPicPr>
            <a:picLocks noChangeAspect="1"/>
          </p:cNvPicPr>
          <p:nvPr/>
        </p:nvPicPr>
        <p:blipFill rotWithShape="1">
          <a:blip r:embed="rId2"/>
          <a:srcRect b="23902"/>
          <a:stretch/>
        </p:blipFill>
        <p:spPr>
          <a:xfrm>
            <a:off x="601371" y="4787863"/>
            <a:ext cx="965211" cy="277454"/>
          </a:xfrm>
          <a:prstGeom prst="rect">
            <a:avLst/>
          </a:prstGeom>
        </p:spPr>
      </p:pic>
      <p:sp>
        <p:nvSpPr>
          <p:cNvPr id="12" name="Freeform 6">
            <a:extLst>
              <a:ext uri="{FF2B5EF4-FFF2-40B4-BE49-F238E27FC236}">
                <a16:creationId xmlns:a16="http://schemas.microsoft.com/office/drawing/2014/main" id="{A8EBEB17-BC92-9A48-BC6B-7F2831B2B048}"/>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sp>
        <p:nvSpPr>
          <p:cNvPr id="13" name="Title 1">
            <a:extLst>
              <a:ext uri="{FF2B5EF4-FFF2-40B4-BE49-F238E27FC236}">
                <a16:creationId xmlns:a16="http://schemas.microsoft.com/office/drawing/2014/main" id="{3A01F020-3CCA-5442-AF68-A41B6CAF1E9F}"/>
              </a:ext>
            </a:extLst>
          </p:cNvPr>
          <p:cNvSpPr txBox="1">
            <a:spLocks/>
          </p:cNvSpPr>
          <p:nvPr/>
        </p:nvSpPr>
        <p:spPr>
          <a:xfrm>
            <a:off x="425765" y="2071644"/>
            <a:ext cx="2935468" cy="1000213"/>
          </a:xfrm>
          <a:prstGeom prst="rect">
            <a:avLst/>
          </a:prstGeom>
        </p:spPr>
        <p:txBody>
          <a:bodyPr anchor="ctr"/>
          <a:lst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l"/>
            <a:r>
              <a:rPr lang="en-US" sz="4000">
                <a:solidFill>
                  <a:schemeClr val="bg2"/>
                </a:solidFill>
                <a:latin typeface="CiscoSansTT Light" panose="020B0503020201020303" pitchFamily="34" charset="0"/>
                <a:cs typeface="CiscoSansTT Light" panose="020B0503020201020303" pitchFamily="34" charset="0"/>
              </a:rPr>
              <a:t>Thank you</a:t>
            </a:r>
          </a:p>
        </p:txBody>
      </p:sp>
      <p:grpSp>
        <p:nvGrpSpPr>
          <p:cNvPr id="15" name="Group 14">
            <a:extLst>
              <a:ext uri="{FF2B5EF4-FFF2-40B4-BE49-F238E27FC236}">
                <a16:creationId xmlns:a16="http://schemas.microsoft.com/office/drawing/2014/main" id="{4460C6DD-C85C-614B-AD9A-12B462C5320D}"/>
              </a:ext>
            </a:extLst>
          </p:cNvPr>
          <p:cNvGrpSpPr>
            <a:grpSpLocks noChangeAspect="1"/>
          </p:cNvGrpSpPr>
          <p:nvPr/>
        </p:nvGrpSpPr>
        <p:grpSpPr>
          <a:xfrm>
            <a:off x="5157216" y="471144"/>
            <a:ext cx="3986784" cy="4201213"/>
            <a:chOff x="5540375" y="2120900"/>
            <a:chExt cx="3187700" cy="3359150"/>
          </a:xfrm>
        </p:grpSpPr>
        <p:sp>
          <p:nvSpPr>
            <p:cNvPr id="16" name="Freeform 1">
              <a:extLst>
                <a:ext uri="{FF2B5EF4-FFF2-40B4-BE49-F238E27FC236}">
                  <a16:creationId xmlns:a16="http://schemas.microsoft.com/office/drawing/2014/main" id="{A66C7A15-83D3-2847-9671-37E0C7407891}"/>
                </a:ext>
              </a:extLst>
            </p:cNvPr>
            <p:cNvSpPr>
              <a:spLocks noChangeAspect="1" noChangeArrowheads="1"/>
            </p:cNvSpPr>
            <p:nvPr/>
          </p:nvSpPr>
          <p:spPr bwMode="auto">
            <a:xfrm>
              <a:off x="6518275" y="2566988"/>
              <a:ext cx="1557338" cy="2503487"/>
            </a:xfrm>
            <a:custGeom>
              <a:avLst/>
              <a:gdLst>
                <a:gd name="T0" fmla="*/ 705 w 4327"/>
                <a:gd name="T1" fmla="*/ 352 h 6953"/>
                <a:gd name="T2" fmla="*/ 705 w 4327"/>
                <a:gd name="T3" fmla="*/ 2923 h 6953"/>
                <a:gd name="T4" fmla="*/ 353 w 4327"/>
                <a:gd name="T5" fmla="*/ 3276 h 6953"/>
                <a:gd name="T6" fmla="*/ 353 w 4327"/>
                <a:gd name="T7" fmla="*/ 3276 h 6953"/>
                <a:gd name="T8" fmla="*/ 0 w 4327"/>
                <a:gd name="T9" fmla="*/ 2923 h 6953"/>
                <a:gd name="T10" fmla="*/ 0 w 4327"/>
                <a:gd name="T11" fmla="*/ 352 h 6953"/>
                <a:gd name="T12" fmla="*/ 353 w 4327"/>
                <a:gd name="T13" fmla="*/ 0 h 6953"/>
                <a:gd name="T14" fmla="*/ 353 w 4327"/>
                <a:gd name="T15" fmla="*/ 0 h 6953"/>
                <a:gd name="T16" fmla="*/ 705 w 4327"/>
                <a:gd name="T17" fmla="*/ 352 h 6953"/>
                <a:gd name="T18" fmla="*/ 1259 w 4327"/>
                <a:gd name="T19" fmla="*/ 2438 h 6953"/>
                <a:gd name="T20" fmla="*/ 1259 w 4327"/>
                <a:gd name="T21" fmla="*/ 2438 h 6953"/>
                <a:gd name="T22" fmla="*/ 906 w 4327"/>
                <a:gd name="T23" fmla="*/ 2791 h 6953"/>
                <a:gd name="T24" fmla="*/ 906 w 4327"/>
                <a:gd name="T25" fmla="*/ 5361 h 6953"/>
                <a:gd name="T26" fmla="*/ 1259 w 4327"/>
                <a:gd name="T27" fmla="*/ 5713 h 6953"/>
                <a:gd name="T28" fmla="*/ 1259 w 4327"/>
                <a:gd name="T29" fmla="*/ 5713 h 6953"/>
                <a:gd name="T30" fmla="*/ 1611 w 4327"/>
                <a:gd name="T31" fmla="*/ 5361 h 6953"/>
                <a:gd name="T32" fmla="*/ 1611 w 4327"/>
                <a:gd name="T33" fmla="*/ 2791 h 6953"/>
                <a:gd name="T34" fmla="*/ 1259 w 4327"/>
                <a:gd name="T35" fmla="*/ 2438 h 6953"/>
                <a:gd name="T36" fmla="*/ 3973 w 4327"/>
                <a:gd name="T37" fmla="*/ 3676 h 6953"/>
                <a:gd name="T38" fmla="*/ 3973 w 4327"/>
                <a:gd name="T39" fmla="*/ 3676 h 6953"/>
                <a:gd name="T40" fmla="*/ 3621 w 4327"/>
                <a:gd name="T41" fmla="*/ 4029 h 6953"/>
                <a:gd name="T42" fmla="*/ 3621 w 4327"/>
                <a:gd name="T43" fmla="*/ 6600 h 6953"/>
                <a:gd name="T44" fmla="*/ 3973 w 4327"/>
                <a:gd name="T45" fmla="*/ 6952 h 6953"/>
                <a:gd name="T46" fmla="*/ 3973 w 4327"/>
                <a:gd name="T47" fmla="*/ 6952 h 6953"/>
                <a:gd name="T48" fmla="*/ 4326 w 4327"/>
                <a:gd name="T49" fmla="*/ 6600 h 6953"/>
                <a:gd name="T50" fmla="*/ 4326 w 4327"/>
                <a:gd name="T51" fmla="*/ 4029 h 6953"/>
                <a:gd name="T52" fmla="*/ 3973 w 4327"/>
                <a:gd name="T53" fmla="*/ 3676 h 6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27" h="6953">
                  <a:moveTo>
                    <a:pt x="705" y="352"/>
                  </a:moveTo>
                  <a:lnTo>
                    <a:pt x="705" y="2923"/>
                  </a:lnTo>
                  <a:cubicBezTo>
                    <a:pt x="705" y="3118"/>
                    <a:pt x="547" y="3276"/>
                    <a:pt x="353" y="3276"/>
                  </a:cubicBezTo>
                  <a:lnTo>
                    <a:pt x="353" y="3276"/>
                  </a:lnTo>
                  <a:cubicBezTo>
                    <a:pt x="158" y="3276"/>
                    <a:pt x="0" y="3118"/>
                    <a:pt x="0" y="2923"/>
                  </a:cubicBezTo>
                  <a:lnTo>
                    <a:pt x="0" y="352"/>
                  </a:lnTo>
                  <a:cubicBezTo>
                    <a:pt x="0" y="158"/>
                    <a:pt x="158" y="0"/>
                    <a:pt x="353" y="0"/>
                  </a:cubicBezTo>
                  <a:lnTo>
                    <a:pt x="353" y="0"/>
                  </a:lnTo>
                  <a:cubicBezTo>
                    <a:pt x="547" y="0"/>
                    <a:pt x="705" y="158"/>
                    <a:pt x="705" y="352"/>
                  </a:cubicBezTo>
                  <a:close/>
                  <a:moveTo>
                    <a:pt x="1259" y="2438"/>
                  </a:moveTo>
                  <a:lnTo>
                    <a:pt x="1259" y="2438"/>
                  </a:lnTo>
                  <a:cubicBezTo>
                    <a:pt x="1064" y="2438"/>
                    <a:pt x="906" y="2596"/>
                    <a:pt x="906" y="2791"/>
                  </a:cubicBezTo>
                  <a:lnTo>
                    <a:pt x="906" y="5361"/>
                  </a:lnTo>
                  <a:cubicBezTo>
                    <a:pt x="906" y="5555"/>
                    <a:pt x="1064" y="5713"/>
                    <a:pt x="1259" y="5713"/>
                  </a:cubicBezTo>
                  <a:lnTo>
                    <a:pt x="1259" y="5713"/>
                  </a:lnTo>
                  <a:cubicBezTo>
                    <a:pt x="1453" y="5713"/>
                    <a:pt x="1611" y="5555"/>
                    <a:pt x="1611" y="5361"/>
                  </a:cubicBezTo>
                  <a:lnTo>
                    <a:pt x="1611" y="2791"/>
                  </a:lnTo>
                  <a:cubicBezTo>
                    <a:pt x="1611" y="2596"/>
                    <a:pt x="1453" y="2438"/>
                    <a:pt x="1259" y="2438"/>
                  </a:cubicBezTo>
                  <a:close/>
                  <a:moveTo>
                    <a:pt x="3973" y="3676"/>
                  </a:moveTo>
                  <a:lnTo>
                    <a:pt x="3973" y="3676"/>
                  </a:lnTo>
                  <a:cubicBezTo>
                    <a:pt x="3779" y="3676"/>
                    <a:pt x="3621" y="3834"/>
                    <a:pt x="3621" y="4029"/>
                  </a:cubicBezTo>
                  <a:lnTo>
                    <a:pt x="3621" y="6600"/>
                  </a:lnTo>
                  <a:cubicBezTo>
                    <a:pt x="3621" y="6794"/>
                    <a:pt x="3779" y="6952"/>
                    <a:pt x="3973" y="6952"/>
                  </a:cubicBezTo>
                  <a:lnTo>
                    <a:pt x="3973" y="6952"/>
                  </a:lnTo>
                  <a:cubicBezTo>
                    <a:pt x="4168" y="6952"/>
                    <a:pt x="4326" y="6794"/>
                    <a:pt x="4326" y="6600"/>
                  </a:cubicBezTo>
                  <a:lnTo>
                    <a:pt x="4326" y="4029"/>
                  </a:lnTo>
                  <a:cubicBezTo>
                    <a:pt x="4326" y="3834"/>
                    <a:pt x="4168" y="3676"/>
                    <a:pt x="3973" y="3676"/>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7" name="Freeform 2">
              <a:extLst>
                <a:ext uri="{FF2B5EF4-FFF2-40B4-BE49-F238E27FC236}">
                  <a16:creationId xmlns:a16="http://schemas.microsoft.com/office/drawing/2014/main" id="{FFAB6024-725E-3C47-9307-B17589BC7DE9}"/>
                </a:ext>
              </a:extLst>
            </p:cNvPr>
            <p:cNvSpPr>
              <a:spLocks noChangeAspect="1" noChangeArrowheads="1"/>
            </p:cNvSpPr>
            <p:nvPr/>
          </p:nvSpPr>
          <p:spPr bwMode="auto">
            <a:xfrm>
              <a:off x="6192838" y="2120900"/>
              <a:ext cx="2535237" cy="3359150"/>
            </a:xfrm>
            <a:custGeom>
              <a:avLst/>
              <a:gdLst>
                <a:gd name="T0" fmla="*/ 705 w 7042"/>
                <a:gd name="T1" fmla="*/ 4030 h 9332"/>
                <a:gd name="T2" fmla="*/ 705 w 7042"/>
                <a:gd name="T3" fmla="*/ 6600 h 9332"/>
                <a:gd name="T4" fmla="*/ 353 w 7042"/>
                <a:gd name="T5" fmla="*/ 6952 h 9332"/>
                <a:gd name="T6" fmla="*/ 353 w 7042"/>
                <a:gd name="T7" fmla="*/ 6952 h 9332"/>
                <a:gd name="T8" fmla="*/ 0 w 7042"/>
                <a:gd name="T9" fmla="*/ 6600 h 9332"/>
                <a:gd name="T10" fmla="*/ 0 w 7042"/>
                <a:gd name="T11" fmla="*/ 4030 h 9332"/>
                <a:gd name="T12" fmla="*/ 353 w 7042"/>
                <a:gd name="T13" fmla="*/ 3677 h 9332"/>
                <a:gd name="T14" fmla="*/ 353 w 7042"/>
                <a:gd name="T15" fmla="*/ 3677 h 9332"/>
                <a:gd name="T16" fmla="*/ 705 w 7042"/>
                <a:gd name="T17" fmla="*/ 4030 h 9332"/>
                <a:gd name="T18" fmla="*/ 3973 w 7042"/>
                <a:gd name="T19" fmla="*/ 0 h 9332"/>
                <a:gd name="T20" fmla="*/ 3973 w 7042"/>
                <a:gd name="T21" fmla="*/ 0 h 9332"/>
                <a:gd name="T22" fmla="*/ 3621 w 7042"/>
                <a:gd name="T23" fmla="*/ 353 h 9332"/>
                <a:gd name="T24" fmla="*/ 3621 w 7042"/>
                <a:gd name="T25" fmla="*/ 2923 h 9332"/>
                <a:gd name="T26" fmla="*/ 3973 w 7042"/>
                <a:gd name="T27" fmla="*/ 3276 h 9332"/>
                <a:gd name="T28" fmla="*/ 3973 w 7042"/>
                <a:gd name="T29" fmla="*/ 3276 h 9332"/>
                <a:gd name="T30" fmla="*/ 4326 w 7042"/>
                <a:gd name="T31" fmla="*/ 2923 h 9332"/>
                <a:gd name="T32" fmla="*/ 4326 w 7042"/>
                <a:gd name="T33" fmla="*/ 353 h 9332"/>
                <a:gd name="T34" fmla="*/ 3973 w 7042"/>
                <a:gd name="T35" fmla="*/ 0 h 9332"/>
                <a:gd name="T36" fmla="*/ 6688 w 7042"/>
                <a:gd name="T37" fmla="*/ 6055 h 9332"/>
                <a:gd name="T38" fmla="*/ 6688 w 7042"/>
                <a:gd name="T39" fmla="*/ 6055 h 9332"/>
                <a:gd name="T40" fmla="*/ 6335 w 7042"/>
                <a:gd name="T41" fmla="*/ 6408 h 9332"/>
                <a:gd name="T42" fmla="*/ 6335 w 7042"/>
                <a:gd name="T43" fmla="*/ 8979 h 9332"/>
                <a:gd name="T44" fmla="*/ 6688 w 7042"/>
                <a:gd name="T45" fmla="*/ 9331 h 9332"/>
                <a:gd name="T46" fmla="*/ 6688 w 7042"/>
                <a:gd name="T47" fmla="*/ 9331 h 9332"/>
                <a:gd name="T48" fmla="*/ 7041 w 7042"/>
                <a:gd name="T49" fmla="*/ 8979 h 9332"/>
                <a:gd name="T50" fmla="*/ 7041 w 7042"/>
                <a:gd name="T51" fmla="*/ 6408 h 9332"/>
                <a:gd name="T52" fmla="*/ 6688 w 7042"/>
                <a:gd name="T53" fmla="*/ 6055 h 9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42" h="9332">
                  <a:moveTo>
                    <a:pt x="705" y="4030"/>
                  </a:moveTo>
                  <a:lnTo>
                    <a:pt x="705" y="6600"/>
                  </a:lnTo>
                  <a:cubicBezTo>
                    <a:pt x="705" y="6794"/>
                    <a:pt x="547" y="6952"/>
                    <a:pt x="353" y="6952"/>
                  </a:cubicBezTo>
                  <a:lnTo>
                    <a:pt x="353" y="6952"/>
                  </a:lnTo>
                  <a:cubicBezTo>
                    <a:pt x="158" y="6952"/>
                    <a:pt x="0" y="6794"/>
                    <a:pt x="0" y="6600"/>
                  </a:cubicBezTo>
                  <a:lnTo>
                    <a:pt x="0" y="4030"/>
                  </a:lnTo>
                  <a:cubicBezTo>
                    <a:pt x="0" y="3835"/>
                    <a:pt x="158" y="3677"/>
                    <a:pt x="353" y="3677"/>
                  </a:cubicBezTo>
                  <a:lnTo>
                    <a:pt x="353" y="3677"/>
                  </a:lnTo>
                  <a:cubicBezTo>
                    <a:pt x="547" y="3677"/>
                    <a:pt x="705" y="3835"/>
                    <a:pt x="705" y="4030"/>
                  </a:cubicBezTo>
                  <a:close/>
                  <a:moveTo>
                    <a:pt x="3973" y="0"/>
                  </a:moveTo>
                  <a:lnTo>
                    <a:pt x="3973" y="0"/>
                  </a:lnTo>
                  <a:cubicBezTo>
                    <a:pt x="3779" y="0"/>
                    <a:pt x="3621" y="158"/>
                    <a:pt x="3621" y="353"/>
                  </a:cubicBezTo>
                  <a:lnTo>
                    <a:pt x="3621" y="2923"/>
                  </a:lnTo>
                  <a:cubicBezTo>
                    <a:pt x="3621" y="3118"/>
                    <a:pt x="3779" y="3276"/>
                    <a:pt x="3973" y="3276"/>
                  </a:cubicBezTo>
                  <a:lnTo>
                    <a:pt x="3973" y="3276"/>
                  </a:lnTo>
                  <a:cubicBezTo>
                    <a:pt x="4168" y="3276"/>
                    <a:pt x="4326" y="3118"/>
                    <a:pt x="4326" y="2923"/>
                  </a:cubicBezTo>
                  <a:lnTo>
                    <a:pt x="4326" y="353"/>
                  </a:lnTo>
                  <a:cubicBezTo>
                    <a:pt x="4326" y="158"/>
                    <a:pt x="4168" y="0"/>
                    <a:pt x="3973" y="0"/>
                  </a:cubicBezTo>
                  <a:close/>
                  <a:moveTo>
                    <a:pt x="6688" y="6055"/>
                  </a:moveTo>
                  <a:lnTo>
                    <a:pt x="6688" y="6055"/>
                  </a:lnTo>
                  <a:cubicBezTo>
                    <a:pt x="6493" y="6055"/>
                    <a:pt x="6335" y="6213"/>
                    <a:pt x="6335" y="6408"/>
                  </a:cubicBezTo>
                  <a:lnTo>
                    <a:pt x="6335" y="8979"/>
                  </a:lnTo>
                  <a:cubicBezTo>
                    <a:pt x="6335" y="9173"/>
                    <a:pt x="6493" y="9331"/>
                    <a:pt x="6688" y="9331"/>
                  </a:cubicBezTo>
                  <a:lnTo>
                    <a:pt x="6688" y="9331"/>
                  </a:lnTo>
                  <a:cubicBezTo>
                    <a:pt x="6883" y="9331"/>
                    <a:pt x="7041" y="9173"/>
                    <a:pt x="7041" y="8979"/>
                  </a:cubicBezTo>
                  <a:lnTo>
                    <a:pt x="7041" y="6408"/>
                  </a:lnTo>
                  <a:cubicBezTo>
                    <a:pt x="7041" y="6213"/>
                    <a:pt x="6883" y="6055"/>
                    <a:pt x="6688" y="6055"/>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8" name="Freeform 3">
              <a:extLst>
                <a:ext uri="{FF2B5EF4-FFF2-40B4-BE49-F238E27FC236}">
                  <a16:creationId xmlns:a16="http://schemas.microsoft.com/office/drawing/2014/main" id="{16E8FD2F-8307-6045-AF45-6F9EE1060A5A}"/>
                </a:ext>
              </a:extLst>
            </p:cNvPr>
            <p:cNvSpPr>
              <a:spLocks noChangeAspect="1" noChangeArrowheads="1"/>
            </p:cNvSpPr>
            <p:nvPr/>
          </p:nvSpPr>
          <p:spPr bwMode="auto">
            <a:xfrm>
              <a:off x="5867400" y="2976563"/>
              <a:ext cx="2860675" cy="2092325"/>
            </a:xfrm>
            <a:custGeom>
              <a:avLst/>
              <a:gdLst>
                <a:gd name="T0" fmla="*/ 2514 w 7948"/>
                <a:gd name="T1" fmla="*/ 2889 h 5813"/>
                <a:gd name="T2" fmla="*/ 2514 w 7948"/>
                <a:gd name="T3" fmla="*/ 5460 h 5813"/>
                <a:gd name="T4" fmla="*/ 2162 w 7948"/>
                <a:gd name="T5" fmla="*/ 5812 h 5813"/>
                <a:gd name="T6" fmla="*/ 2162 w 7948"/>
                <a:gd name="T7" fmla="*/ 5812 h 5813"/>
                <a:gd name="T8" fmla="*/ 1809 w 7948"/>
                <a:gd name="T9" fmla="*/ 5460 h 5813"/>
                <a:gd name="T10" fmla="*/ 1809 w 7948"/>
                <a:gd name="T11" fmla="*/ 2889 h 5813"/>
                <a:gd name="T12" fmla="*/ 2162 w 7948"/>
                <a:gd name="T13" fmla="*/ 2536 h 5813"/>
                <a:gd name="T14" fmla="*/ 2162 w 7948"/>
                <a:gd name="T15" fmla="*/ 2536 h 5813"/>
                <a:gd name="T16" fmla="*/ 2514 w 7948"/>
                <a:gd name="T17" fmla="*/ 2889 h 5813"/>
                <a:gd name="T18" fmla="*/ 3973 w 7948"/>
                <a:gd name="T19" fmla="*/ 0 h 5813"/>
                <a:gd name="T20" fmla="*/ 3973 w 7948"/>
                <a:gd name="T21" fmla="*/ 0 h 5813"/>
                <a:gd name="T22" fmla="*/ 3621 w 7948"/>
                <a:gd name="T23" fmla="*/ 353 h 5813"/>
                <a:gd name="T24" fmla="*/ 3621 w 7948"/>
                <a:gd name="T25" fmla="*/ 2922 h 5813"/>
                <a:gd name="T26" fmla="*/ 3973 w 7948"/>
                <a:gd name="T27" fmla="*/ 3275 h 5813"/>
                <a:gd name="T28" fmla="*/ 3973 w 7948"/>
                <a:gd name="T29" fmla="*/ 3275 h 5813"/>
                <a:gd name="T30" fmla="*/ 4326 w 7948"/>
                <a:gd name="T31" fmla="*/ 2922 h 5813"/>
                <a:gd name="T32" fmla="*/ 4326 w 7948"/>
                <a:gd name="T33" fmla="*/ 353 h 5813"/>
                <a:gd name="T34" fmla="*/ 3973 w 7948"/>
                <a:gd name="T35" fmla="*/ 0 h 5813"/>
                <a:gd name="T36" fmla="*/ 7594 w 7948"/>
                <a:gd name="T37" fmla="*/ 0 h 5813"/>
                <a:gd name="T38" fmla="*/ 7594 w 7948"/>
                <a:gd name="T39" fmla="*/ 0 h 5813"/>
                <a:gd name="T40" fmla="*/ 7241 w 7948"/>
                <a:gd name="T41" fmla="*/ 353 h 5813"/>
                <a:gd name="T42" fmla="*/ 7241 w 7948"/>
                <a:gd name="T43" fmla="*/ 2922 h 5813"/>
                <a:gd name="T44" fmla="*/ 7594 w 7948"/>
                <a:gd name="T45" fmla="*/ 3275 h 5813"/>
                <a:gd name="T46" fmla="*/ 7594 w 7948"/>
                <a:gd name="T47" fmla="*/ 3275 h 5813"/>
                <a:gd name="T48" fmla="*/ 7947 w 7948"/>
                <a:gd name="T49" fmla="*/ 2922 h 5813"/>
                <a:gd name="T50" fmla="*/ 7947 w 7948"/>
                <a:gd name="T51" fmla="*/ 353 h 5813"/>
                <a:gd name="T52" fmla="*/ 7594 w 7948"/>
                <a:gd name="T53" fmla="*/ 0 h 5813"/>
                <a:gd name="T54" fmla="*/ 353 w 7948"/>
                <a:gd name="T55" fmla="*/ 0 h 5813"/>
                <a:gd name="T56" fmla="*/ 353 w 7948"/>
                <a:gd name="T57" fmla="*/ 0 h 5813"/>
                <a:gd name="T58" fmla="*/ 0 w 7948"/>
                <a:gd name="T59" fmla="*/ 353 h 5813"/>
                <a:gd name="T60" fmla="*/ 0 w 7948"/>
                <a:gd name="T61" fmla="*/ 2922 h 5813"/>
                <a:gd name="T62" fmla="*/ 353 w 7948"/>
                <a:gd name="T63" fmla="*/ 3275 h 5813"/>
                <a:gd name="T64" fmla="*/ 353 w 7948"/>
                <a:gd name="T65" fmla="*/ 3275 h 5813"/>
                <a:gd name="T66" fmla="*/ 706 w 7948"/>
                <a:gd name="T67" fmla="*/ 2922 h 5813"/>
                <a:gd name="T68" fmla="*/ 706 w 7948"/>
                <a:gd name="T69" fmla="*/ 353 h 5813"/>
                <a:gd name="T70" fmla="*/ 353 w 7948"/>
                <a:gd name="T71" fmla="*/ 0 h 5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48" h="5813">
                  <a:moveTo>
                    <a:pt x="2514" y="2889"/>
                  </a:moveTo>
                  <a:lnTo>
                    <a:pt x="2514" y="5460"/>
                  </a:lnTo>
                  <a:cubicBezTo>
                    <a:pt x="2514" y="5654"/>
                    <a:pt x="2356" y="5812"/>
                    <a:pt x="2162" y="5812"/>
                  </a:cubicBezTo>
                  <a:lnTo>
                    <a:pt x="2162" y="5812"/>
                  </a:lnTo>
                  <a:cubicBezTo>
                    <a:pt x="1967" y="5812"/>
                    <a:pt x="1809" y="5654"/>
                    <a:pt x="1809" y="5460"/>
                  </a:cubicBezTo>
                  <a:lnTo>
                    <a:pt x="1809" y="2889"/>
                  </a:lnTo>
                  <a:cubicBezTo>
                    <a:pt x="1809" y="2694"/>
                    <a:pt x="1967" y="2536"/>
                    <a:pt x="2162" y="2536"/>
                  </a:cubicBezTo>
                  <a:lnTo>
                    <a:pt x="2162" y="2536"/>
                  </a:lnTo>
                  <a:cubicBezTo>
                    <a:pt x="2356" y="2536"/>
                    <a:pt x="2514" y="2694"/>
                    <a:pt x="2514" y="2889"/>
                  </a:cubicBezTo>
                  <a:close/>
                  <a:moveTo>
                    <a:pt x="3973" y="0"/>
                  </a:moveTo>
                  <a:lnTo>
                    <a:pt x="3973" y="0"/>
                  </a:lnTo>
                  <a:cubicBezTo>
                    <a:pt x="3779" y="0"/>
                    <a:pt x="3621" y="158"/>
                    <a:pt x="3621" y="353"/>
                  </a:cubicBezTo>
                  <a:lnTo>
                    <a:pt x="3621" y="2922"/>
                  </a:lnTo>
                  <a:cubicBezTo>
                    <a:pt x="3621" y="3117"/>
                    <a:pt x="3779" y="3275"/>
                    <a:pt x="3973" y="3275"/>
                  </a:cubicBezTo>
                  <a:lnTo>
                    <a:pt x="3973" y="3275"/>
                  </a:lnTo>
                  <a:cubicBezTo>
                    <a:pt x="4168" y="3275"/>
                    <a:pt x="4326" y="3117"/>
                    <a:pt x="4326" y="2922"/>
                  </a:cubicBezTo>
                  <a:lnTo>
                    <a:pt x="4326" y="353"/>
                  </a:lnTo>
                  <a:cubicBezTo>
                    <a:pt x="4326" y="158"/>
                    <a:pt x="4168" y="0"/>
                    <a:pt x="3973" y="0"/>
                  </a:cubicBezTo>
                  <a:close/>
                  <a:moveTo>
                    <a:pt x="7594" y="0"/>
                  </a:moveTo>
                  <a:lnTo>
                    <a:pt x="7594" y="0"/>
                  </a:lnTo>
                  <a:cubicBezTo>
                    <a:pt x="7399" y="0"/>
                    <a:pt x="7241" y="158"/>
                    <a:pt x="7241" y="353"/>
                  </a:cubicBezTo>
                  <a:lnTo>
                    <a:pt x="7241" y="2922"/>
                  </a:lnTo>
                  <a:cubicBezTo>
                    <a:pt x="7241" y="3117"/>
                    <a:pt x="7399" y="3275"/>
                    <a:pt x="7594" y="3275"/>
                  </a:cubicBezTo>
                  <a:lnTo>
                    <a:pt x="7594" y="3275"/>
                  </a:lnTo>
                  <a:cubicBezTo>
                    <a:pt x="7789" y="3275"/>
                    <a:pt x="7947" y="3117"/>
                    <a:pt x="7947" y="2922"/>
                  </a:cubicBezTo>
                  <a:lnTo>
                    <a:pt x="7947" y="353"/>
                  </a:lnTo>
                  <a:cubicBezTo>
                    <a:pt x="7947" y="158"/>
                    <a:pt x="7789" y="0"/>
                    <a:pt x="7594" y="0"/>
                  </a:cubicBezTo>
                  <a:close/>
                  <a:moveTo>
                    <a:pt x="353" y="0"/>
                  </a:moveTo>
                  <a:lnTo>
                    <a:pt x="353" y="0"/>
                  </a:lnTo>
                  <a:cubicBezTo>
                    <a:pt x="158" y="0"/>
                    <a:pt x="0" y="158"/>
                    <a:pt x="0" y="353"/>
                  </a:cubicBezTo>
                  <a:lnTo>
                    <a:pt x="0" y="2922"/>
                  </a:lnTo>
                  <a:cubicBezTo>
                    <a:pt x="0" y="3117"/>
                    <a:pt x="158" y="3275"/>
                    <a:pt x="353" y="3275"/>
                  </a:cubicBezTo>
                  <a:lnTo>
                    <a:pt x="353" y="3275"/>
                  </a:lnTo>
                  <a:cubicBezTo>
                    <a:pt x="547" y="3275"/>
                    <a:pt x="706" y="3117"/>
                    <a:pt x="706" y="2922"/>
                  </a:cubicBezTo>
                  <a:lnTo>
                    <a:pt x="706" y="353"/>
                  </a:lnTo>
                  <a:cubicBezTo>
                    <a:pt x="706" y="158"/>
                    <a:pt x="547" y="0"/>
                    <a:pt x="353" y="0"/>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4">
              <a:extLst>
                <a:ext uri="{FF2B5EF4-FFF2-40B4-BE49-F238E27FC236}">
                  <a16:creationId xmlns:a16="http://schemas.microsoft.com/office/drawing/2014/main" id="{2579ED9A-688E-214A-B514-525CBE1892AF}"/>
                </a:ext>
              </a:extLst>
            </p:cNvPr>
            <p:cNvSpPr>
              <a:spLocks noChangeAspect="1" noChangeArrowheads="1"/>
            </p:cNvSpPr>
            <p:nvPr/>
          </p:nvSpPr>
          <p:spPr bwMode="auto">
            <a:xfrm>
              <a:off x="5540375" y="3444875"/>
              <a:ext cx="2860675" cy="2035175"/>
            </a:xfrm>
            <a:custGeom>
              <a:avLst/>
              <a:gdLst>
                <a:gd name="T0" fmla="*/ 6138 w 7948"/>
                <a:gd name="T1" fmla="*/ 353 h 5655"/>
                <a:gd name="T2" fmla="*/ 6138 w 7948"/>
                <a:gd name="T3" fmla="*/ 2923 h 5655"/>
                <a:gd name="T4" fmla="*/ 5785 w 7948"/>
                <a:gd name="T5" fmla="*/ 3275 h 5655"/>
                <a:gd name="T6" fmla="*/ 5785 w 7948"/>
                <a:gd name="T7" fmla="*/ 3275 h 5655"/>
                <a:gd name="T8" fmla="*/ 5433 w 7948"/>
                <a:gd name="T9" fmla="*/ 2923 h 5655"/>
                <a:gd name="T10" fmla="*/ 5433 w 7948"/>
                <a:gd name="T11" fmla="*/ 353 h 5655"/>
                <a:gd name="T12" fmla="*/ 5785 w 7948"/>
                <a:gd name="T13" fmla="*/ 0 h 5655"/>
                <a:gd name="T14" fmla="*/ 5785 w 7948"/>
                <a:gd name="T15" fmla="*/ 0 h 5655"/>
                <a:gd name="T16" fmla="*/ 6138 w 7948"/>
                <a:gd name="T17" fmla="*/ 353 h 5655"/>
                <a:gd name="T18" fmla="*/ 7594 w 7948"/>
                <a:gd name="T19" fmla="*/ 0 h 5655"/>
                <a:gd name="T20" fmla="*/ 7594 w 7948"/>
                <a:gd name="T21" fmla="*/ 0 h 5655"/>
                <a:gd name="T22" fmla="*/ 7241 w 7948"/>
                <a:gd name="T23" fmla="*/ 353 h 5655"/>
                <a:gd name="T24" fmla="*/ 7241 w 7948"/>
                <a:gd name="T25" fmla="*/ 2923 h 5655"/>
                <a:gd name="T26" fmla="*/ 7594 w 7948"/>
                <a:gd name="T27" fmla="*/ 3275 h 5655"/>
                <a:gd name="T28" fmla="*/ 7594 w 7948"/>
                <a:gd name="T29" fmla="*/ 3275 h 5655"/>
                <a:gd name="T30" fmla="*/ 7947 w 7948"/>
                <a:gd name="T31" fmla="*/ 2923 h 5655"/>
                <a:gd name="T32" fmla="*/ 7947 w 7948"/>
                <a:gd name="T33" fmla="*/ 353 h 5655"/>
                <a:gd name="T34" fmla="*/ 7594 w 7948"/>
                <a:gd name="T35" fmla="*/ 0 h 5655"/>
                <a:gd name="T36" fmla="*/ 353 w 7948"/>
                <a:gd name="T37" fmla="*/ 0 h 5655"/>
                <a:gd name="T38" fmla="*/ 353 w 7948"/>
                <a:gd name="T39" fmla="*/ 0 h 5655"/>
                <a:gd name="T40" fmla="*/ 0 w 7948"/>
                <a:gd name="T41" fmla="*/ 353 h 5655"/>
                <a:gd name="T42" fmla="*/ 0 w 7948"/>
                <a:gd name="T43" fmla="*/ 2923 h 5655"/>
                <a:gd name="T44" fmla="*/ 353 w 7948"/>
                <a:gd name="T45" fmla="*/ 3275 h 5655"/>
                <a:gd name="T46" fmla="*/ 353 w 7948"/>
                <a:gd name="T47" fmla="*/ 3275 h 5655"/>
                <a:gd name="T48" fmla="*/ 706 w 7948"/>
                <a:gd name="T49" fmla="*/ 2923 h 5655"/>
                <a:gd name="T50" fmla="*/ 706 w 7948"/>
                <a:gd name="T51" fmla="*/ 353 h 5655"/>
                <a:gd name="T52" fmla="*/ 353 w 7948"/>
                <a:gd name="T53" fmla="*/ 0 h 5655"/>
                <a:gd name="T54" fmla="*/ 1259 w 7948"/>
                <a:gd name="T55" fmla="*/ 2378 h 5655"/>
                <a:gd name="T56" fmla="*/ 1259 w 7948"/>
                <a:gd name="T57" fmla="*/ 2378 h 5655"/>
                <a:gd name="T58" fmla="*/ 906 w 7948"/>
                <a:gd name="T59" fmla="*/ 2731 h 5655"/>
                <a:gd name="T60" fmla="*/ 906 w 7948"/>
                <a:gd name="T61" fmla="*/ 5302 h 5655"/>
                <a:gd name="T62" fmla="*/ 1259 w 7948"/>
                <a:gd name="T63" fmla="*/ 5654 h 5655"/>
                <a:gd name="T64" fmla="*/ 1259 w 7948"/>
                <a:gd name="T65" fmla="*/ 5654 h 5655"/>
                <a:gd name="T66" fmla="*/ 1612 w 7948"/>
                <a:gd name="T67" fmla="*/ 5302 h 5655"/>
                <a:gd name="T68" fmla="*/ 1612 w 7948"/>
                <a:gd name="T69" fmla="*/ 2731 h 5655"/>
                <a:gd name="T70" fmla="*/ 1259 w 7948"/>
                <a:gd name="T71" fmla="*/ 2378 h 5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948" h="5655">
                  <a:moveTo>
                    <a:pt x="6138" y="353"/>
                  </a:moveTo>
                  <a:lnTo>
                    <a:pt x="6138" y="2923"/>
                  </a:lnTo>
                  <a:cubicBezTo>
                    <a:pt x="6138" y="3117"/>
                    <a:pt x="5980" y="3275"/>
                    <a:pt x="5785" y="3275"/>
                  </a:cubicBezTo>
                  <a:lnTo>
                    <a:pt x="5785" y="3275"/>
                  </a:lnTo>
                  <a:cubicBezTo>
                    <a:pt x="5591" y="3275"/>
                    <a:pt x="5433" y="3117"/>
                    <a:pt x="5433" y="2923"/>
                  </a:cubicBezTo>
                  <a:lnTo>
                    <a:pt x="5433" y="353"/>
                  </a:lnTo>
                  <a:cubicBezTo>
                    <a:pt x="5433" y="158"/>
                    <a:pt x="5591" y="0"/>
                    <a:pt x="5785" y="0"/>
                  </a:cubicBezTo>
                  <a:lnTo>
                    <a:pt x="5785" y="0"/>
                  </a:lnTo>
                  <a:cubicBezTo>
                    <a:pt x="5980" y="0"/>
                    <a:pt x="6138" y="158"/>
                    <a:pt x="6138" y="353"/>
                  </a:cubicBezTo>
                  <a:close/>
                  <a:moveTo>
                    <a:pt x="7594" y="0"/>
                  </a:moveTo>
                  <a:lnTo>
                    <a:pt x="7594" y="0"/>
                  </a:lnTo>
                  <a:cubicBezTo>
                    <a:pt x="7400" y="0"/>
                    <a:pt x="7241" y="158"/>
                    <a:pt x="7241" y="353"/>
                  </a:cubicBezTo>
                  <a:lnTo>
                    <a:pt x="7241" y="2923"/>
                  </a:lnTo>
                  <a:cubicBezTo>
                    <a:pt x="7241" y="3117"/>
                    <a:pt x="7400" y="3275"/>
                    <a:pt x="7594" y="3275"/>
                  </a:cubicBezTo>
                  <a:lnTo>
                    <a:pt x="7594" y="3275"/>
                  </a:lnTo>
                  <a:cubicBezTo>
                    <a:pt x="7789" y="3275"/>
                    <a:pt x="7947" y="3117"/>
                    <a:pt x="7947" y="2923"/>
                  </a:cubicBezTo>
                  <a:lnTo>
                    <a:pt x="7947" y="353"/>
                  </a:lnTo>
                  <a:cubicBezTo>
                    <a:pt x="7947" y="158"/>
                    <a:pt x="7789" y="0"/>
                    <a:pt x="7594" y="0"/>
                  </a:cubicBezTo>
                  <a:close/>
                  <a:moveTo>
                    <a:pt x="353" y="0"/>
                  </a:moveTo>
                  <a:lnTo>
                    <a:pt x="353" y="0"/>
                  </a:lnTo>
                  <a:cubicBezTo>
                    <a:pt x="158" y="0"/>
                    <a:pt x="0" y="158"/>
                    <a:pt x="0" y="353"/>
                  </a:cubicBezTo>
                  <a:lnTo>
                    <a:pt x="0" y="2923"/>
                  </a:lnTo>
                  <a:cubicBezTo>
                    <a:pt x="0" y="3117"/>
                    <a:pt x="158" y="3275"/>
                    <a:pt x="353" y="3275"/>
                  </a:cubicBezTo>
                  <a:lnTo>
                    <a:pt x="353" y="3275"/>
                  </a:lnTo>
                  <a:cubicBezTo>
                    <a:pt x="548" y="3275"/>
                    <a:pt x="706" y="3117"/>
                    <a:pt x="706" y="2923"/>
                  </a:cubicBezTo>
                  <a:lnTo>
                    <a:pt x="706" y="353"/>
                  </a:lnTo>
                  <a:cubicBezTo>
                    <a:pt x="706" y="158"/>
                    <a:pt x="548" y="0"/>
                    <a:pt x="353" y="0"/>
                  </a:cubicBezTo>
                  <a:close/>
                  <a:moveTo>
                    <a:pt x="1259" y="2378"/>
                  </a:moveTo>
                  <a:lnTo>
                    <a:pt x="1259" y="2378"/>
                  </a:lnTo>
                  <a:cubicBezTo>
                    <a:pt x="1064" y="2378"/>
                    <a:pt x="906" y="2536"/>
                    <a:pt x="906" y="2731"/>
                  </a:cubicBezTo>
                  <a:lnTo>
                    <a:pt x="906" y="5302"/>
                  </a:lnTo>
                  <a:cubicBezTo>
                    <a:pt x="906" y="5496"/>
                    <a:pt x="1064" y="5654"/>
                    <a:pt x="1259" y="5654"/>
                  </a:cubicBezTo>
                  <a:lnTo>
                    <a:pt x="1259" y="5654"/>
                  </a:lnTo>
                  <a:cubicBezTo>
                    <a:pt x="1453" y="5654"/>
                    <a:pt x="1612" y="5496"/>
                    <a:pt x="1612" y="5302"/>
                  </a:cubicBezTo>
                  <a:lnTo>
                    <a:pt x="1612" y="2731"/>
                  </a:lnTo>
                  <a:cubicBezTo>
                    <a:pt x="1612" y="2536"/>
                    <a:pt x="1453" y="2378"/>
                    <a:pt x="1259" y="2378"/>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pic>
        <p:nvPicPr>
          <p:cNvPr id="20" name="Picture 19">
            <a:extLst>
              <a:ext uri="{FF2B5EF4-FFF2-40B4-BE49-F238E27FC236}">
                <a16:creationId xmlns:a16="http://schemas.microsoft.com/office/drawing/2014/main" id="{7418CFB8-3209-2B49-8115-2C2165E41B33}"/>
              </a:ext>
            </a:extLst>
          </p:cNvPr>
          <p:cNvPicPr>
            <a:picLocks noChangeAspect="1"/>
          </p:cNvPicPr>
          <p:nvPr/>
        </p:nvPicPr>
        <p:blipFill rotWithShape="1">
          <a:blip r:embed="rId2"/>
          <a:srcRect b="23902"/>
          <a:stretch/>
        </p:blipFill>
        <p:spPr>
          <a:xfrm>
            <a:off x="601371" y="4787863"/>
            <a:ext cx="965211" cy="277454"/>
          </a:xfrm>
          <a:prstGeom prst="rect">
            <a:avLst/>
          </a:prstGeom>
        </p:spPr>
      </p:pic>
    </p:spTree>
    <p:extLst>
      <p:ext uri="{BB962C8B-B14F-4D97-AF65-F5344CB8AC3E}">
        <p14:creationId xmlns:p14="http://schemas.microsoft.com/office/powerpoint/2010/main" val="268036805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rgbClr val="00263A"/>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4558BFC1-2779-497B-9964-275329B0CC19}"/>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21" name="Group 20">
            <a:extLst>
              <a:ext uri="{FF2B5EF4-FFF2-40B4-BE49-F238E27FC236}">
                <a16:creationId xmlns:a16="http://schemas.microsoft.com/office/drawing/2014/main" id="{591081FF-3BDB-4A54-8F22-249445A02E53}"/>
              </a:ext>
            </a:extLst>
          </p:cNvPr>
          <p:cNvGrpSpPr/>
          <p:nvPr/>
        </p:nvGrpSpPr>
        <p:grpSpPr>
          <a:xfrm>
            <a:off x="2514600" y="1630524"/>
            <a:ext cx="4114800" cy="2133528"/>
            <a:chOff x="2514600" y="1630524"/>
            <a:chExt cx="4114800" cy="2133528"/>
          </a:xfrm>
        </p:grpSpPr>
        <p:grpSp>
          <p:nvGrpSpPr>
            <p:cNvPr id="22" name="Group 21">
              <a:extLst>
                <a:ext uri="{FF2B5EF4-FFF2-40B4-BE49-F238E27FC236}">
                  <a16:creationId xmlns:a16="http://schemas.microsoft.com/office/drawing/2014/main" id="{84BC5B35-0D46-4721-936C-3B640993599B}"/>
                </a:ext>
              </a:extLst>
            </p:cNvPr>
            <p:cNvGrpSpPr>
              <a:grpSpLocks noChangeAspect="1"/>
            </p:cNvGrpSpPr>
            <p:nvPr/>
          </p:nvGrpSpPr>
          <p:grpSpPr>
            <a:xfrm>
              <a:off x="2514600" y="1630524"/>
              <a:ext cx="4114800" cy="1335227"/>
              <a:chOff x="2956719" y="4114800"/>
              <a:chExt cx="3292475" cy="1068387"/>
            </a:xfrm>
          </p:grpSpPr>
          <p:sp>
            <p:nvSpPr>
              <p:cNvPr id="41" name="Freeform 1">
                <a:extLst>
                  <a:ext uri="{FF2B5EF4-FFF2-40B4-BE49-F238E27FC236}">
                    <a16:creationId xmlns:a16="http://schemas.microsoft.com/office/drawing/2014/main" id="{A349CDAF-12A4-4EB3-A526-860087A86818}"/>
                  </a:ext>
                </a:extLst>
              </p:cNvPr>
              <p:cNvSpPr>
                <a:spLocks noChangeAspect="1" noChangeArrowheads="1"/>
              </p:cNvSpPr>
              <p:nvPr/>
            </p:nvSpPr>
            <p:spPr bwMode="auto">
              <a:xfrm>
                <a:off x="4531519" y="4567237"/>
                <a:ext cx="144462" cy="479425"/>
              </a:xfrm>
              <a:custGeom>
                <a:avLst/>
                <a:gdLst>
                  <a:gd name="T0" fmla="*/ 397 w 401"/>
                  <a:gd name="T1" fmla="*/ 1139 h 1332"/>
                  <a:gd name="T2" fmla="*/ 201 w 401"/>
                  <a:gd name="T3" fmla="*/ 1331 h 1332"/>
                  <a:gd name="T4" fmla="*/ 0 w 401"/>
                  <a:gd name="T5" fmla="*/ 1139 h 1332"/>
                  <a:gd name="T6" fmla="*/ 0 w 401"/>
                  <a:gd name="T7" fmla="*/ 739 h 1332"/>
                  <a:gd name="T8" fmla="*/ 201 w 401"/>
                  <a:gd name="T9" fmla="*/ 547 h 1332"/>
                  <a:gd name="T10" fmla="*/ 397 w 401"/>
                  <a:gd name="T11" fmla="*/ 739 h 1332"/>
                  <a:gd name="T12" fmla="*/ 397 w 401"/>
                  <a:gd name="T13" fmla="*/ 1139 h 1332"/>
                  <a:gd name="T14" fmla="*/ 202 w 401"/>
                  <a:gd name="T15" fmla="*/ 0 h 1332"/>
                  <a:gd name="T16" fmla="*/ 6 w 401"/>
                  <a:gd name="T17" fmla="*/ 189 h 1332"/>
                  <a:gd name="T18" fmla="*/ 202 w 401"/>
                  <a:gd name="T19" fmla="*/ 378 h 1332"/>
                  <a:gd name="T20" fmla="*/ 400 w 401"/>
                  <a:gd name="T21" fmla="*/ 189 h 1332"/>
                  <a:gd name="T22" fmla="*/ 202 w 401"/>
                  <a:gd name="T23"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1332">
                    <a:moveTo>
                      <a:pt x="397" y="1139"/>
                    </a:moveTo>
                    <a:cubicBezTo>
                      <a:pt x="397" y="1246"/>
                      <a:pt x="311" y="1331"/>
                      <a:pt x="201" y="1331"/>
                    </a:cubicBezTo>
                    <a:cubicBezTo>
                      <a:pt x="90" y="1331"/>
                      <a:pt x="0" y="1246"/>
                      <a:pt x="0" y="1139"/>
                    </a:cubicBezTo>
                    <a:lnTo>
                      <a:pt x="0" y="739"/>
                    </a:lnTo>
                    <a:cubicBezTo>
                      <a:pt x="0" y="634"/>
                      <a:pt x="90" y="547"/>
                      <a:pt x="201" y="547"/>
                    </a:cubicBezTo>
                    <a:cubicBezTo>
                      <a:pt x="310" y="547"/>
                      <a:pt x="397" y="632"/>
                      <a:pt x="397" y="739"/>
                    </a:cubicBezTo>
                    <a:lnTo>
                      <a:pt x="397" y="1139"/>
                    </a:lnTo>
                    <a:close/>
                    <a:moveTo>
                      <a:pt x="202" y="0"/>
                    </a:moveTo>
                    <a:cubicBezTo>
                      <a:pt x="93" y="0"/>
                      <a:pt x="6" y="84"/>
                      <a:pt x="6" y="189"/>
                    </a:cubicBezTo>
                    <a:cubicBezTo>
                      <a:pt x="6" y="293"/>
                      <a:pt x="93" y="378"/>
                      <a:pt x="202" y="378"/>
                    </a:cubicBezTo>
                    <a:cubicBezTo>
                      <a:pt x="312" y="378"/>
                      <a:pt x="400" y="293"/>
                      <a:pt x="400" y="189"/>
                    </a:cubicBezTo>
                    <a:cubicBezTo>
                      <a:pt x="400" y="84"/>
                      <a:pt x="312" y="0"/>
                      <a:pt x="202" y="0"/>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2" name="Freeform 2">
                <a:extLst>
                  <a:ext uri="{FF2B5EF4-FFF2-40B4-BE49-F238E27FC236}">
                    <a16:creationId xmlns:a16="http://schemas.microsoft.com/office/drawing/2014/main" id="{5AB996F4-7CF8-4325-AE6E-60346D69272A}"/>
                  </a:ext>
                </a:extLst>
              </p:cNvPr>
              <p:cNvSpPr>
                <a:spLocks noChangeAspect="1" noChangeArrowheads="1"/>
              </p:cNvSpPr>
              <p:nvPr/>
            </p:nvSpPr>
            <p:spPr bwMode="auto">
              <a:xfrm>
                <a:off x="4137819" y="4371975"/>
                <a:ext cx="935037" cy="674687"/>
              </a:xfrm>
              <a:custGeom>
                <a:avLst/>
                <a:gdLst>
                  <a:gd name="T0" fmla="*/ 401 w 2596"/>
                  <a:gd name="T1" fmla="*/ 1681 h 1874"/>
                  <a:gd name="T2" fmla="*/ 201 w 2596"/>
                  <a:gd name="T3" fmla="*/ 1873 h 1874"/>
                  <a:gd name="T4" fmla="*/ 0 w 2596"/>
                  <a:gd name="T5" fmla="*/ 1681 h 1874"/>
                  <a:gd name="T6" fmla="*/ 0 w 2596"/>
                  <a:gd name="T7" fmla="*/ 756 h 1874"/>
                  <a:gd name="T8" fmla="*/ 201 w 2596"/>
                  <a:gd name="T9" fmla="*/ 564 h 1874"/>
                  <a:gd name="T10" fmla="*/ 401 w 2596"/>
                  <a:gd name="T11" fmla="*/ 756 h 1874"/>
                  <a:gd name="T12" fmla="*/ 401 w 2596"/>
                  <a:gd name="T13" fmla="*/ 1681 h 1874"/>
                  <a:gd name="T14" fmla="*/ 203 w 2596"/>
                  <a:gd name="T15" fmla="*/ 0 h 1874"/>
                  <a:gd name="T16" fmla="*/ 6 w 2596"/>
                  <a:gd name="T17" fmla="*/ 189 h 1874"/>
                  <a:gd name="T18" fmla="*/ 203 w 2596"/>
                  <a:gd name="T19" fmla="*/ 378 h 1874"/>
                  <a:gd name="T20" fmla="*/ 401 w 2596"/>
                  <a:gd name="T21" fmla="*/ 189 h 1874"/>
                  <a:gd name="T22" fmla="*/ 203 w 2596"/>
                  <a:gd name="T23" fmla="*/ 0 h 1874"/>
                  <a:gd name="T24" fmla="*/ 2587 w 2596"/>
                  <a:gd name="T25" fmla="*/ 1681 h 1874"/>
                  <a:gd name="T26" fmla="*/ 2389 w 2596"/>
                  <a:gd name="T27" fmla="*/ 1873 h 1874"/>
                  <a:gd name="T28" fmla="*/ 2192 w 2596"/>
                  <a:gd name="T29" fmla="*/ 1681 h 1874"/>
                  <a:gd name="T30" fmla="*/ 2192 w 2596"/>
                  <a:gd name="T31" fmla="*/ 756 h 1874"/>
                  <a:gd name="T32" fmla="*/ 2389 w 2596"/>
                  <a:gd name="T33" fmla="*/ 564 h 1874"/>
                  <a:gd name="T34" fmla="*/ 2587 w 2596"/>
                  <a:gd name="T35" fmla="*/ 756 h 1874"/>
                  <a:gd name="T36" fmla="*/ 2587 w 2596"/>
                  <a:gd name="T37" fmla="*/ 1681 h 1874"/>
                  <a:gd name="T38" fmla="*/ 2398 w 2596"/>
                  <a:gd name="T39" fmla="*/ 8 h 1874"/>
                  <a:gd name="T40" fmla="*/ 2200 w 2596"/>
                  <a:gd name="T41" fmla="*/ 197 h 1874"/>
                  <a:gd name="T42" fmla="*/ 2398 w 2596"/>
                  <a:gd name="T43" fmla="*/ 386 h 1874"/>
                  <a:gd name="T44" fmla="*/ 2595 w 2596"/>
                  <a:gd name="T45" fmla="*/ 197 h 1874"/>
                  <a:gd name="T46" fmla="*/ 2398 w 2596"/>
                  <a:gd name="T47" fmla="*/ 8 h 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96" h="1874">
                    <a:moveTo>
                      <a:pt x="401" y="1681"/>
                    </a:moveTo>
                    <a:cubicBezTo>
                      <a:pt x="401" y="1788"/>
                      <a:pt x="311" y="1873"/>
                      <a:pt x="201" y="1873"/>
                    </a:cubicBezTo>
                    <a:cubicBezTo>
                      <a:pt x="90" y="1873"/>
                      <a:pt x="0" y="1788"/>
                      <a:pt x="0" y="1681"/>
                    </a:cubicBezTo>
                    <a:lnTo>
                      <a:pt x="0" y="756"/>
                    </a:lnTo>
                    <a:cubicBezTo>
                      <a:pt x="0" y="652"/>
                      <a:pt x="90" y="564"/>
                      <a:pt x="201" y="564"/>
                    </a:cubicBezTo>
                    <a:cubicBezTo>
                      <a:pt x="311" y="564"/>
                      <a:pt x="401" y="649"/>
                      <a:pt x="401" y="756"/>
                    </a:cubicBezTo>
                    <a:lnTo>
                      <a:pt x="401" y="1681"/>
                    </a:lnTo>
                    <a:close/>
                    <a:moveTo>
                      <a:pt x="203" y="0"/>
                    </a:moveTo>
                    <a:cubicBezTo>
                      <a:pt x="93" y="0"/>
                      <a:pt x="6" y="84"/>
                      <a:pt x="6" y="189"/>
                    </a:cubicBezTo>
                    <a:cubicBezTo>
                      <a:pt x="6" y="293"/>
                      <a:pt x="93" y="378"/>
                      <a:pt x="203" y="378"/>
                    </a:cubicBezTo>
                    <a:cubicBezTo>
                      <a:pt x="313" y="378"/>
                      <a:pt x="401" y="293"/>
                      <a:pt x="401" y="189"/>
                    </a:cubicBezTo>
                    <a:cubicBezTo>
                      <a:pt x="401" y="84"/>
                      <a:pt x="313" y="0"/>
                      <a:pt x="203" y="0"/>
                    </a:cubicBezTo>
                    <a:close/>
                    <a:moveTo>
                      <a:pt x="2587" y="1681"/>
                    </a:moveTo>
                    <a:cubicBezTo>
                      <a:pt x="2587" y="1788"/>
                      <a:pt x="2500" y="1873"/>
                      <a:pt x="2389" y="1873"/>
                    </a:cubicBezTo>
                    <a:cubicBezTo>
                      <a:pt x="2279" y="1873"/>
                      <a:pt x="2192" y="1788"/>
                      <a:pt x="2192" y="1681"/>
                    </a:cubicBezTo>
                    <a:lnTo>
                      <a:pt x="2192" y="756"/>
                    </a:lnTo>
                    <a:cubicBezTo>
                      <a:pt x="2192" y="652"/>
                      <a:pt x="2282" y="564"/>
                      <a:pt x="2389" y="564"/>
                    </a:cubicBezTo>
                    <a:cubicBezTo>
                      <a:pt x="2500" y="564"/>
                      <a:pt x="2587" y="649"/>
                      <a:pt x="2587" y="756"/>
                    </a:cubicBezTo>
                    <a:lnTo>
                      <a:pt x="2587" y="1681"/>
                    </a:lnTo>
                    <a:close/>
                    <a:moveTo>
                      <a:pt x="2398" y="8"/>
                    </a:moveTo>
                    <a:cubicBezTo>
                      <a:pt x="2288" y="8"/>
                      <a:pt x="2200" y="92"/>
                      <a:pt x="2200" y="197"/>
                    </a:cubicBezTo>
                    <a:cubicBezTo>
                      <a:pt x="2200" y="301"/>
                      <a:pt x="2288" y="386"/>
                      <a:pt x="2398" y="386"/>
                    </a:cubicBezTo>
                    <a:cubicBezTo>
                      <a:pt x="2505" y="386"/>
                      <a:pt x="2595" y="302"/>
                      <a:pt x="2595" y="197"/>
                    </a:cubicBezTo>
                    <a:cubicBezTo>
                      <a:pt x="2595" y="93"/>
                      <a:pt x="2508" y="8"/>
                      <a:pt x="2398" y="8"/>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3" name="Freeform 3">
                <a:extLst>
                  <a:ext uri="{FF2B5EF4-FFF2-40B4-BE49-F238E27FC236}">
                    <a16:creationId xmlns:a16="http://schemas.microsoft.com/office/drawing/2014/main" id="{E82E713C-025A-48F1-8A49-50E0D821F2B5}"/>
                  </a:ext>
                </a:extLst>
              </p:cNvPr>
              <p:cNvSpPr>
                <a:spLocks noChangeAspect="1" noChangeArrowheads="1"/>
              </p:cNvSpPr>
              <p:nvPr/>
            </p:nvSpPr>
            <p:spPr bwMode="auto">
              <a:xfrm>
                <a:off x="3350419" y="4371975"/>
                <a:ext cx="2506662" cy="674687"/>
              </a:xfrm>
              <a:custGeom>
                <a:avLst/>
                <a:gdLst>
                  <a:gd name="T0" fmla="*/ 401 w 6962"/>
                  <a:gd name="T1" fmla="*/ 1679 h 1872"/>
                  <a:gd name="T2" fmla="*/ 200 w 6962"/>
                  <a:gd name="T3" fmla="*/ 1871 h 1872"/>
                  <a:gd name="T4" fmla="*/ 0 w 6962"/>
                  <a:gd name="T5" fmla="*/ 1679 h 1872"/>
                  <a:gd name="T6" fmla="*/ 0 w 6962"/>
                  <a:gd name="T7" fmla="*/ 754 h 1872"/>
                  <a:gd name="T8" fmla="*/ 200 w 6962"/>
                  <a:gd name="T9" fmla="*/ 562 h 1872"/>
                  <a:gd name="T10" fmla="*/ 401 w 6962"/>
                  <a:gd name="T11" fmla="*/ 754 h 1872"/>
                  <a:gd name="T12" fmla="*/ 401 w 6962"/>
                  <a:gd name="T13" fmla="*/ 1679 h 1872"/>
                  <a:gd name="T14" fmla="*/ 212 w 6962"/>
                  <a:gd name="T15" fmla="*/ 0 h 1872"/>
                  <a:gd name="T16" fmla="*/ 14 w 6962"/>
                  <a:gd name="T17" fmla="*/ 190 h 1872"/>
                  <a:gd name="T18" fmla="*/ 212 w 6962"/>
                  <a:gd name="T19" fmla="*/ 379 h 1872"/>
                  <a:gd name="T20" fmla="*/ 409 w 6962"/>
                  <a:gd name="T21" fmla="*/ 190 h 1872"/>
                  <a:gd name="T22" fmla="*/ 212 w 6962"/>
                  <a:gd name="T23" fmla="*/ 0 h 1872"/>
                  <a:gd name="T24" fmla="*/ 6961 w 6962"/>
                  <a:gd name="T25" fmla="*/ 1679 h 1872"/>
                  <a:gd name="T26" fmla="*/ 6761 w 6962"/>
                  <a:gd name="T27" fmla="*/ 1871 h 1872"/>
                  <a:gd name="T28" fmla="*/ 6563 w 6962"/>
                  <a:gd name="T29" fmla="*/ 1679 h 1872"/>
                  <a:gd name="T30" fmla="*/ 6563 w 6962"/>
                  <a:gd name="T31" fmla="*/ 754 h 1872"/>
                  <a:gd name="T32" fmla="*/ 6761 w 6962"/>
                  <a:gd name="T33" fmla="*/ 562 h 1872"/>
                  <a:gd name="T34" fmla="*/ 6961 w 6962"/>
                  <a:gd name="T35" fmla="*/ 754 h 1872"/>
                  <a:gd name="T36" fmla="*/ 6961 w 6962"/>
                  <a:gd name="T37" fmla="*/ 1679 h 1872"/>
                  <a:gd name="T38" fmla="*/ 6764 w 6962"/>
                  <a:gd name="T39" fmla="*/ 12 h 1872"/>
                  <a:gd name="T40" fmla="*/ 6566 w 6962"/>
                  <a:gd name="T41" fmla="*/ 201 h 1872"/>
                  <a:gd name="T42" fmla="*/ 6764 w 6962"/>
                  <a:gd name="T43" fmla="*/ 390 h 1872"/>
                  <a:gd name="T44" fmla="*/ 6961 w 6962"/>
                  <a:gd name="T45" fmla="*/ 201 h 1872"/>
                  <a:gd name="T46" fmla="*/ 6764 w 6962"/>
                  <a:gd name="T47" fmla="*/ 12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62" h="1872">
                    <a:moveTo>
                      <a:pt x="401" y="1679"/>
                    </a:moveTo>
                    <a:cubicBezTo>
                      <a:pt x="401" y="1786"/>
                      <a:pt x="310" y="1871"/>
                      <a:pt x="200" y="1871"/>
                    </a:cubicBezTo>
                    <a:cubicBezTo>
                      <a:pt x="89" y="1871"/>
                      <a:pt x="0" y="1786"/>
                      <a:pt x="0" y="1679"/>
                    </a:cubicBezTo>
                    <a:lnTo>
                      <a:pt x="0" y="754"/>
                    </a:lnTo>
                    <a:cubicBezTo>
                      <a:pt x="0" y="650"/>
                      <a:pt x="89" y="562"/>
                      <a:pt x="200" y="562"/>
                    </a:cubicBezTo>
                    <a:cubicBezTo>
                      <a:pt x="310" y="562"/>
                      <a:pt x="401" y="647"/>
                      <a:pt x="401" y="754"/>
                    </a:cubicBezTo>
                    <a:lnTo>
                      <a:pt x="401" y="1679"/>
                    </a:lnTo>
                    <a:close/>
                    <a:moveTo>
                      <a:pt x="212" y="0"/>
                    </a:moveTo>
                    <a:cubicBezTo>
                      <a:pt x="102" y="0"/>
                      <a:pt x="14" y="85"/>
                      <a:pt x="14" y="190"/>
                    </a:cubicBezTo>
                    <a:cubicBezTo>
                      <a:pt x="14" y="294"/>
                      <a:pt x="102" y="379"/>
                      <a:pt x="212" y="379"/>
                    </a:cubicBezTo>
                    <a:cubicBezTo>
                      <a:pt x="319" y="381"/>
                      <a:pt x="409" y="297"/>
                      <a:pt x="409" y="190"/>
                    </a:cubicBezTo>
                    <a:cubicBezTo>
                      <a:pt x="409" y="85"/>
                      <a:pt x="322" y="0"/>
                      <a:pt x="212" y="0"/>
                    </a:cubicBezTo>
                    <a:close/>
                    <a:moveTo>
                      <a:pt x="6961" y="1679"/>
                    </a:moveTo>
                    <a:cubicBezTo>
                      <a:pt x="6961" y="1786"/>
                      <a:pt x="6874" y="1871"/>
                      <a:pt x="6761" y="1871"/>
                    </a:cubicBezTo>
                    <a:cubicBezTo>
                      <a:pt x="6651" y="1871"/>
                      <a:pt x="6563" y="1786"/>
                      <a:pt x="6563" y="1679"/>
                    </a:cubicBezTo>
                    <a:lnTo>
                      <a:pt x="6563" y="754"/>
                    </a:lnTo>
                    <a:cubicBezTo>
                      <a:pt x="6563" y="650"/>
                      <a:pt x="6651" y="562"/>
                      <a:pt x="6761" y="562"/>
                    </a:cubicBezTo>
                    <a:cubicBezTo>
                      <a:pt x="6874" y="562"/>
                      <a:pt x="6961" y="647"/>
                      <a:pt x="6961" y="754"/>
                    </a:cubicBezTo>
                    <a:lnTo>
                      <a:pt x="6961" y="1679"/>
                    </a:lnTo>
                    <a:close/>
                    <a:moveTo>
                      <a:pt x="6764" y="12"/>
                    </a:moveTo>
                    <a:cubicBezTo>
                      <a:pt x="6654" y="12"/>
                      <a:pt x="6566" y="96"/>
                      <a:pt x="6566" y="201"/>
                    </a:cubicBezTo>
                    <a:cubicBezTo>
                      <a:pt x="6566" y="305"/>
                      <a:pt x="6653" y="390"/>
                      <a:pt x="6764" y="390"/>
                    </a:cubicBezTo>
                    <a:cubicBezTo>
                      <a:pt x="6871" y="390"/>
                      <a:pt x="6961" y="305"/>
                      <a:pt x="6961" y="201"/>
                    </a:cubicBezTo>
                    <a:cubicBezTo>
                      <a:pt x="6961" y="96"/>
                      <a:pt x="6875" y="12"/>
                      <a:pt x="6764" y="12"/>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4" name="Freeform 4">
                <a:extLst>
                  <a:ext uri="{FF2B5EF4-FFF2-40B4-BE49-F238E27FC236}">
                    <a16:creationId xmlns:a16="http://schemas.microsoft.com/office/drawing/2014/main" id="{061EE335-7849-4D08-AAE1-39AF003C114C}"/>
                  </a:ext>
                </a:extLst>
              </p:cNvPr>
              <p:cNvSpPr>
                <a:spLocks noChangeAspect="1" noChangeArrowheads="1"/>
              </p:cNvSpPr>
              <p:nvPr/>
            </p:nvSpPr>
            <p:spPr bwMode="auto">
              <a:xfrm>
                <a:off x="2956719" y="4114800"/>
                <a:ext cx="3292475" cy="1068387"/>
              </a:xfrm>
              <a:custGeom>
                <a:avLst/>
                <a:gdLst>
                  <a:gd name="T0" fmla="*/ 401 w 9146"/>
                  <a:gd name="T1" fmla="*/ 2395 h 2969"/>
                  <a:gd name="T2" fmla="*/ 200 w 9146"/>
                  <a:gd name="T3" fmla="*/ 2587 h 2969"/>
                  <a:gd name="T4" fmla="*/ 0 w 9146"/>
                  <a:gd name="T5" fmla="*/ 2395 h 2969"/>
                  <a:gd name="T6" fmla="*/ 0 w 9146"/>
                  <a:gd name="T7" fmla="*/ 1995 h 2969"/>
                  <a:gd name="T8" fmla="*/ 200 w 9146"/>
                  <a:gd name="T9" fmla="*/ 1803 h 2969"/>
                  <a:gd name="T10" fmla="*/ 401 w 9146"/>
                  <a:gd name="T11" fmla="*/ 1995 h 2969"/>
                  <a:gd name="T12" fmla="*/ 401 w 9146"/>
                  <a:gd name="T13" fmla="*/ 2395 h 2969"/>
                  <a:gd name="T14" fmla="*/ 200 w 9146"/>
                  <a:gd name="T15" fmla="*/ 1247 h 2969"/>
                  <a:gd name="T16" fmla="*/ 3 w 9146"/>
                  <a:gd name="T17" fmla="*/ 1436 h 2969"/>
                  <a:gd name="T18" fmla="*/ 200 w 9146"/>
                  <a:gd name="T19" fmla="*/ 1625 h 2969"/>
                  <a:gd name="T20" fmla="*/ 398 w 9146"/>
                  <a:gd name="T21" fmla="*/ 1436 h 2969"/>
                  <a:gd name="T22" fmla="*/ 200 w 9146"/>
                  <a:gd name="T23" fmla="*/ 1247 h 2969"/>
                  <a:gd name="T24" fmla="*/ 2588 w 9146"/>
                  <a:gd name="T25" fmla="*/ 2776 h 2969"/>
                  <a:gd name="T26" fmla="*/ 2387 w 9146"/>
                  <a:gd name="T27" fmla="*/ 2968 h 2969"/>
                  <a:gd name="T28" fmla="*/ 2187 w 9146"/>
                  <a:gd name="T29" fmla="*/ 2776 h 2969"/>
                  <a:gd name="T30" fmla="*/ 2187 w 9146"/>
                  <a:gd name="T31" fmla="*/ 750 h 2969"/>
                  <a:gd name="T32" fmla="*/ 2387 w 9146"/>
                  <a:gd name="T33" fmla="*/ 558 h 2969"/>
                  <a:gd name="T34" fmla="*/ 2588 w 9146"/>
                  <a:gd name="T35" fmla="*/ 750 h 2969"/>
                  <a:gd name="T36" fmla="*/ 2588 w 9146"/>
                  <a:gd name="T37" fmla="*/ 2776 h 2969"/>
                  <a:gd name="T38" fmla="*/ 2387 w 9146"/>
                  <a:gd name="T39" fmla="*/ 0 h 2969"/>
                  <a:gd name="T40" fmla="*/ 2190 w 9146"/>
                  <a:gd name="T41" fmla="*/ 189 h 2969"/>
                  <a:gd name="T42" fmla="*/ 2387 w 9146"/>
                  <a:gd name="T43" fmla="*/ 378 h 2969"/>
                  <a:gd name="T44" fmla="*/ 2585 w 9146"/>
                  <a:gd name="T45" fmla="*/ 189 h 2969"/>
                  <a:gd name="T46" fmla="*/ 2387 w 9146"/>
                  <a:gd name="T47" fmla="*/ 0 h 2969"/>
                  <a:gd name="T48" fmla="*/ 6961 w 9146"/>
                  <a:gd name="T49" fmla="*/ 2776 h 2969"/>
                  <a:gd name="T50" fmla="*/ 6763 w 9146"/>
                  <a:gd name="T51" fmla="*/ 2968 h 2969"/>
                  <a:gd name="T52" fmla="*/ 6566 w 9146"/>
                  <a:gd name="T53" fmla="*/ 2776 h 2969"/>
                  <a:gd name="T54" fmla="*/ 6566 w 9146"/>
                  <a:gd name="T55" fmla="*/ 750 h 2969"/>
                  <a:gd name="T56" fmla="*/ 6763 w 9146"/>
                  <a:gd name="T57" fmla="*/ 558 h 2969"/>
                  <a:gd name="T58" fmla="*/ 6961 w 9146"/>
                  <a:gd name="T59" fmla="*/ 750 h 2969"/>
                  <a:gd name="T60" fmla="*/ 6961 w 9146"/>
                  <a:gd name="T61" fmla="*/ 2776 h 2969"/>
                  <a:gd name="T62" fmla="*/ 6766 w 9146"/>
                  <a:gd name="T63" fmla="*/ 8 h 2969"/>
                  <a:gd name="T64" fmla="*/ 6569 w 9146"/>
                  <a:gd name="T65" fmla="*/ 197 h 2969"/>
                  <a:gd name="T66" fmla="*/ 6766 w 9146"/>
                  <a:gd name="T67" fmla="*/ 386 h 2969"/>
                  <a:gd name="T68" fmla="*/ 6964 w 9146"/>
                  <a:gd name="T69" fmla="*/ 197 h 2969"/>
                  <a:gd name="T70" fmla="*/ 6766 w 9146"/>
                  <a:gd name="T71" fmla="*/ 8 h 2969"/>
                  <a:gd name="T72" fmla="*/ 9145 w 9146"/>
                  <a:gd name="T73" fmla="*/ 2395 h 2969"/>
                  <a:gd name="T74" fmla="*/ 8948 w 9146"/>
                  <a:gd name="T75" fmla="*/ 2587 h 2969"/>
                  <a:gd name="T76" fmla="*/ 8750 w 9146"/>
                  <a:gd name="T77" fmla="*/ 2395 h 2969"/>
                  <a:gd name="T78" fmla="*/ 8750 w 9146"/>
                  <a:gd name="T79" fmla="*/ 1995 h 2969"/>
                  <a:gd name="T80" fmla="*/ 8948 w 9146"/>
                  <a:gd name="T81" fmla="*/ 1803 h 2969"/>
                  <a:gd name="T82" fmla="*/ 9145 w 9146"/>
                  <a:gd name="T83" fmla="*/ 1995 h 2969"/>
                  <a:gd name="T84" fmla="*/ 9145 w 9146"/>
                  <a:gd name="T85" fmla="*/ 2395 h 2969"/>
                  <a:gd name="T86" fmla="*/ 8948 w 9146"/>
                  <a:gd name="T87" fmla="*/ 1247 h 2969"/>
                  <a:gd name="T88" fmla="*/ 8750 w 9146"/>
                  <a:gd name="T89" fmla="*/ 1436 h 2969"/>
                  <a:gd name="T90" fmla="*/ 8948 w 9146"/>
                  <a:gd name="T91" fmla="*/ 1625 h 2969"/>
                  <a:gd name="T92" fmla="*/ 9145 w 9146"/>
                  <a:gd name="T93" fmla="*/ 1436 h 2969"/>
                  <a:gd name="T94" fmla="*/ 8948 w 9146"/>
                  <a:gd name="T95" fmla="*/ 1247 h 2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46" h="2969">
                    <a:moveTo>
                      <a:pt x="401" y="2395"/>
                    </a:moveTo>
                    <a:cubicBezTo>
                      <a:pt x="401" y="2502"/>
                      <a:pt x="310" y="2587"/>
                      <a:pt x="200" y="2587"/>
                    </a:cubicBezTo>
                    <a:cubicBezTo>
                      <a:pt x="90" y="2587"/>
                      <a:pt x="0" y="2502"/>
                      <a:pt x="0" y="2395"/>
                    </a:cubicBezTo>
                    <a:lnTo>
                      <a:pt x="0" y="1995"/>
                    </a:lnTo>
                    <a:cubicBezTo>
                      <a:pt x="0" y="1890"/>
                      <a:pt x="90" y="1803"/>
                      <a:pt x="200" y="1803"/>
                    </a:cubicBezTo>
                    <a:cubicBezTo>
                      <a:pt x="310" y="1803"/>
                      <a:pt x="401" y="1888"/>
                      <a:pt x="401" y="1995"/>
                    </a:cubicBezTo>
                    <a:lnTo>
                      <a:pt x="401" y="2395"/>
                    </a:lnTo>
                    <a:close/>
                    <a:moveTo>
                      <a:pt x="200" y="1247"/>
                    </a:moveTo>
                    <a:cubicBezTo>
                      <a:pt x="90" y="1247"/>
                      <a:pt x="3" y="1331"/>
                      <a:pt x="3" y="1436"/>
                    </a:cubicBezTo>
                    <a:cubicBezTo>
                      <a:pt x="3" y="1540"/>
                      <a:pt x="90" y="1625"/>
                      <a:pt x="200" y="1625"/>
                    </a:cubicBezTo>
                    <a:cubicBezTo>
                      <a:pt x="310" y="1625"/>
                      <a:pt x="398" y="1540"/>
                      <a:pt x="398" y="1436"/>
                    </a:cubicBezTo>
                    <a:cubicBezTo>
                      <a:pt x="398" y="1331"/>
                      <a:pt x="310" y="1247"/>
                      <a:pt x="200" y="1247"/>
                    </a:cubicBezTo>
                    <a:close/>
                    <a:moveTo>
                      <a:pt x="2588" y="2776"/>
                    </a:moveTo>
                    <a:cubicBezTo>
                      <a:pt x="2588" y="2883"/>
                      <a:pt x="2497" y="2968"/>
                      <a:pt x="2387" y="2968"/>
                    </a:cubicBezTo>
                    <a:cubicBezTo>
                      <a:pt x="2277" y="2968"/>
                      <a:pt x="2187" y="2883"/>
                      <a:pt x="2187" y="2776"/>
                    </a:cubicBezTo>
                    <a:lnTo>
                      <a:pt x="2187" y="750"/>
                    </a:lnTo>
                    <a:cubicBezTo>
                      <a:pt x="2187" y="646"/>
                      <a:pt x="2277" y="558"/>
                      <a:pt x="2387" y="558"/>
                    </a:cubicBezTo>
                    <a:cubicBezTo>
                      <a:pt x="2497" y="558"/>
                      <a:pt x="2588" y="643"/>
                      <a:pt x="2588" y="750"/>
                    </a:cubicBezTo>
                    <a:lnTo>
                      <a:pt x="2588" y="2776"/>
                    </a:lnTo>
                    <a:close/>
                    <a:moveTo>
                      <a:pt x="2387" y="0"/>
                    </a:moveTo>
                    <a:cubicBezTo>
                      <a:pt x="2277" y="0"/>
                      <a:pt x="2190" y="84"/>
                      <a:pt x="2190" y="189"/>
                    </a:cubicBezTo>
                    <a:cubicBezTo>
                      <a:pt x="2190" y="293"/>
                      <a:pt x="2277" y="378"/>
                      <a:pt x="2387" y="378"/>
                    </a:cubicBezTo>
                    <a:cubicBezTo>
                      <a:pt x="2497" y="378"/>
                      <a:pt x="2585" y="293"/>
                      <a:pt x="2585" y="189"/>
                    </a:cubicBezTo>
                    <a:cubicBezTo>
                      <a:pt x="2585" y="84"/>
                      <a:pt x="2497" y="0"/>
                      <a:pt x="2387" y="0"/>
                    </a:cubicBezTo>
                    <a:close/>
                    <a:moveTo>
                      <a:pt x="6961" y="2776"/>
                    </a:moveTo>
                    <a:cubicBezTo>
                      <a:pt x="6961" y="2883"/>
                      <a:pt x="6873" y="2968"/>
                      <a:pt x="6763" y="2968"/>
                    </a:cubicBezTo>
                    <a:cubicBezTo>
                      <a:pt x="6653" y="2968"/>
                      <a:pt x="6566" y="2883"/>
                      <a:pt x="6566" y="2776"/>
                    </a:cubicBezTo>
                    <a:lnTo>
                      <a:pt x="6566" y="750"/>
                    </a:lnTo>
                    <a:cubicBezTo>
                      <a:pt x="6566" y="646"/>
                      <a:pt x="6653" y="558"/>
                      <a:pt x="6763" y="558"/>
                    </a:cubicBezTo>
                    <a:cubicBezTo>
                      <a:pt x="6873" y="558"/>
                      <a:pt x="6961" y="643"/>
                      <a:pt x="6961" y="750"/>
                    </a:cubicBezTo>
                    <a:lnTo>
                      <a:pt x="6961" y="2776"/>
                    </a:lnTo>
                    <a:close/>
                    <a:moveTo>
                      <a:pt x="6766" y="8"/>
                    </a:moveTo>
                    <a:cubicBezTo>
                      <a:pt x="6656" y="8"/>
                      <a:pt x="6569" y="92"/>
                      <a:pt x="6569" y="197"/>
                    </a:cubicBezTo>
                    <a:cubicBezTo>
                      <a:pt x="6569" y="301"/>
                      <a:pt x="6656" y="386"/>
                      <a:pt x="6766" y="386"/>
                    </a:cubicBezTo>
                    <a:cubicBezTo>
                      <a:pt x="6873" y="386"/>
                      <a:pt x="6964" y="301"/>
                      <a:pt x="6964" y="197"/>
                    </a:cubicBezTo>
                    <a:cubicBezTo>
                      <a:pt x="6964" y="92"/>
                      <a:pt x="6876" y="8"/>
                      <a:pt x="6766" y="8"/>
                    </a:cubicBezTo>
                    <a:close/>
                    <a:moveTo>
                      <a:pt x="9145" y="2395"/>
                    </a:moveTo>
                    <a:cubicBezTo>
                      <a:pt x="9145" y="2502"/>
                      <a:pt x="9055" y="2587"/>
                      <a:pt x="8948" y="2587"/>
                    </a:cubicBezTo>
                    <a:cubicBezTo>
                      <a:pt x="8838" y="2587"/>
                      <a:pt x="8750" y="2502"/>
                      <a:pt x="8750" y="2395"/>
                    </a:cubicBezTo>
                    <a:lnTo>
                      <a:pt x="8750" y="1995"/>
                    </a:lnTo>
                    <a:cubicBezTo>
                      <a:pt x="8750" y="1890"/>
                      <a:pt x="8840" y="1803"/>
                      <a:pt x="8948" y="1803"/>
                    </a:cubicBezTo>
                    <a:cubicBezTo>
                      <a:pt x="9058" y="1803"/>
                      <a:pt x="9145" y="1888"/>
                      <a:pt x="9145" y="1995"/>
                    </a:cubicBezTo>
                    <a:lnTo>
                      <a:pt x="9145" y="2395"/>
                    </a:lnTo>
                    <a:close/>
                    <a:moveTo>
                      <a:pt x="8948" y="1247"/>
                    </a:moveTo>
                    <a:cubicBezTo>
                      <a:pt x="8838" y="1247"/>
                      <a:pt x="8750" y="1331"/>
                      <a:pt x="8750" y="1436"/>
                    </a:cubicBezTo>
                    <a:cubicBezTo>
                      <a:pt x="8750" y="1540"/>
                      <a:pt x="8838" y="1625"/>
                      <a:pt x="8948" y="1625"/>
                    </a:cubicBezTo>
                    <a:cubicBezTo>
                      <a:pt x="9058" y="1625"/>
                      <a:pt x="9145" y="1540"/>
                      <a:pt x="9145" y="1436"/>
                    </a:cubicBezTo>
                    <a:cubicBezTo>
                      <a:pt x="9145" y="1331"/>
                      <a:pt x="9058" y="1247"/>
                      <a:pt x="8948" y="1247"/>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23" name="Group 22">
              <a:extLst>
                <a:ext uri="{FF2B5EF4-FFF2-40B4-BE49-F238E27FC236}">
                  <a16:creationId xmlns:a16="http://schemas.microsoft.com/office/drawing/2014/main" id="{DA1DA1BA-03E6-4DC1-8005-6B6A3B1CA423}"/>
                </a:ext>
              </a:extLst>
            </p:cNvPr>
            <p:cNvGrpSpPr>
              <a:grpSpLocks noChangeAspect="1"/>
            </p:cNvGrpSpPr>
            <p:nvPr/>
          </p:nvGrpSpPr>
          <p:grpSpPr>
            <a:xfrm>
              <a:off x="2610880" y="3376996"/>
              <a:ext cx="3910270" cy="387056"/>
              <a:chOff x="3503613" y="4343400"/>
              <a:chExt cx="3127379" cy="309563"/>
            </a:xfrm>
          </p:grpSpPr>
          <p:sp>
            <p:nvSpPr>
              <p:cNvPr id="39" name="Freeform 1">
                <a:extLst>
                  <a:ext uri="{FF2B5EF4-FFF2-40B4-BE49-F238E27FC236}">
                    <a16:creationId xmlns:a16="http://schemas.microsoft.com/office/drawing/2014/main" id="{92B73530-2450-4F62-908C-20CC89FF74B7}"/>
                  </a:ext>
                </a:extLst>
              </p:cNvPr>
              <p:cNvSpPr>
                <a:spLocks noChangeArrowheads="1"/>
              </p:cNvSpPr>
              <p:nvPr/>
            </p:nvSpPr>
            <p:spPr bwMode="auto">
              <a:xfrm>
                <a:off x="3503613" y="4343400"/>
                <a:ext cx="1538287" cy="254000"/>
              </a:xfrm>
              <a:custGeom>
                <a:avLst/>
                <a:gdLst>
                  <a:gd name="T0" fmla="*/ 426 w 4271"/>
                  <a:gd name="T1" fmla="*/ 187 h 704"/>
                  <a:gd name="T2" fmla="*/ 330 w 4271"/>
                  <a:gd name="T3" fmla="*/ 421 h 704"/>
                  <a:gd name="T4" fmla="*/ 274 w 4271"/>
                  <a:gd name="T5" fmla="*/ 418 h 704"/>
                  <a:gd name="T6" fmla="*/ 632 w 4271"/>
                  <a:gd name="T7" fmla="*/ 342 h 704"/>
                  <a:gd name="T8" fmla="*/ 802 w 4271"/>
                  <a:gd name="T9" fmla="*/ 215 h 704"/>
                  <a:gd name="T10" fmla="*/ 968 w 4271"/>
                  <a:gd name="T11" fmla="*/ 339 h 704"/>
                  <a:gd name="T12" fmla="*/ 931 w 4271"/>
                  <a:gd name="T13" fmla="*/ 601 h 704"/>
                  <a:gd name="T14" fmla="*/ 728 w 4271"/>
                  <a:gd name="T15" fmla="*/ 644 h 704"/>
                  <a:gd name="T16" fmla="*/ 618 w 4271"/>
                  <a:gd name="T17" fmla="*/ 438 h 704"/>
                  <a:gd name="T18" fmla="*/ 632 w 4271"/>
                  <a:gd name="T19" fmla="*/ 632 h 704"/>
                  <a:gd name="T20" fmla="*/ 895 w 4271"/>
                  <a:gd name="T21" fmla="*/ 683 h 704"/>
                  <a:gd name="T22" fmla="*/ 1036 w 4271"/>
                  <a:gd name="T23" fmla="*/ 438 h 704"/>
                  <a:gd name="T24" fmla="*/ 892 w 4271"/>
                  <a:gd name="T25" fmla="*/ 192 h 704"/>
                  <a:gd name="T26" fmla="*/ 627 w 4271"/>
                  <a:gd name="T27" fmla="*/ 240 h 704"/>
                  <a:gd name="T28" fmla="*/ 581 w 4271"/>
                  <a:gd name="T29" fmla="*/ 551 h 704"/>
                  <a:gd name="T30" fmla="*/ 1171 w 4271"/>
                  <a:gd name="T31" fmla="*/ 601 h 704"/>
                  <a:gd name="T32" fmla="*/ 1335 w 4271"/>
                  <a:gd name="T33" fmla="*/ 700 h 704"/>
                  <a:gd name="T34" fmla="*/ 1510 w 4271"/>
                  <a:gd name="T35" fmla="*/ 686 h 704"/>
                  <a:gd name="T36" fmla="*/ 1501 w 4271"/>
                  <a:gd name="T37" fmla="*/ 189 h 704"/>
                  <a:gd name="T38" fmla="*/ 1459 w 4271"/>
                  <a:gd name="T39" fmla="*/ 610 h 704"/>
                  <a:gd name="T40" fmla="*/ 1250 w 4271"/>
                  <a:gd name="T41" fmla="*/ 621 h 704"/>
                  <a:gd name="T42" fmla="*/ 1157 w 4271"/>
                  <a:gd name="T43" fmla="*/ 187 h 704"/>
                  <a:gd name="T44" fmla="*/ 2057 w 4271"/>
                  <a:gd name="T45" fmla="*/ 378 h 704"/>
                  <a:gd name="T46" fmla="*/ 2148 w 4271"/>
                  <a:gd name="T47" fmla="*/ 232 h 704"/>
                  <a:gd name="T48" fmla="*/ 2328 w 4271"/>
                  <a:gd name="T49" fmla="*/ 347 h 704"/>
                  <a:gd name="T50" fmla="*/ 2382 w 4271"/>
                  <a:gd name="T51" fmla="*/ 378 h 704"/>
                  <a:gd name="T52" fmla="*/ 2469 w 4271"/>
                  <a:gd name="T53" fmla="*/ 232 h 704"/>
                  <a:gd name="T54" fmla="*/ 2653 w 4271"/>
                  <a:gd name="T55" fmla="*/ 350 h 704"/>
                  <a:gd name="T56" fmla="*/ 2706 w 4271"/>
                  <a:gd name="T57" fmla="*/ 347 h 704"/>
                  <a:gd name="T58" fmla="*/ 2492 w 4271"/>
                  <a:gd name="T59" fmla="*/ 181 h 704"/>
                  <a:gd name="T60" fmla="*/ 2371 w 4271"/>
                  <a:gd name="T61" fmla="*/ 274 h 704"/>
                  <a:gd name="T62" fmla="*/ 2125 w 4271"/>
                  <a:gd name="T63" fmla="*/ 198 h 704"/>
                  <a:gd name="T64" fmla="*/ 2004 w 4271"/>
                  <a:gd name="T65" fmla="*/ 192 h 704"/>
                  <a:gd name="T66" fmla="*/ 2057 w 4271"/>
                  <a:gd name="T67" fmla="*/ 686 h 704"/>
                  <a:gd name="T68" fmla="*/ 2884 w 4271"/>
                  <a:gd name="T69" fmla="*/ 517 h 704"/>
                  <a:gd name="T70" fmla="*/ 3034 w 4271"/>
                  <a:gd name="T71" fmla="*/ 441 h 704"/>
                  <a:gd name="T72" fmla="*/ 3158 w 4271"/>
                  <a:gd name="T73" fmla="*/ 570 h 704"/>
                  <a:gd name="T74" fmla="*/ 3008 w 4271"/>
                  <a:gd name="T75" fmla="*/ 658 h 704"/>
                  <a:gd name="T76" fmla="*/ 2935 w 4271"/>
                  <a:gd name="T77" fmla="*/ 246 h 704"/>
                  <a:gd name="T78" fmla="*/ 3175 w 4271"/>
                  <a:gd name="T79" fmla="*/ 333 h 704"/>
                  <a:gd name="T80" fmla="*/ 2927 w 4271"/>
                  <a:gd name="T81" fmla="*/ 424 h 704"/>
                  <a:gd name="T82" fmla="*/ 2819 w 4271"/>
                  <a:gd name="T83" fmla="*/ 559 h 704"/>
                  <a:gd name="T84" fmla="*/ 2924 w 4271"/>
                  <a:gd name="T85" fmla="*/ 692 h 704"/>
                  <a:gd name="T86" fmla="*/ 3107 w 4271"/>
                  <a:gd name="T87" fmla="*/ 672 h 704"/>
                  <a:gd name="T88" fmla="*/ 3183 w 4271"/>
                  <a:gd name="T89" fmla="*/ 686 h 704"/>
                  <a:gd name="T90" fmla="*/ 3212 w 4271"/>
                  <a:gd name="T91" fmla="*/ 271 h 704"/>
                  <a:gd name="T92" fmla="*/ 3034 w 4271"/>
                  <a:gd name="T93" fmla="*/ 178 h 704"/>
                  <a:gd name="T94" fmla="*/ 2850 w 4271"/>
                  <a:gd name="T95" fmla="*/ 263 h 704"/>
                  <a:gd name="T96" fmla="*/ 2893 w 4271"/>
                  <a:gd name="T97" fmla="*/ 319 h 704"/>
                  <a:gd name="T98" fmla="*/ 3782 w 4271"/>
                  <a:gd name="T99" fmla="*/ 686 h 704"/>
                  <a:gd name="T100" fmla="*/ 3677 w 4271"/>
                  <a:gd name="T101" fmla="*/ 189 h 704"/>
                  <a:gd name="T102" fmla="*/ 3375 w 4271"/>
                  <a:gd name="T103" fmla="*/ 0 h 704"/>
                  <a:gd name="T104" fmla="*/ 3429 w 4271"/>
                  <a:gd name="T105" fmla="*/ 424 h 704"/>
                  <a:gd name="T106" fmla="*/ 4199 w 4271"/>
                  <a:gd name="T107" fmla="*/ 325 h 704"/>
                  <a:gd name="T108" fmla="*/ 3917 w 4271"/>
                  <a:gd name="T109" fmla="*/ 268 h 704"/>
                  <a:gd name="T110" fmla="*/ 4205 w 4271"/>
                  <a:gd name="T111" fmla="*/ 551 h 704"/>
                  <a:gd name="T112" fmla="*/ 3974 w 4271"/>
                  <a:gd name="T113" fmla="*/ 647 h 704"/>
                  <a:gd name="T114" fmla="*/ 3855 w 4271"/>
                  <a:gd name="T115" fmla="*/ 452 h 704"/>
                  <a:gd name="T116" fmla="*/ 4205 w 4271"/>
                  <a:gd name="T117" fmla="*/ 246 h 704"/>
                  <a:gd name="T118" fmla="*/ 3945 w 4271"/>
                  <a:gd name="T119" fmla="*/ 195 h 704"/>
                  <a:gd name="T120" fmla="*/ 3801 w 4271"/>
                  <a:gd name="T121" fmla="*/ 441 h 704"/>
                  <a:gd name="T122" fmla="*/ 3948 w 4271"/>
                  <a:gd name="T123" fmla="*/ 686 h 704"/>
                  <a:gd name="T124" fmla="*/ 4259 w 4271"/>
                  <a:gd name="T125" fmla="*/ 553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1" h="704">
                    <a:moveTo>
                      <a:pt x="62" y="0"/>
                    </a:moveTo>
                    <a:lnTo>
                      <a:pt x="302" y="370"/>
                    </a:lnTo>
                    <a:cubicBezTo>
                      <a:pt x="344" y="308"/>
                      <a:pt x="384" y="246"/>
                      <a:pt x="426" y="187"/>
                    </a:cubicBezTo>
                    <a:cubicBezTo>
                      <a:pt x="466" y="124"/>
                      <a:pt x="508" y="65"/>
                      <a:pt x="548" y="3"/>
                    </a:cubicBezTo>
                    <a:lnTo>
                      <a:pt x="604" y="3"/>
                    </a:lnTo>
                    <a:lnTo>
                      <a:pt x="330" y="421"/>
                    </a:lnTo>
                    <a:lnTo>
                      <a:pt x="330" y="689"/>
                    </a:lnTo>
                    <a:lnTo>
                      <a:pt x="274" y="689"/>
                    </a:lnTo>
                    <a:lnTo>
                      <a:pt x="274" y="418"/>
                    </a:lnTo>
                    <a:lnTo>
                      <a:pt x="0" y="0"/>
                    </a:lnTo>
                    <a:lnTo>
                      <a:pt x="62" y="0"/>
                    </a:lnTo>
                    <a:close/>
                    <a:moveTo>
                      <a:pt x="632" y="342"/>
                    </a:moveTo>
                    <a:cubicBezTo>
                      <a:pt x="640" y="314"/>
                      <a:pt x="655" y="291"/>
                      <a:pt x="672" y="271"/>
                    </a:cubicBezTo>
                    <a:cubicBezTo>
                      <a:pt x="689" y="251"/>
                      <a:pt x="708" y="240"/>
                      <a:pt x="728" y="229"/>
                    </a:cubicBezTo>
                    <a:cubicBezTo>
                      <a:pt x="751" y="220"/>
                      <a:pt x="773" y="215"/>
                      <a:pt x="802" y="215"/>
                    </a:cubicBezTo>
                    <a:cubicBezTo>
                      <a:pt x="827" y="215"/>
                      <a:pt x="852" y="220"/>
                      <a:pt x="875" y="229"/>
                    </a:cubicBezTo>
                    <a:cubicBezTo>
                      <a:pt x="897" y="237"/>
                      <a:pt x="917" y="251"/>
                      <a:pt x="931" y="271"/>
                    </a:cubicBezTo>
                    <a:cubicBezTo>
                      <a:pt x="948" y="291"/>
                      <a:pt x="960" y="314"/>
                      <a:pt x="968" y="339"/>
                    </a:cubicBezTo>
                    <a:cubicBezTo>
                      <a:pt x="977" y="367"/>
                      <a:pt x="982" y="398"/>
                      <a:pt x="982" y="435"/>
                    </a:cubicBezTo>
                    <a:cubicBezTo>
                      <a:pt x="982" y="472"/>
                      <a:pt x="976" y="503"/>
                      <a:pt x="968" y="531"/>
                    </a:cubicBezTo>
                    <a:cubicBezTo>
                      <a:pt x="959" y="559"/>
                      <a:pt x="945" y="582"/>
                      <a:pt x="931" y="601"/>
                    </a:cubicBezTo>
                    <a:cubicBezTo>
                      <a:pt x="914" y="621"/>
                      <a:pt x="895" y="632"/>
                      <a:pt x="875" y="644"/>
                    </a:cubicBezTo>
                    <a:cubicBezTo>
                      <a:pt x="852" y="652"/>
                      <a:pt x="830" y="658"/>
                      <a:pt x="802" y="658"/>
                    </a:cubicBezTo>
                    <a:cubicBezTo>
                      <a:pt x="776" y="658"/>
                      <a:pt x="751" y="652"/>
                      <a:pt x="728" y="644"/>
                    </a:cubicBezTo>
                    <a:cubicBezTo>
                      <a:pt x="706" y="635"/>
                      <a:pt x="686" y="621"/>
                      <a:pt x="669" y="601"/>
                    </a:cubicBezTo>
                    <a:cubicBezTo>
                      <a:pt x="652" y="582"/>
                      <a:pt x="641" y="559"/>
                      <a:pt x="629" y="531"/>
                    </a:cubicBezTo>
                    <a:cubicBezTo>
                      <a:pt x="621" y="508"/>
                      <a:pt x="618" y="475"/>
                      <a:pt x="618" y="438"/>
                    </a:cubicBezTo>
                    <a:cubicBezTo>
                      <a:pt x="618" y="402"/>
                      <a:pt x="623" y="370"/>
                      <a:pt x="632" y="342"/>
                    </a:cubicBezTo>
                    <a:close/>
                    <a:moveTo>
                      <a:pt x="581" y="551"/>
                    </a:moveTo>
                    <a:cubicBezTo>
                      <a:pt x="593" y="584"/>
                      <a:pt x="610" y="610"/>
                      <a:pt x="632" y="632"/>
                    </a:cubicBezTo>
                    <a:cubicBezTo>
                      <a:pt x="655" y="655"/>
                      <a:pt x="680" y="672"/>
                      <a:pt x="708" y="683"/>
                    </a:cubicBezTo>
                    <a:cubicBezTo>
                      <a:pt x="737" y="695"/>
                      <a:pt x="768" y="700"/>
                      <a:pt x="802" y="700"/>
                    </a:cubicBezTo>
                    <a:cubicBezTo>
                      <a:pt x="835" y="700"/>
                      <a:pt x="866" y="695"/>
                      <a:pt x="895" y="683"/>
                    </a:cubicBezTo>
                    <a:cubicBezTo>
                      <a:pt x="923" y="672"/>
                      <a:pt x="948" y="655"/>
                      <a:pt x="971" y="632"/>
                    </a:cubicBezTo>
                    <a:cubicBezTo>
                      <a:pt x="991" y="610"/>
                      <a:pt x="1008" y="584"/>
                      <a:pt x="1019" y="551"/>
                    </a:cubicBezTo>
                    <a:cubicBezTo>
                      <a:pt x="1030" y="517"/>
                      <a:pt x="1036" y="481"/>
                      <a:pt x="1036" y="438"/>
                    </a:cubicBezTo>
                    <a:cubicBezTo>
                      <a:pt x="1036" y="396"/>
                      <a:pt x="1030" y="356"/>
                      <a:pt x="1019" y="325"/>
                    </a:cubicBezTo>
                    <a:cubicBezTo>
                      <a:pt x="1008" y="291"/>
                      <a:pt x="991" y="266"/>
                      <a:pt x="968" y="243"/>
                    </a:cubicBezTo>
                    <a:cubicBezTo>
                      <a:pt x="945" y="220"/>
                      <a:pt x="923" y="204"/>
                      <a:pt x="892" y="192"/>
                    </a:cubicBezTo>
                    <a:cubicBezTo>
                      <a:pt x="864" y="181"/>
                      <a:pt x="833" y="175"/>
                      <a:pt x="796" y="175"/>
                    </a:cubicBezTo>
                    <a:cubicBezTo>
                      <a:pt x="762" y="175"/>
                      <a:pt x="731" y="181"/>
                      <a:pt x="703" y="192"/>
                    </a:cubicBezTo>
                    <a:cubicBezTo>
                      <a:pt x="675" y="204"/>
                      <a:pt x="649" y="220"/>
                      <a:pt x="627" y="240"/>
                    </a:cubicBezTo>
                    <a:cubicBezTo>
                      <a:pt x="604" y="263"/>
                      <a:pt x="587" y="288"/>
                      <a:pt x="576" y="322"/>
                    </a:cubicBezTo>
                    <a:cubicBezTo>
                      <a:pt x="567" y="356"/>
                      <a:pt x="562" y="396"/>
                      <a:pt x="562" y="438"/>
                    </a:cubicBezTo>
                    <a:cubicBezTo>
                      <a:pt x="562" y="481"/>
                      <a:pt x="567" y="517"/>
                      <a:pt x="581" y="551"/>
                    </a:cubicBezTo>
                    <a:close/>
                    <a:moveTo>
                      <a:pt x="1157" y="189"/>
                    </a:moveTo>
                    <a:lnTo>
                      <a:pt x="1157" y="525"/>
                    </a:lnTo>
                    <a:cubicBezTo>
                      <a:pt x="1157" y="553"/>
                      <a:pt x="1162" y="579"/>
                      <a:pt x="1171" y="601"/>
                    </a:cubicBezTo>
                    <a:cubicBezTo>
                      <a:pt x="1179" y="624"/>
                      <a:pt x="1194" y="641"/>
                      <a:pt x="1208" y="655"/>
                    </a:cubicBezTo>
                    <a:cubicBezTo>
                      <a:pt x="1225" y="669"/>
                      <a:pt x="1241" y="681"/>
                      <a:pt x="1264" y="689"/>
                    </a:cubicBezTo>
                    <a:cubicBezTo>
                      <a:pt x="1286" y="698"/>
                      <a:pt x="1310" y="700"/>
                      <a:pt x="1335" y="700"/>
                    </a:cubicBezTo>
                    <a:cubicBezTo>
                      <a:pt x="1366" y="700"/>
                      <a:pt x="1400" y="692"/>
                      <a:pt x="1431" y="678"/>
                    </a:cubicBezTo>
                    <a:cubicBezTo>
                      <a:pt x="1462" y="664"/>
                      <a:pt x="1487" y="638"/>
                      <a:pt x="1504" y="607"/>
                    </a:cubicBezTo>
                    <a:lnTo>
                      <a:pt x="1510" y="686"/>
                    </a:lnTo>
                    <a:lnTo>
                      <a:pt x="1555" y="686"/>
                    </a:lnTo>
                    <a:lnTo>
                      <a:pt x="1555" y="189"/>
                    </a:lnTo>
                    <a:lnTo>
                      <a:pt x="1501" y="189"/>
                    </a:lnTo>
                    <a:lnTo>
                      <a:pt x="1501" y="494"/>
                    </a:lnTo>
                    <a:cubicBezTo>
                      <a:pt x="1501" y="517"/>
                      <a:pt x="1499" y="539"/>
                      <a:pt x="1490" y="559"/>
                    </a:cubicBezTo>
                    <a:cubicBezTo>
                      <a:pt x="1482" y="579"/>
                      <a:pt x="1473" y="596"/>
                      <a:pt x="1459" y="610"/>
                    </a:cubicBezTo>
                    <a:cubicBezTo>
                      <a:pt x="1445" y="624"/>
                      <a:pt x="1428" y="635"/>
                      <a:pt x="1411" y="644"/>
                    </a:cubicBezTo>
                    <a:cubicBezTo>
                      <a:pt x="1391" y="652"/>
                      <a:pt x="1372" y="655"/>
                      <a:pt x="1349" y="655"/>
                    </a:cubicBezTo>
                    <a:cubicBezTo>
                      <a:pt x="1307" y="655"/>
                      <a:pt x="1275" y="644"/>
                      <a:pt x="1250" y="621"/>
                    </a:cubicBezTo>
                    <a:cubicBezTo>
                      <a:pt x="1224" y="599"/>
                      <a:pt x="1214" y="568"/>
                      <a:pt x="1214" y="522"/>
                    </a:cubicBezTo>
                    <a:lnTo>
                      <a:pt x="1214" y="187"/>
                    </a:lnTo>
                    <a:lnTo>
                      <a:pt x="1157" y="187"/>
                    </a:lnTo>
                    <a:lnTo>
                      <a:pt x="1157" y="189"/>
                    </a:lnTo>
                    <a:close/>
                    <a:moveTo>
                      <a:pt x="2057" y="686"/>
                    </a:moveTo>
                    <a:lnTo>
                      <a:pt x="2057" y="378"/>
                    </a:lnTo>
                    <a:cubicBezTo>
                      <a:pt x="2057" y="356"/>
                      <a:pt x="2060" y="336"/>
                      <a:pt x="2069" y="316"/>
                    </a:cubicBezTo>
                    <a:cubicBezTo>
                      <a:pt x="2077" y="297"/>
                      <a:pt x="2086" y="281"/>
                      <a:pt x="2100" y="266"/>
                    </a:cubicBezTo>
                    <a:cubicBezTo>
                      <a:pt x="2114" y="252"/>
                      <a:pt x="2128" y="240"/>
                      <a:pt x="2148" y="232"/>
                    </a:cubicBezTo>
                    <a:cubicBezTo>
                      <a:pt x="2165" y="223"/>
                      <a:pt x="2184" y="220"/>
                      <a:pt x="2207" y="220"/>
                    </a:cubicBezTo>
                    <a:cubicBezTo>
                      <a:pt x="2246" y="220"/>
                      <a:pt x="2277" y="232"/>
                      <a:pt x="2297" y="251"/>
                    </a:cubicBezTo>
                    <a:cubicBezTo>
                      <a:pt x="2317" y="271"/>
                      <a:pt x="2328" y="305"/>
                      <a:pt x="2328" y="347"/>
                    </a:cubicBezTo>
                    <a:lnTo>
                      <a:pt x="2328" y="686"/>
                    </a:lnTo>
                    <a:lnTo>
                      <a:pt x="2382" y="686"/>
                    </a:lnTo>
                    <a:lnTo>
                      <a:pt x="2382" y="378"/>
                    </a:lnTo>
                    <a:cubicBezTo>
                      <a:pt x="2382" y="356"/>
                      <a:pt x="2385" y="336"/>
                      <a:pt x="2393" y="316"/>
                    </a:cubicBezTo>
                    <a:cubicBezTo>
                      <a:pt x="2399" y="297"/>
                      <a:pt x="2410" y="281"/>
                      <a:pt x="2424" y="266"/>
                    </a:cubicBezTo>
                    <a:cubicBezTo>
                      <a:pt x="2438" y="252"/>
                      <a:pt x="2452" y="241"/>
                      <a:pt x="2469" y="232"/>
                    </a:cubicBezTo>
                    <a:cubicBezTo>
                      <a:pt x="2486" y="224"/>
                      <a:pt x="2506" y="220"/>
                      <a:pt x="2529" y="220"/>
                    </a:cubicBezTo>
                    <a:cubicBezTo>
                      <a:pt x="2568" y="220"/>
                      <a:pt x="2599" y="232"/>
                      <a:pt x="2622" y="251"/>
                    </a:cubicBezTo>
                    <a:cubicBezTo>
                      <a:pt x="2644" y="271"/>
                      <a:pt x="2653" y="305"/>
                      <a:pt x="2653" y="350"/>
                    </a:cubicBezTo>
                    <a:lnTo>
                      <a:pt x="2653" y="689"/>
                    </a:lnTo>
                    <a:lnTo>
                      <a:pt x="2706" y="689"/>
                    </a:lnTo>
                    <a:lnTo>
                      <a:pt x="2706" y="347"/>
                    </a:lnTo>
                    <a:cubicBezTo>
                      <a:pt x="2706" y="294"/>
                      <a:pt x="2692" y="251"/>
                      <a:pt x="2661" y="220"/>
                    </a:cubicBezTo>
                    <a:cubicBezTo>
                      <a:pt x="2630" y="192"/>
                      <a:pt x="2591" y="175"/>
                      <a:pt x="2540" y="175"/>
                    </a:cubicBezTo>
                    <a:cubicBezTo>
                      <a:pt x="2523" y="175"/>
                      <a:pt x="2509" y="178"/>
                      <a:pt x="2492" y="181"/>
                    </a:cubicBezTo>
                    <a:cubicBezTo>
                      <a:pt x="2475" y="184"/>
                      <a:pt x="2461" y="189"/>
                      <a:pt x="2444" y="198"/>
                    </a:cubicBezTo>
                    <a:cubicBezTo>
                      <a:pt x="2430" y="206"/>
                      <a:pt x="2416" y="215"/>
                      <a:pt x="2402" y="229"/>
                    </a:cubicBezTo>
                    <a:cubicBezTo>
                      <a:pt x="2388" y="240"/>
                      <a:pt x="2379" y="257"/>
                      <a:pt x="2371" y="274"/>
                    </a:cubicBezTo>
                    <a:cubicBezTo>
                      <a:pt x="2359" y="240"/>
                      <a:pt x="2339" y="218"/>
                      <a:pt x="2314" y="201"/>
                    </a:cubicBezTo>
                    <a:cubicBezTo>
                      <a:pt x="2288" y="184"/>
                      <a:pt x="2255" y="175"/>
                      <a:pt x="2215" y="175"/>
                    </a:cubicBezTo>
                    <a:cubicBezTo>
                      <a:pt x="2184" y="175"/>
                      <a:pt x="2156" y="184"/>
                      <a:pt x="2125" y="198"/>
                    </a:cubicBezTo>
                    <a:cubicBezTo>
                      <a:pt x="2097" y="212"/>
                      <a:pt x="2071" y="235"/>
                      <a:pt x="2055" y="268"/>
                    </a:cubicBezTo>
                    <a:lnTo>
                      <a:pt x="2049" y="192"/>
                    </a:lnTo>
                    <a:lnTo>
                      <a:pt x="2004" y="192"/>
                    </a:lnTo>
                    <a:lnTo>
                      <a:pt x="2004" y="689"/>
                    </a:lnTo>
                    <a:lnTo>
                      <a:pt x="2057" y="689"/>
                    </a:lnTo>
                    <a:lnTo>
                      <a:pt x="2057" y="686"/>
                    </a:lnTo>
                    <a:close/>
                    <a:moveTo>
                      <a:pt x="2912" y="632"/>
                    </a:moveTo>
                    <a:cubicBezTo>
                      <a:pt x="2887" y="616"/>
                      <a:pt x="2876" y="590"/>
                      <a:pt x="2876" y="556"/>
                    </a:cubicBezTo>
                    <a:cubicBezTo>
                      <a:pt x="2876" y="542"/>
                      <a:pt x="2878" y="529"/>
                      <a:pt x="2884" y="517"/>
                    </a:cubicBezTo>
                    <a:cubicBezTo>
                      <a:pt x="2889" y="506"/>
                      <a:pt x="2898" y="495"/>
                      <a:pt x="2910" y="486"/>
                    </a:cubicBezTo>
                    <a:cubicBezTo>
                      <a:pt x="2921" y="478"/>
                      <a:pt x="2938" y="469"/>
                      <a:pt x="2958" y="460"/>
                    </a:cubicBezTo>
                    <a:cubicBezTo>
                      <a:pt x="2977" y="452"/>
                      <a:pt x="3003" y="446"/>
                      <a:pt x="3034" y="441"/>
                    </a:cubicBezTo>
                    <a:lnTo>
                      <a:pt x="3172" y="418"/>
                    </a:lnTo>
                    <a:lnTo>
                      <a:pt x="3172" y="511"/>
                    </a:lnTo>
                    <a:cubicBezTo>
                      <a:pt x="3172" y="534"/>
                      <a:pt x="3166" y="553"/>
                      <a:pt x="3158" y="570"/>
                    </a:cubicBezTo>
                    <a:cubicBezTo>
                      <a:pt x="3149" y="587"/>
                      <a:pt x="3135" y="604"/>
                      <a:pt x="3118" y="616"/>
                    </a:cubicBezTo>
                    <a:cubicBezTo>
                      <a:pt x="3102" y="630"/>
                      <a:pt x="3085" y="638"/>
                      <a:pt x="3065" y="647"/>
                    </a:cubicBezTo>
                    <a:cubicBezTo>
                      <a:pt x="3048" y="655"/>
                      <a:pt x="3028" y="658"/>
                      <a:pt x="3008" y="658"/>
                    </a:cubicBezTo>
                    <a:cubicBezTo>
                      <a:pt x="2969" y="658"/>
                      <a:pt x="2938" y="649"/>
                      <a:pt x="2912" y="632"/>
                    </a:cubicBezTo>
                    <a:close/>
                    <a:moveTo>
                      <a:pt x="2893" y="319"/>
                    </a:moveTo>
                    <a:cubicBezTo>
                      <a:pt x="2895" y="288"/>
                      <a:pt x="2910" y="263"/>
                      <a:pt x="2935" y="246"/>
                    </a:cubicBezTo>
                    <a:cubicBezTo>
                      <a:pt x="2960" y="226"/>
                      <a:pt x="2994" y="218"/>
                      <a:pt x="3034" y="218"/>
                    </a:cubicBezTo>
                    <a:cubicBezTo>
                      <a:pt x="3079" y="218"/>
                      <a:pt x="3113" y="229"/>
                      <a:pt x="3138" y="249"/>
                    </a:cubicBezTo>
                    <a:cubicBezTo>
                      <a:pt x="3164" y="268"/>
                      <a:pt x="3175" y="297"/>
                      <a:pt x="3175" y="333"/>
                    </a:cubicBezTo>
                    <a:lnTo>
                      <a:pt x="3175" y="376"/>
                    </a:lnTo>
                    <a:lnTo>
                      <a:pt x="3020" y="401"/>
                    </a:lnTo>
                    <a:cubicBezTo>
                      <a:pt x="2983" y="407"/>
                      <a:pt x="2952" y="415"/>
                      <a:pt x="2927" y="424"/>
                    </a:cubicBezTo>
                    <a:cubicBezTo>
                      <a:pt x="2901" y="432"/>
                      <a:pt x="2881" y="443"/>
                      <a:pt x="2864" y="458"/>
                    </a:cubicBezTo>
                    <a:cubicBezTo>
                      <a:pt x="2848" y="472"/>
                      <a:pt x="2836" y="486"/>
                      <a:pt x="2831" y="503"/>
                    </a:cubicBezTo>
                    <a:cubicBezTo>
                      <a:pt x="2825" y="520"/>
                      <a:pt x="2819" y="539"/>
                      <a:pt x="2819" y="559"/>
                    </a:cubicBezTo>
                    <a:cubicBezTo>
                      <a:pt x="2819" y="582"/>
                      <a:pt x="2824" y="601"/>
                      <a:pt x="2833" y="618"/>
                    </a:cubicBezTo>
                    <a:cubicBezTo>
                      <a:pt x="2841" y="635"/>
                      <a:pt x="2853" y="649"/>
                      <a:pt x="2870" y="664"/>
                    </a:cubicBezTo>
                    <a:cubicBezTo>
                      <a:pt x="2884" y="675"/>
                      <a:pt x="2904" y="687"/>
                      <a:pt x="2924" y="692"/>
                    </a:cubicBezTo>
                    <a:cubicBezTo>
                      <a:pt x="2943" y="698"/>
                      <a:pt x="2969" y="700"/>
                      <a:pt x="2994" y="700"/>
                    </a:cubicBezTo>
                    <a:cubicBezTo>
                      <a:pt x="3017" y="700"/>
                      <a:pt x="3039" y="697"/>
                      <a:pt x="3056" y="692"/>
                    </a:cubicBezTo>
                    <a:cubicBezTo>
                      <a:pt x="3076" y="686"/>
                      <a:pt x="3093" y="680"/>
                      <a:pt x="3107" y="672"/>
                    </a:cubicBezTo>
                    <a:cubicBezTo>
                      <a:pt x="3121" y="664"/>
                      <a:pt x="3135" y="652"/>
                      <a:pt x="3147" y="641"/>
                    </a:cubicBezTo>
                    <a:cubicBezTo>
                      <a:pt x="3158" y="630"/>
                      <a:pt x="3166" y="618"/>
                      <a:pt x="3175" y="604"/>
                    </a:cubicBezTo>
                    <a:lnTo>
                      <a:pt x="3183" y="686"/>
                    </a:lnTo>
                    <a:lnTo>
                      <a:pt x="3226" y="686"/>
                    </a:lnTo>
                    <a:lnTo>
                      <a:pt x="3226" y="339"/>
                    </a:lnTo>
                    <a:cubicBezTo>
                      <a:pt x="3226" y="314"/>
                      <a:pt x="3220" y="291"/>
                      <a:pt x="3212" y="271"/>
                    </a:cubicBezTo>
                    <a:cubicBezTo>
                      <a:pt x="3203" y="251"/>
                      <a:pt x="3189" y="235"/>
                      <a:pt x="3172" y="220"/>
                    </a:cubicBezTo>
                    <a:cubicBezTo>
                      <a:pt x="3155" y="206"/>
                      <a:pt x="3135" y="195"/>
                      <a:pt x="3113" y="189"/>
                    </a:cubicBezTo>
                    <a:cubicBezTo>
                      <a:pt x="3090" y="181"/>
                      <a:pt x="3062" y="178"/>
                      <a:pt x="3034" y="178"/>
                    </a:cubicBezTo>
                    <a:cubicBezTo>
                      <a:pt x="3006" y="178"/>
                      <a:pt x="2980" y="181"/>
                      <a:pt x="2955" y="189"/>
                    </a:cubicBezTo>
                    <a:cubicBezTo>
                      <a:pt x="2932" y="195"/>
                      <a:pt x="2910" y="206"/>
                      <a:pt x="2893" y="218"/>
                    </a:cubicBezTo>
                    <a:cubicBezTo>
                      <a:pt x="2876" y="229"/>
                      <a:pt x="2861" y="246"/>
                      <a:pt x="2850" y="263"/>
                    </a:cubicBezTo>
                    <a:cubicBezTo>
                      <a:pt x="2838" y="280"/>
                      <a:pt x="2833" y="299"/>
                      <a:pt x="2831" y="322"/>
                    </a:cubicBezTo>
                    <a:lnTo>
                      <a:pt x="2893" y="322"/>
                    </a:lnTo>
                    <a:lnTo>
                      <a:pt x="2893" y="319"/>
                    </a:lnTo>
                    <a:close/>
                    <a:moveTo>
                      <a:pt x="3429" y="424"/>
                    </a:moveTo>
                    <a:lnTo>
                      <a:pt x="3708" y="686"/>
                    </a:lnTo>
                    <a:lnTo>
                      <a:pt x="3782" y="686"/>
                    </a:lnTo>
                    <a:lnTo>
                      <a:pt x="3482" y="407"/>
                    </a:lnTo>
                    <a:lnTo>
                      <a:pt x="3748" y="189"/>
                    </a:lnTo>
                    <a:lnTo>
                      <a:pt x="3677" y="189"/>
                    </a:lnTo>
                    <a:lnTo>
                      <a:pt x="3429" y="393"/>
                    </a:lnTo>
                    <a:lnTo>
                      <a:pt x="3429" y="0"/>
                    </a:lnTo>
                    <a:lnTo>
                      <a:pt x="3375" y="0"/>
                    </a:lnTo>
                    <a:lnTo>
                      <a:pt x="3375" y="686"/>
                    </a:lnTo>
                    <a:lnTo>
                      <a:pt x="3429" y="686"/>
                    </a:lnTo>
                    <a:lnTo>
                      <a:pt x="3429" y="424"/>
                    </a:lnTo>
                    <a:close/>
                    <a:moveTo>
                      <a:pt x="4103" y="229"/>
                    </a:moveTo>
                    <a:cubicBezTo>
                      <a:pt x="4123" y="237"/>
                      <a:pt x="4143" y="249"/>
                      <a:pt x="4160" y="266"/>
                    </a:cubicBezTo>
                    <a:cubicBezTo>
                      <a:pt x="4177" y="283"/>
                      <a:pt x="4188" y="299"/>
                      <a:pt x="4199" y="325"/>
                    </a:cubicBezTo>
                    <a:cubicBezTo>
                      <a:pt x="4208" y="347"/>
                      <a:pt x="4213" y="376"/>
                      <a:pt x="4216" y="410"/>
                    </a:cubicBezTo>
                    <a:lnTo>
                      <a:pt x="3858" y="410"/>
                    </a:lnTo>
                    <a:cubicBezTo>
                      <a:pt x="3863" y="347"/>
                      <a:pt x="3883" y="299"/>
                      <a:pt x="3917" y="268"/>
                    </a:cubicBezTo>
                    <a:cubicBezTo>
                      <a:pt x="3948" y="235"/>
                      <a:pt x="3988" y="218"/>
                      <a:pt x="4036" y="218"/>
                    </a:cubicBezTo>
                    <a:cubicBezTo>
                      <a:pt x="4058" y="218"/>
                      <a:pt x="4081" y="220"/>
                      <a:pt x="4103" y="229"/>
                    </a:cubicBezTo>
                    <a:close/>
                    <a:moveTo>
                      <a:pt x="4205" y="551"/>
                    </a:moveTo>
                    <a:cubicBezTo>
                      <a:pt x="4194" y="584"/>
                      <a:pt x="4176" y="611"/>
                      <a:pt x="4148" y="630"/>
                    </a:cubicBezTo>
                    <a:cubicBezTo>
                      <a:pt x="4119" y="650"/>
                      <a:pt x="4086" y="658"/>
                      <a:pt x="4047" y="658"/>
                    </a:cubicBezTo>
                    <a:cubicBezTo>
                      <a:pt x="4021" y="658"/>
                      <a:pt x="3996" y="655"/>
                      <a:pt x="3974" y="647"/>
                    </a:cubicBezTo>
                    <a:cubicBezTo>
                      <a:pt x="3951" y="638"/>
                      <a:pt x="3931" y="627"/>
                      <a:pt x="3914" y="610"/>
                    </a:cubicBezTo>
                    <a:cubicBezTo>
                      <a:pt x="3897" y="593"/>
                      <a:pt x="3883" y="570"/>
                      <a:pt x="3872" y="545"/>
                    </a:cubicBezTo>
                    <a:cubicBezTo>
                      <a:pt x="3861" y="520"/>
                      <a:pt x="3855" y="489"/>
                      <a:pt x="3855" y="452"/>
                    </a:cubicBezTo>
                    <a:lnTo>
                      <a:pt x="4270" y="452"/>
                    </a:lnTo>
                    <a:cubicBezTo>
                      <a:pt x="4270" y="404"/>
                      <a:pt x="4264" y="364"/>
                      <a:pt x="4253" y="331"/>
                    </a:cubicBezTo>
                    <a:cubicBezTo>
                      <a:pt x="4242" y="297"/>
                      <a:pt x="4225" y="269"/>
                      <a:pt x="4205" y="246"/>
                    </a:cubicBezTo>
                    <a:cubicBezTo>
                      <a:pt x="4185" y="224"/>
                      <a:pt x="4160" y="206"/>
                      <a:pt x="4132" y="195"/>
                    </a:cubicBezTo>
                    <a:cubicBezTo>
                      <a:pt x="4103" y="184"/>
                      <a:pt x="4071" y="178"/>
                      <a:pt x="4038" y="178"/>
                    </a:cubicBezTo>
                    <a:cubicBezTo>
                      <a:pt x="4004" y="178"/>
                      <a:pt x="3974" y="184"/>
                      <a:pt x="3945" y="195"/>
                    </a:cubicBezTo>
                    <a:cubicBezTo>
                      <a:pt x="3917" y="206"/>
                      <a:pt x="3891" y="224"/>
                      <a:pt x="3869" y="246"/>
                    </a:cubicBezTo>
                    <a:cubicBezTo>
                      <a:pt x="3846" y="269"/>
                      <a:pt x="3832" y="297"/>
                      <a:pt x="3818" y="328"/>
                    </a:cubicBezTo>
                    <a:cubicBezTo>
                      <a:pt x="3807" y="359"/>
                      <a:pt x="3801" y="399"/>
                      <a:pt x="3801" y="441"/>
                    </a:cubicBezTo>
                    <a:cubicBezTo>
                      <a:pt x="3801" y="484"/>
                      <a:pt x="3807" y="520"/>
                      <a:pt x="3821" y="553"/>
                    </a:cubicBezTo>
                    <a:cubicBezTo>
                      <a:pt x="3832" y="584"/>
                      <a:pt x="3852" y="613"/>
                      <a:pt x="3872" y="635"/>
                    </a:cubicBezTo>
                    <a:cubicBezTo>
                      <a:pt x="3895" y="658"/>
                      <a:pt x="3920" y="675"/>
                      <a:pt x="3948" y="686"/>
                    </a:cubicBezTo>
                    <a:cubicBezTo>
                      <a:pt x="3979" y="697"/>
                      <a:pt x="4010" y="703"/>
                      <a:pt x="4044" y="703"/>
                    </a:cubicBezTo>
                    <a:cubicBezTo>
                      <a:pt x="4101" y="703"/>
                      <a:pt x="4146" y="689"/>
                      <a:pt x="4182" y="664"/>
                    </a:cubicBezTo>
                    <a:cubicBezTo>
                      <a:pt x="4219" y="635"/>
                      <a:pt x="4244" y="601"/>
                      <a:pt x="4259" y="553"/>
                    </a:cubicBezTo>
                    <a:lnTo>
                      <a:pt x="4205" y="553"/>
                    </a:lnTo>
                    <a:lnTo>
                      <a:pt x="4205" y="551"/>
                    </a:lnTo>
                    <a:close/>
                  </a:path>
                </a:pathLst>
              </a:custGeom>
              <a:solidFill>
                <a:schemeClr val="bg2"/>
              </a:solidFill>
              <a:ln w="9525" cap="flat">
                <a:noFill/>
                <a:bevel/>
                <a:headEnd/>
                <a:tailEnd/>
              </a:ln>
              <a:effectLst/>
            </p:spPr>
            <p:txBody>
              <a:bodyPr wrap="none" anchor="ctr"/>
              <a:lstStyle/>
              <a:p>
                <a:endParaRPr lang="en-US"/>
              </a:p>
            </p:txBody>
          </p:sp>
          <p:sp>
            <p:nvSpPr>
              <p:cNvPr id="40" name="Freeform 2">
                <a:extLst>
                  <a:ext uri="{FF2B5EF4-FFF2-40B4-BE49-F238E27FC236}">
                    <a16:creationId xmlns:a16="http://schemas.microsoft.com/office/drawing/2014/main" id="{0A4E296F-C248-4513-A9BC-8FB2DF424468}"/>
                  </a:ext>
                </a:extLst>
              </p:cNvPr>
              <p:cNvSpPr>
                <a:spLocks noChangeArrowheads="1"/>
              </p:cNvSpPr>
              <p:nvPr/>
            </p:nvSpPr>
            <p:spPr bwMode="auto">
              <a:xfrm>
                <a:off x="5184779" y="4343400"/>
                <a:ext cx="1446213" cy="309563"/>
              </a:xfrm>
              <a:custGeom>
                <a:avLst/>
                <a:gdLst>
                  <a:gd name="T0" fmla="*/ 150 w 4017"/>
                  <a:gd name="T1" fmla="*/ 435 h 859"/>
                  <a:gd name="T2" fmla="*/ 266 w 4017"/>
                  <a:gd name="T3" fmla="*/ 593 h 859"/>
                  <a:gd name="T4" fmla="*/ 218 w 4017"/>
                  <a:gd name="T5" fmla="*/ 686 h 859"/>
                  <a:gd name="T6" fmla="*/ 0 w 4017"/>
                  <a:gd name="T7" fmla="*/ 189 h 859"/>
                  <a:gd name="T8" fmla="*/ 314 w 4017"/>
                  <a:gd name="T9" fmla="*/ 175 h 859"/>
                  <a:gd name="T10" fmla="*/ 545 w 4017"/>
                  <a:gd name="T11" fmla="*/ 429 h 859"/>
                  <a:gd name="T12" fmla="*/ 297 w 4017"/>
                  <a:gd name="T13" fmla="*/ 700 h 859"/>
                  <a:gd name="T14" fmla="*/ 971 w 4017"/>
                  <a:gd name="T15" fmla="*/ 565 h 859"/>
                  <a:gd name="T16" fmla="*/ 932 w 4017"/>
                  <a:gd name="T17" fmla="*/ 288 h 859"/>
                  <a:gd name="T18" fmla="*/ 802 w 4017"/>
                  <a:gd name="T19" fmla="*/ 565 h 859"/>
                  <a:gd name="T20" fmla="*/ 1155 w 4017"/>
                  <a:gd name="T21" fmla="*/ 438 h 859"/>
                  <a:gd name="T22" fmla="*/ 610 w 4017"/>
                  <a:gd name="T23" fmla="*/ 438 h 859"/>
                  <a:gd name="T24" fmla="*/ 1544 w 4017"/>
                  <a:gd name="T25" fmla="*/ 537 h 859"/>
                  <a:gd name="T26" fmla="*/ 1358 w 4017"/>
                  <a:gd name="T27" fmla="*/ 477 h 859"/>
                  <a:gd name="T28" fmla="*/ 1299 w 4017"/>
                  <a:gd name="T29" fmla="*/ 223 h 859"/>
                  <a:gd name="T30" fmla="*/ 1553 w 4017"/>
                  <a:gd name="T31" fmla="*/ 333 h 859"/>
                  <a:gd name="T32" fmla="*/ 1397 w 4017"/>
                  <a:gd name="T33" fmla="*/ 325 h 859"/>
                  <a:gd name="T34" fmla="*/ 1507 w 4017"/>
                  <a:gd name="T35" fmla="*/ 384 h 859"/>
                  <a:gd name="T36" fmla="*/ 1713 w 4017"/>
                  <a:gd name="T37" fmla="*/ 542 h 859"/>
                  <a:gd name="T38" fmla="*/ 1471 w 4017"/>
                  <a:gd name="T39" fmla="*/ 709 h 859"/>
                  <a:gd name="T40" fmla="*/ 1409 w 4017"/>
                  <a:gd name="T41" fmla="*/ 593 h 859"/>
                  <a:gd name="T42" fmla="*/ 2094 w 4017"/>
                  <a:gd name="T43" fmla="*/ 556 h 859"/>
                  <a:gd name="T44" fmla="*/ 1973 w 4017"/>
                  <a:gd name="T45" fmla="*/ 497 h 859"/>
                  <a:gd name="T46" fmla="*/ 1787 w 4017"/>
                  <a:gd name="T47" fmla="*/ 336 h 859"/>
                  <a:gd name="T48" fmla="*/ 2252 w 4017"/>
                  <a:gd name="T49" fmla="*/ 333 h 859"/>
                  <a:gd name="T50" fmla="*/ 1959 w 4017"/>
                  <a:gd name="T51" fmla="*/ 294 h 859"/>
                  <a:gd name="T52" fmla="*/ 1998 w 4017"/>
                  <a:gd name="T53" fmla="*/ 370 h 859"/>
                  <a:gd name="T54" fmla="*/ 2235 w 4017"/>
                  <a:gd name="T55" fmla="*/ 474 h 859"/>
                  <a:gd name="T56" fmla="*/ 2120 w 4017"/>
                  <a:gd name="T57" fmla="*/ 697 h 859"/>
                  <a:gd name="T58" fmla="*/ 1922 w 4017"/>
                  <a:gd name="T59" fmla="*/ 553 h 859"/>
                  <a:gd name="T60" fmla="*/ 2340 w 4017"/>
                  <a:gd name="T61" fmla="*/ 189 h 859"/>
                  <a:gd name="T62" fmla="*/ 2340 w 4017"/>
                  <a:gd name="T63" fmla="*/ 189 h 859"/>
                  <a:gd name="T64" fmla="*/ 2334 w 4017"/>
                  <a:gd name="T65" fmla="*/ 127 h 859"/>
                  <a:gd name="T66" fmla="*/ 2786 w 4017"/>
                  <a:gd name="T67" fmla="*/ 322 h 859"/>
                  <a:gd name="T68" fmla="*/ 2822 w 4017"/>
                  <a:gd name="T69" fmla="*/ 584 h 859"/>
                  <a:gd name="T70" fmla="*/ 2958 w 4017"/>
                  <a:gd name="T71" fmla="*/ 319 h 859"/>
                  <a:gd name="T72" fmla="*/ 2828 w 4017"/>
                  <a:gd name="T73" fmla="*/ 192 h 859"/>
                  <a:gd name="T74" fmla="*/ 3133 w 4017"/>
                  <a:gd name="T75" fmla="*/ 311 h 859"/>
                  <a:gd name="T76" fmla="*/ 3003 w 4017"/>
                  <a:gd name="T77" fmla="*/ 680 h 859"/>
                  <a:gd name="T78" fmla="*/ 2732 w 4017"/>
                  <a:gd name="T79" fmla="*/ 683 h 859"/>
                  <a:gd name="T80" fmla="*/ 3234 w 4017"/>
                  <a:gd name="T81" fmla="*/ 686 h 859"/>
                  <a:gd name="T82" fmla="*/ 3669 w 4017"/>
                  <a:gd name="T83" fmla="*/ 299 h 859"/>
                  <a:gd name="T84" fmla="*/ 3742 w 4017"/>
                  <a:gd name="T85" fmla="*/ 271 h 859"/>
                  <a:gd name="T86" fmla="*/ 4008 w 4017"/>
                  <a:gd name="T87" fmla="*/ 545 h 859"/>
                  <a:gd name="T88" fmla="*/ 3852 w 4017"/>
                  <a:gd name="T89" fmla="*/ 689 h 859"/>
                  <a:gd name="T90" fmla="*/ 3500 w 4017"/>
                  <a:gd name="T91" fmla="*/ 551 h 859"/>
                  <a:gd name="T92" fmla="*/ 3638 w 4017"/>
                  <a:gd name="T93" fmla="*/ 195 h 859"/>
                  <a:gd name="T94" fmla="*/ 3996 w 4017"/>
                  <a:gd name="T95" fmla="*/ 345 h 859"/>
                  <a:gd name="T96" fmla="*/ 3762 w 4017"/>
                  <a:gd name="T97" fmla="*/ 599 h 859"/>
                  <a:gd name="T98" fmla="*/ 3979 w 4017"/>
                  <a:gd name="T99" fmla="*/ 60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17" h="859">
                    <a:moveTo>
                      <a:pt x="356" y="319"/>
                    </a:moveTo>
                    <a:cubicBezTo>
                      <a:pt x="336" y="297"/>
                      <a:pt x="308" y="285"/>
                      <a:pt x="271" y="285"/>
                    </a:cubicBezTo>
                    <a:cubicBezTo>
                      <a:pt x="237" y="285"/>
                      <a:pt x="206" y="297"/>
                      <a:pt x="184" y="322"/>
                    </a:cubicBezTo>
                    <a:cubicBezTo>
                      <a:pt x="161" y="347"/>
                      <a:pt x="150" y="384"/>
                      <a:pt x="150" y="435"/>
                    </a:cubicBezTo>
                    <a:cubicBezTo>
                      <a:pt x="150" y="466"/>
                      <a:pt x="153" y="491"/>
                      <a:pt x="158" y="511"/>
                    </a:cubicBezTo>
                    <a:cubicBezTo>
                      <a:pt x="164" y="531"/>
                      <a:pt x="173" y="548"/>
                      <a:pt x="184" y="559"/>
                    </a:cubicBezTo>
                    <a:cubicBezTo>
                      <a:pt x="195" y="570"/>
                      <a:pt x="206" y="582"/>
                      <a:pt x="221" y="584"/>
                    </a:cubicBezTo>
                    <a:cubicBezTo>
                      <a:pt x="235" y="590"/>
                      <a:pt x="249" y="593"/>
                      <a:pt x="266" y="593"/>
                    </a:cubicBezTo>
                    <a:cubicBezTo>
                      <a:pt x="300" y="593"/>
                      <a:pt x="331" y="579"/>
                      <a:pt x="353" y="553"/>
                    </a:cubicBezTo>
                    <a:cubicBezTo>
                      <a:pt x="376" y="528"/>
                      <a:pt x="387" y="489"/>
                      <a:pt x="387" y="435"/>
                    </a:cubicBezTo>
                    <a:cubicBezTo>
                      <a:pt x="387" y="381"/>
                      <a:pt x="376" y="342"/>
                      <a:pt x="356" y="319"/>
                    </a:cubicBezTo>
                    <a:close/>
                    <a:moveTo>
                      <a:pt x="218" y="686"/>
                    </a:moveTo>
                    <a:cubicBezTo>
                      <a:pt x="192" y="675"/>
                      <a:pt x="173" y="661"/>
                      <a:pt x="156" y="644"/>
                    </a:cubicBezTo>
                    <a:lnTo>
                      <a:pt x="156" y="858"/>
                    </a:lnTo>
                    <a:lnTo>
                      <a:pt x="0" y="858"/>
                    </a:lnTo>
                    <a:lnTo>
                      <a:pt x="0" y="189"/>
                    </a:lnTo>
                    <a:lnTo>
                      <a:pt x="119" y="189"/>
                    </a:lnTo>
                    <a:lnTo>
                      <a:pt x="150" y="246"/>
                    </a:lnTo>
                    <a:cubicBezTo>
                      <a:pt x="170" y="226"/>
                      <a:pt x="192" y="209"/>
                      <a:pt x="218" y="195"/>
                    </a:cubicBezTo>
                    <a:cubicBezTo>
                      <a:pt x="246" y="181"/>
                      <a:pt x="277" y="175"/>
                      <a:pt x="314" y="175"/>
                    </a:cubicBezTo>
                    <a:cubicBezTo>
                      <a:pt x="348" y="175"/>
                      <a:pt x="379" y="181"/>
                      <a:pt x="407" y="192"/>
                    </a:cubicBezTo>
                    <a:cubicBezTo>
                      <a:pt x="435" y="204"/>
                      <a:pt x="460" y="220"/>
                      <a:pt x="480" y="240"/>
                    </a:cubicBezTo>
                    <a:cubicBezTo>
                      <a:pt x="500" y="263"/>
                      <a:pt x="517" y="288"/>
                      <a:pt x="528" y="319"/>
                    </a:cubicBezTo>
                    <a:cubicBezTo>
                      <a:pt x="539" y="350"/>
                      <a:pt x="545" y="387"/>
                      <a:pt x="545" y="429"/>
                    </a:cubicBezTo>
                    <a:cubicBezTo>
                      <a:pt x="545" y="472"/>
                      <a:pt x="539" y="511"/>
                      <a:pt x="525" y="542"/>
                    </a:cubicBezTo>
                    <a:cubicBezTo>
                      <a:pt x="514" y="576"/>
                      <a:pt x="494" y="604"/>
                      <a:pt x="474" y="627"/>
                    </a:cubicBezTo>
                    <a:cubicBezTo>
                      <a:pt x="452" y="649"/>
                      <a:pt x="427" y="666"/>
                      <a:pt x="398" y="680"/>
                    </a:cubicBezTo>
                    <a:cubicBezTo>
                      <a:pt x="370" y="695"/>
                      <a:pt x="331" y="700"/>
                      <a:pt x="297" y="700"/>
                    </a:cubicBezTo>
                    <a:cubicBezTo>
                      <a:pt x="268" y="700"/>
                      <a:pt x="243" y="695"/>
                      <a:pt x="218" y="686"/>
                    </a:cubicBezTo>
                    <a:close/>
                    <a:moveTo>
                      <a:pt x="802" y="565"/>
                    </a:moveTo>
                    <a:cubicBezTo>
                      <a:pt x="822" y="590"/>
                      <a:pt x="851" y="601"/>
                      <a:pt x="887" y="601"/>
                    </a:cubicBezTo>
                    <a:cubicBezTo>
                      <a:pt x="924" y="601"/>
                      <a:pt x="951" y="590"/>
                      <a:pt x="971" y="565"/>
                    </a:cubicBezTo>
                    <a:cubicBezTo>
                      <a:pt x="991" y="539"/>
                      <a:pt x="999" y="497"/>
                      <a:pt x="999" y="438"/>
                    </a:cubicBezTo>
                    <a:cubicBezTo>
                      <a:pt x="999" y="407"/>
                      <a:pt x="997" y="382"/>
                      <a:pt x="991" y="362"/>
                    </a:cubicBezTo>
                    <a:cubicBezTo>
                      <a:pt x="985" y="343"/>
                      <a:pt x="980" y="325"/>
                      <a:pt x="968" y="314"/>
                    </a:cubicBezTo>
                    <a:cubicBezTo>
                      <a:pt x="960" y="302"/>
                      <a:pt x="946" y="291"/>
                      <a:pt x="932" y="288"/>
                    </a:cubicBezTo>
                    <a:cubicBezTo>
                      <a:pt x="918" y="283"/>
                      <a:pt x="901" y="280"/>
                      <a:pt x="884" y="280"/>
                    </a:cubicBezTo>
                    <a:cubicBezTo>
                      <a:pt x="844" y="280"/>
                      <a:pt x="816" y="291"/>
                      <a:pt x="799" y="316"/>
                    </a:cubicBezTo>
                    <a:cubicBezTo>
                      <a:pt x="779" y="336"/>
                      <a:pt x="771" y="378"/>
                      <a:pt x="771" y="438"/>
                    </a:cubicBezTo>
                    <a:cubicBezTo>
                      <a:pt x="771" y="497"/>
                      <a:pt x="782" y="539"/>
                      <a:pt x="802" y="565"/>
                    </a:cubicBezTo>
                    <a:close/>
                    <a:moveTo>
                      <a:pt x="681" y="243"/>
                    </a:moveTo>
                    <a:cubicBezTo>
                      <a:pt x="728" y="198"/>
                      <a:pt x="796" y="178"/>
                      <a:pt x="884" y="178"/>
                    </a:cubicBezTo>
                    <a:cubicBezTo>
                      <a:pt x="971" y="178"/>
                      <a:pt x="1039" y="201"/>
                      <a:pt x="1084" y="243"/>
                    </a:cubicBezTo>
                    <a:cubicBezTo>
                      <a:pt x="1132" y="288"/>
                      <a:pt x="1155" y="353"/>
                      <a:pt x="1155" y="438"/>
                    </a:cubicBezTo>
                    <a:cubicBezTo>
                      <a:pt x="1155" y="525"/>
                      <a:pt x="1132" y="590"/>
                      <a:pt x="1084" y="635"/>
                    </a:cubicBezTo>
                    <a:cubicBezTo>
                      <a:pt x="1036" y="680"/>
                      <a:pt x="968" y="703"/>
                      <a:pt x="881" y="703"/>
                    </a:cubicBezTo>
                    <a:cubicBezTo>
                      <a:pt x="796" y="703"/>
                      <a:pt x="728" y="680"/>
                      <a:pt x="681" y="635"/>
                    </a:cubicBezTo>
                    <a:cubicBezTo>
                      <a:pt x="635" y="590"/>
                      <a:pt x="610" y="523"/>
                      <a:pt x="610" y="438"/>
                    </a:cubicBezTo>
                    <a:cubicBezTo>
                      <a:pt x="610" y="354"/>
                      <a:pt x="633" y="288"/>
                      <a:pt x="681" y="243"/>
                    </a:cubicBezTo>
                    <a:close/>
                    <a:moveTo>
                      <a:pt x="1530" y="590"/>
                    </a:moveTo>
                    <a:cubicBezTo>
                      <a:pt x="1544" y="582"/>
                      <a:pt x="1550" y="570"/>
                      <a:pt x="1550" y="556"/>
                    </a:cubicBezTo>
                    <a:cubicBezTo>
                      <a:pt x="1550" y="548"/>
                      <a:pt x="1547" y="542"/>
                      <a:pt x="1544" y="537"/>
                    </a:cubicBezTo>
                    <a:cubicBezTo>
                      <a:pt x="1541" y="531"/>
                      <a:pt x="1533" y="525"/>
                      <a:pt x="1524" y="522"/>
                    </a:cubicBezTo>
                    <a:cubicBezTo>
                      <a:pt x="1516" y="520"/>
                      <a:pt x="1502" y="514"/>
                      <a:pt x="1488" y="511"/>
                    </a:cubicBezTo>
                    <a:cubicBezTo>
                      <a:pt x="1471" y="508"/>
                      <a:pt x="1454" y="503"/>
                      <a:pt x="1428" y="497"/>
                    </a:cubicBezTo>
                    <a:cubicBezTo>
                      <a:pt x="1403" y="491"/>
                      <a:pt x="1381" y="486"/>
                      <a:pt x="1358" y="477"/>
                    </a:cubicBezTo>
                    <a:cubicBezTo>
                      <a:pt x="1336" y="469"/>
                      <a:pt x="1315" y="460"/>
                      <a:pt x="1299" y="446"/>
                    </a:cubicBezTo>
                    <a:cubicBezTo>
                      <a:pt x="1282" y="435"/>
                      <a:pt x="1267" y="418"/>
                      <a:pt x="1256" y="401"/>
                    </a:cubicBezTo>
                    <a:cubicBezTo>
                      <a:pt x="1245" y="384"/>
                      <a:pt x="1242" y="362"/>
                      <a:pt x="1242" y="336"/>
                    </a:cubicBezTo>
                    <a:cubicBezTo>
                      <a:pt x="1242" y="291"/>
                      <a:pt x="1263" y="251"/>
                      <a:pt x="1299" y="223"/>
                    </a:cubicBezTo>
                    <a:cubicBezTo>
                      <a:pt x="1336" y="195"/>
                      <a:pt x="1394" y="181"/>
                      <a:pt x="1471" y="181"/>
                    </a:cubicBezTo>
                    <a:cubicBezTo>
                      <a:pt x="1538" y="181"/>
                      <a:pt x="1592" y="195"/>
                      <a:pt x="1632" y="220"/>
                    </a:cubicBezTo>
                    <a:cubicBezTo>
                      <a:pt x="1674" y="246"/>
                      <a:pt x="1696" y="285"/>
                      <a:pt x="1708" y="333"/>
                    </a:cubicBezTo>
                    <a:lnTo>
                      <a:pt x="1553" y="333"/>
                    </a:lnTo>
                    <a:cubicBezTo>
                      <a:pt x="1550" y="319"/>
                      <a:pt x="1541" y="306"/>
                      <a:pt x="1527" y="297"/>
                    </a:cubicBezTo>
                    <a:cubicBezTo>
                      <a:pt x="1513" y="289"/>
                      <a:pt x="1493" y="283"/>
                      <a:pt x="1468" y="283"/>
                    </a:cubicBezTo>
                    <a:cubicBezTo>
                      <a:pt x="1442" y="283"/>
                      <a:pt x="1426" y="285"/>
                      <a:pt x="1414" y="294"/>
                    </a:cubicBezTo>
                    <a:cubicBezTo>
                      <a:pt x="1403" y="302"/>
                      <a:pt x="1397" y="311"/>
                      <a:pt x="1397" y="325"/>
                    </a:cubicBezTo>
                    <a:cubicBezTo>
                      <a:pt x="1397" y="331"/>
                      <a:pt x="1400" y="339"/>
                      <a:pt x="1403" y="342"/>
                    </a:cubicBezTo>
                    <a:cubicBezTo>
                      <a:pt x="1406" y="347"/>
                      <a:pt x="1412" y="350"/>
                      <a:pt x="1420" y="356"/>
                    </a:cubicBezTo>
                    <a:cubicBezTo>
                      <a:pt x="1429" y="362"/>
                      <a:pt x="1440" y="364"/>
                      <a:pt x="1454" y="370"/>
                    </a:cubicBezTo>
                    <a:cubicBezTo>
                      <a:pt x="1468" y="373"/>
                      <a:pt x="1485" y="378"/>
                      <a:pt x="1507" y="384"/>
                    </a:cubicBezTo>
                    <a:cubicBezTo>
                      <a:pt x="1530" y="390"/>
                      <a:pt x="1555" y="395"/>
                      <a:pt x="1581" y="404"/>
                    </a:cubicBezTo>
                    <a:cubicBezTo>
                      <a:pt x="1606" y="410"/>
                      <a:pt x="1627" y="421"/>
                      <a:pt x="1646" y="432"/>
                    </a:cubicBezTo>
                    <a:cubicBezTo>
                      <a:pt x="1666" y="443"/>
                      <a:pt x="1683" y="458"/>
                      <a:pt x="1694" y="474"/>
                    </a:cubicBezTo>
                    <a:cubicBezTo>
                      <a:pt x="1706" y="491"/>
                      <a:pt x="1713" y="514"/>
                      <a:pt x="1713" y="542"/>
                    </a:cubicBezTo>
                    <a:cubicBezTo>
                      <a:pt x="1713" y="568"/>
                      <a:pt x="1708" y="590"/>
                      <a:pt x="1699" y="610"/>
                    </a:cubicBezTo>
                    <a:cubicBezTo>
                      <a:pt x="1688" y="630"/>
                      <a:pt x="1674" y="647"/>
                      <a:pt x="1654" y="664"/>
                    </a:cubicBezTo>
                    <a:cubicBezTo>
                      <a:pt x="1634" y="678"/>
                      <a:pt x="1609" y="689"/>
                      <a:pt x="1578" y="697"/>
                    </a:cubicBezTo>
                    <a:cubicBezTo>
                      <a:pt x="1547" y="706"/>
                      <a:pt x="1513" y="709"/>
                      <a:pt x="1471" y="709"/>
                    </a:cubicBezTo>
                    <a:cubicBezTo>
                      <a:pt x="1400" y="709"/>
                      <a:pt x="1344" y="695"/>
                      <a:pt x="1301" y="666"/>
                    </a:cubicBezTo>
                    <a:cubicBezTo>
                      <a:pt x="1259" y="638"/>
                      <a:pt x="1234" y="601"/>
                      <a:pt x="1225" y="553"/>
                    </a:cubicBezTo>
                    <a:lnTo>
                      <a:pt x="1380" y="553"/>
                    </a:lnTo>
                    <a:cubicBezTo>
                      <a:pt x="1383" y="570"/>
                      <a:pt x="1394" y="582"/>
                      <a:pt x="1409" y="593"/>
                    </a:cubicBezTo>
                    <a:cubicBezTo>
                      <a:pt x="1420" y="596"/>
                      <a:pt x="1440" y="601"/>
                      <a:pt x="1462" y="601"/>
                    </a:cubicBezTo>
                    <a:cubicBezTo>
                      <a:pt x="1493" y="601"/>
                      <a:pt x="1516" y="599"/>
                      <a:pt x="1530" y="590"/>
                    </a:cubicBezTo>
                    <a:close/>
                    <a:moveTo>
                      <a:pt x="2075" y="590"/>
                    </a:moveTo>
                    <a:cubicBezTo>
                      <a:pt x="2089" y="582"/>
                      <a:pt x="2094" y="570"/>
                      <a:pt x="2094" y="556"/>
                    </a:cubicBezTo>
                    <a:cubicBezTo>
                      <a:pt x="2094" y="548"/>
                      <a:pt x="2092" y="542"/>
                      <a:pt x="2089" y="537"/>
                    </a:cubicBezTo>
                    <a:cubicBezTo>
                      <a:pt x="2086" y="531"/>
                      <a:pt x="2078" y="525"/>
                      <a:pt x="2069" y="522"/>
                    </a:cubicBezTo>
                    <a:cubicBezTo>
                      <a:pt x="2061" y="520"/>
                      <a:pt x="2046" y="514"/>
                      <a:pt x="2032" y="511"/>
                    </a:cubicBezTo>
                    <a:cubicBezTo>
                      <a:pt x="2015" y="508"/>
                      <a:pt x="1998" y="503"/>
                      <a:pt x="1973" y="497"/>
                    </a:cubicBezTo>
                    <a:cubicBezTo>
                      <a:pt x="1948" y="491"/>
                      <a:pt x="1925" y="486"/>
                      <a:pt x="1902" y="477"/>
                    </a:cubicBezTo>
                    <a:cubicBezTo>
                      <a:pt x="1880" y="469"/>
                      <a:pt x="1860" y="460"/>
                      <a:pt x="1843" y="446"/>
                    </a:cubicBezTo>
                    <a:cubicBezTo>
                      <a:pt x="1826" y="435"/>
                      <a:pt x="1812" y="418"/>
                      <a:pt x="1801" y="401"/>
                    </a:cubicBezTo>
                    <a:cubicBezTo>
                      <a:pt x="1790" y="384"/>
                      <a:pt x="1787" y="362"/>
                      <a:pt x="1787" y="336"/>
                    </a:cubicBezTo>
                    <a:cubicBezTo>
                      <a:pt x="1787" y="291"/>
                      <a:pt x="1807" y="251"/>
                      <a:pt x="1843" y="223"/>
                    </a:cubicBezTo>
                    <a:cubicBezTo>
                      <a:pt x="1880" y="195"/>
                      <a:pt x="1939" y="181"/>
                      <a:pt x="2015" y="181"/>
                    </a:cubicBezTo>
                    <a:cubicBezTo>
                      <a:pt x="2083" y="181"/>
                      <a:pt x="2137" y="195"/>
                      <a:pt x="2176" y="220"/>
                    </a:cubicBezTo>
                    <a:cubicBezTo>
                      <a:pt x="2219" y="246"/>
                      <a:pt x="2241" y="285"/>
                      <a:pt x="2252" y="333"/>
                    </a:cubicBezTo>
                    <a:lnTo>
                      <a:pt x="2097" y="333"/>
                    </a:lnTo>
                    <a:cubicBezTo>
                      <a:pt x="2094" y="319"/>
                      <a:pt x="2086" y="306"/>
                      <a:pt x="2072" y="297"/>
                    </a:cubicBezTo>
                    <a:cubicBezTo>
                      <a:pt x="2058" y="289"/>
                      <a:pt x="2038" y="283"/>
                      <a:pt x="2013" y="283"/>
                    </a:cubicBezTo>
                    <a:cubicBezTo>
                      <a:pt x="1987" y="283"/>
                      <a:pt x="1970" y="285"/>
                      <a:pt x="1959" y="294"/>
                    </a:cubicBezTo>
                    <a:cubicBezTo>
                      <a:pt x="1948" y="302"/>
                      <a:pt x="1942" y="311"/>
                      <a:pt x="1942" y="325"/>
                    </a:cubicBezTo>
                    <a:cubicBezTo>
                      <a:pt x="1942" y="331"/>
                      <a:pt x="1945" y="339"/>
                      <a:pt x="1948" y="342"/>
                    </a:cubicBezTo>
                    <a:cubicBezTo>
                      <a:pt x="1950" y="347"/>
                      <a:pt x="1957" y="350"/>
                      <a:pt x="1965" y="356"/>
                    </a:cubicBezTo>
                    <a:cubicBezTo>
                      <a:pt x="1974" y="362"/>
                      <a:pt x="1984" y="364"/>
                      <a:pt x="1998" y="370"/>
                    </a:cubicBezTo>
                    <a:cubicBezTo>
                      <a:pt x="2013" y="373"/>
                      <a:pt x="2029" y="378"/>
                      <a:pt x="2052" y="384"/>
                    </a:cubicBezTo>
                    <a:cubicBezTo>
                      <a:pt x="2075" y="390"/>
                      <a:pt x="2100" y="395"/>
                      <a:pt x="2123" y="404"/>
                    </a:cubicBezTo>
                    <a:cubicBezTo>
                      <a:pt x="2148" y="410"/>
                      <a:pt x="2168" y="421"/>
                      <a:pt x="2187" y="432"/>
                    </a:cubicBezTo>
                    <a:cubicBezTo>
                      <a:pt x="2207" y="443"/>
                      <a:pt x="2224" y="458"/>
                      <a:pt x="2235" y="474"/>
                    </a:cubicBezTo>
                    <a:cubicBezTo>
                      <a:pt x="2247" y="491"/>
                      <a:pt x="2255" y="514"/>
                      <a:pt x="2255" y="542"/>
                    </a:cubicBezTo>
                    <a:cubicBezTo>
                      <a:pt x="2255" y="568"/>
                      <a:pt x="2250" y="590"/>
                      <a:pt x="2241" y="610"/>
                    </a:cubicBezTo>
                    <a:cubicBezTo>
                      <a:pt x="2230" y="630"/>
                      <a:pt x="2216" y="647"/>
                      <a:pt x="2196" y="664"/>
                    </a:cubicBezTo>
                    <a:cubicBezTo>
                      <a:pt x="2176" y="678"/>
                      <a:pt x="2151" y="689"/>
                      <a:pt x="2120" y="697"/>
                    </a:cubicBezTo>
                    <a:cubicBezTo>
                      <a:pt x="2089" y="706"/>
                      <a:pt x="2055" y="709"/>
                      <a:pt x="2013" y="709"/>
                    </a:cubicBezTo>
                    <a:cubicBezTo>
                      <a:pt x="1942" y="709"/>
                      <a:pt x="1886" y="695"/>
                      <a:pt x="1843" y="666"/>
                    </a:cubicBezTo>
                    <a:cubicBezTo>
                      <a:pt x="1801" y="638"/>
                      <a:pt x="1775" y="601"/>
                      <a:pt x="1767" y="553"/>
                    </a:cubicBezTo>
                    <a:lnTo>
                      <a:pt x="1922" y="553"/>
                    </a:lnTo>
                    <a:cubicBezTo>
                      <a:pt x="1925" y="570"/>
                      <a:pt x="1936" y="582"/>
                      <a:pt x="1950" y="593"/>
                    </a:cubicBezTo>
                    <a:cubicBezTo>
                      <a:pt x="1962" y="596"/>
                      <a:pt x="1981" y="601"/>
                      <a:pt x="2007" y="601"/>
                    </a:cubicBezTo>
                    <a:cubicBezTo>
                      <a:pt x="2038" y="601"/>
                      <a:pt x="2060" y="599"/>
                      <a:pt x="2075" y="590"/>
                    </a:cubicBezTo>
                    <a:close/>
                    <a:moveTo>
                      <a:pt x="2340" y="189"/>
                    </a:moveTo>
                    <a:lnTo>
                      <a:pt x="2495" y="189"/>
                    </a:lnTo>
                    <a:lnTo>
                      <a:pt x="2495" y="686"/>
                    </a:lnTo>
                    <a:lnTo>
                      <a:pt x="2340" y="686"/>
                    </a:lnTo>
                    <a:lnTo>
                      <a:pt x="2340" y="189"/>
                    </a:lnTo>
                    <a:close/>
                    <a:moveTo>
                      <a:pt x="2334" y="0"/>
                    </a:moveTo>
                    <a:lnTo>
                      <a:pt x="2501" y="0"/>
                    </a:lnTo>
                    <a:lnTo>
                      <a:pt x="2501" y="127"/>
                    </a:lnTo>
                    <a:lnTo>
                      <a:pt x="2334" y="127"/>
                    </a:lnTo>
                    <a:lnTo>
                      <a:pt x="2334" y="0"/>
                    </a:lnTo>
                    <a:close/>
                    <a:moveTo>
                      <a:pt x="2958" y="319"/>
                    </a:moveTo>
                    <a:cubicBezTo>
                      <a:pt x="2938" y="297"/>
                      <a:pt x="2910" y="285"/>
                      <a:pt x="2873" y="285"/>
                    </a:cubicBezTo>
                    <a:cubicBezTo>
                      <a:pt x="2839" y="285"/>
                      <a:pt x="2808" y="297"/>
                      <a:pt x="2786" y="322"/>
                    </a:cubicBezTo>
                    <a:cubicBezTo>
                      <a:pt x="2763" y="347"/>
                      <a:pt x="2752" y="384"/>
                      <a:pt x="2752" y="435"/>
                    </a:cubicBezTo>
                    <a:cubicBezTo>
                      <a:pt x="2752" y="466"/>
                      <a:pt x="2755" y="491"/>
                      <a:pt x="2760" y="511"/>
                    </a:cubicBezTo>
                    <a:cubicBezTo>
                      <a:pt x="2766" y="531"/>
                      <a:pt x="2775" y="548"/>
                      <a:pt x="2786" y="559"/>
                    </a:cubicBezTo>
                    <a:cubicBezTo>
                      <a:pt x="2798" y="570"/>
                      <a:pt x="2808" y="582"/>
                      <a:pt x="2822" y="584"/>
                    </a:cubicBezTo>
                    <a:cubicBezTo>
                      <a:pt x="2837" y="590"/>
                      <a:pt x="2851" y="593"/>
                      <a:pt x="2868" y="593"/>
                    </a:cubicBezTo>
                    <a:cubicBezTo>
                      <a:pt x="2901" y="593"/>
                      <a:pt x="2933" y="579"/>
                      <a:pt x="2955" y="553"/>
                    </a:cubicBezTo>
                    <a:cubicBezTo>
                      <a:pt x="2978" y="528"/>
                      <a:pt x="2989" y="489"/>
                      <a:pt x="2989" y="435"/>
                    </a:cubicBezTo>
                    <a:cubicBezTo>
                      <a:pt x="2989" y="381"/>
                      <a:pt x="2978" y="342"/>
                      <a:pt x="2958" y="319"/>
                    </a:cubicBezTo>
                    <a:close/>
                    <a:moveTo>
                      <a:pt x="2605" y="0"/>
                    </a:moveTo>
                    <a:lnTo>
                      <a:pt x="2760" y="0"/>
                    </a:lnTo>
                    <a:lnTo>
                      <a:pt x="2760" y="237"/>
                    </a:lnTo>
                    <a:cubicBezTo>
                      <a:pt x="2780" y="218"/>
                      <a:pt x="2800" y="204"/>
                      <a:pt x="2828" y="192"/>
                    </a:cubicBezTo>
                    <a:cubicBezTo>
                      <a:pt x="2853" y="181"/>
                      <a:pt x="2885" y="175"/>
                      <a:pt x="2918" y="175"/>
                    </a:cubicBezTo>
                    <a:cubicBezTo>
                      <a:pt x="2952" y="175"/>
                      <a:pt x="2983" y="181"/>
                      <a:pt x="3012" y="189"/>
                    </a:cubicBezTo>
                    <a:cubicBezTo>
                      <a:pt x="3040" y="201"/>
                      <a:pt x="3065" y="216"/>
                      <a:pt x="3085" y="235"/>
                    </a:cubicBezTo>
                    <a:cubicBezTo>
                      <a:pt x="3105" y="255"/>
                      <a:pt x="3122" y="280"/>
                      <a:pt x="3133" y="311"/>
                    </a:cubicBezTo>
                    <a:cubicBezTo>
                      <a:pt x="3144" y="342"/>
                      <a:pt x="3150" y="378"/>
                      <a:pt x="3150" y="418"/>
                    </a:cubicBezTo>
                    <a:cubicBezTo>
                      <a:pt x="3150" y="463"/>
                      <a:pt x="3144" y="503"/>
                      <a:pt x="3130" y="539"/>
                    </a:cubicBezTo>
                    <a:cubicBezTo>
                      <a:pt x="3119" y="573"/>
                      <a:pt x="3102" y="605"/>
                      <a:pt x="3079" y="627"/>
                    </a:cubicBezTo>
                    <a:cubicBezTo>
                      <a:pt x="3057" y="650"/>
                      <a:pt x="3031" y="669"/>
                      <a:pt x="3003" y="680"/>
                    </a:cubicBezTo>
                    <a:cubicBezTo>
                      <a:pt x="2972" y="692"/>
                      <a:pt x="2941" y="697"/>
                      <a:pt x="2907" y="697"/>
                    </a:cubicBezTo>
                    <a:cubicBezTo>
                      <a:pt x="2876" y="697"/>
                      <a:pt x="2848" y="692"/>
                      <a:pt x="2822" y="680"/>
                    </a:cubicBezTo>
                    <a:cubicBezTo>
                      <a:pt x="2797" y="669"/>
                      <a:pt x="2774" y="652"/>
                      <a:pt x="2758" y="632"/>
                    </a:cubicBezTo>
                    <a:lnTo>
                      <a:pt x="2732" y="683"/>
                    </a:lnTo>
                    <a:lnTo>
                      <a:pt x="2605" y="683"/>
                    </a:lnTo>
                    <a:lnTo>
                      <a:pt x="2605" y="0"/>
                    </a:lnTo>
                    <a:close/>
                    <a:moveTo>
                      <a:pt x="3390" y="686"/>
                    </a:moveTo>
                    <a:lnTo>
                      <a:pt x="3234" y="686"/>
                    </a:lnTo>
                    <a:lnTo>
                      <a:pt x="3234" y="0"/>
                    </a:lnTo>
                    <a:lnTo>
                      <a:pt x="3390" y="0"/>
                    </a:lnTo>
                    <a:lnTo>
                      <a:pt x="3390" y="686"/>
                    </a:lnTo>
                    <a:close/>
                    <a:moveTo>
                      <a:pt x="3669" y="299"/>
                    </a:moveTo>
                    <a:cubicBezTo>
                      <a:pt x="3649" y="316"/>
                      <a:pt x="3638" y="347"/>
                      <a:pt x="3635" y="390"/>
                    </a:cubicBezTo>
                    <a:lnTo>
                      <a:pt x="3852" y="390"/>
                    </a:lnTo>
                    <a:cubicBezTo>
                      <a:pt x="3850" y="347"/>
                      <a:pt x="3841" y="316"/>
                      <a:pt x="3821" y="299"/>
                    </a:cubicBezTo>
                    <a:cubicBezTo>
                      <a:pt x="3802" y="280"/>
                      <a:pt x="3776" y="271"/>
                      <a:pt x="3742" y="271"/>
                    </a:cubicBezTo>
                    <a:cubicBezTo>
                      <a:pt x="3711" y="271"/>
                      <a:pt x="3689" y="280"/>
                      <a:pt x="3669" y="299"/>
                    </a:cubicBezTo>
                    <a:close/>
                    <a:moveTo>
                      <a:pt x="4008" y="542"/>
                    </a:moveTo>
                    <a:cubicBezTo>
                      <a:pt x="4007" y="543"/>
                      <a:pt x="4007" y="544"/>
                      <a:pt x="4007" y="545"/>
                    </a:cubicBezTo>
                    <a:lnTo>
                      <a:pt x="4008" y="545"/>
                    </a:lnTo>
                    <a:lnTo>
                      <a:pt x="4008" y="542"/>
                    </a:lnTo>
                    <a:close/>
                    <a:moveTo>
                      <a:pt x="3979" y="604"/>
                    </a:moveTo>
                    <a:cubicBezTo>
                      <a:pt x="3968" y="624"/>
                      <a:pt x="3951" y="641"/>
                      <a:pt x="3929" y="655"/>
                    </a:cubicBezTo>
                    <a:cubicBezTo>
                      <a:pt x="3909" y="669"/>
                      <a:pt x="3884" y="680"/>
                      <a:pt x="3852" y="689"/>
                    </a:cubicBezTo>
                    <a:cubicBezTo>
                      <a:pt x="3824" y="697"/>
                      <a:pt x="3790" y="700"/>
                      <a:pt x="3751" y="700"/>
                    </a:cubicBezTo>
                    <a:cubicBezTo>
                      <a:pt x="3711" y="700"/>
                      <a:pt x="3675" y="695"/>
                      <a:pt x="3641" y="683"/>
                    </a:cubicBezTo>
                    <a:cubicBezTo>
                      <a:pt x="3607" y="672"/>
                      <a:pt x="3579" y="655"/>
                      <a:pt x="3556" y="632"/>
                    </a:cubicBezTo>
                    <a:cubicBezTo>
                      <a:pt x="3534" y="610"/>
                      <a:pt x="3514" y="582"/>
                      <a:pt x="3500" y="551"/>
                    </a:cubicBezTo>
                    <a:cubicBezTo>
                      <a:pt x="3486" y="520"/>
                      <a:pt x="3480" y="480"/>
                      <a:pt x="3480" y="441"/>
                    </a:cubicBezTo>
                    <a:cubicBezTo>
                      <a:pt x="3480" y="398"/>
                      <a:pt x="3486" y="362"/>
                      <a:pt x="3500" y="328"/>
                    </a:cubicBezTo>
                    <a:cubicBezTo>
                      <a:pt x="3511" y="294"/>
                      <a:pt x="3531" y="268"/>
                      <a:pt x="3553" y="246"/>
                    </a:cubicBezTo>
                    <a:cubicBezTo>
                      <a:pt x="3576" y="223"/>
                      <a:pt x="3604" y="206"/>
                      <a:pt x="3638" y="195"/>
                    </a:cubicBezTo>
                    <a:cubicBezTo>
                      <a:pt x="3672" y="184"/>
                      <a:pt x="3709" y="178"/>
                      <a:pt x="3748" y="178"/>
                    </a:cubicBezTo>
                    <a:cubicBezTo>
                      <a:pt x="3790" y="178"/>
                      <a:pt x="3827" y="184"/>
                      <a:pt x="3858" y="195"/>
                    </a:cubicBezTo>
                    <a:cubicBezTo>
                      <a:pt x="3892" y="206"/>
                      <a:pt x="3921" y="226"/>
                      <a:pt x="3943" y="251"/>
                    </a:cubicBezTo>
                    <a:cubicBezTo>
                      <a:pt x="3966" y="277"/>
                      <a:pt x="3982" y="308"/>
                      <a:pt x="3996" y="345"/>
                    </a:cubicBezTo>
                    <a:cubicBezTo>
                      <a:pt x="4008" y="381"/>
                      <a:pt x="4016" y="426"/>
                      <a:pt x="4016" y="477"/>
                    </a:cubicBezTo>
                    <a:lnTo>
                      <a:pt x="3641" y="477"/>
                    </a:lnTo>
                    <a:cubicBezTo>
                      <a:pt x="3646" y="522"/>
                      <a:pt x="3661" y="553"/>
                      <a:pt x="3680" y="570"/>
                    </a:cubicBezTo>
                    <a:cubicBezTo>
                      <a:pt x="3703" y="590"/>
                      <a:pt x="3728" y="599"/>
                      <a:pt x="3762" y="599"/>
                    </a:cubicBezTo>
                    <a:cubicBezTo>
                      <a:pt x="3788" y="599"/>
                      <a:pt x="3807" y="593"/>
                      <a:pt x="3821" y="584"/>
                    </a:cubicBezTo>
                    <a:cubicBezTo>
                      <a:pt x="3836" y="576"/>
                      <a:pt x="3847" y="562"/>
                      <a:pt x="3852" y="545"/>
                    </a:cubicBezTo>
                    <a:lnTo>
                      <a:pt x="4007" y="545"/>
                    </a:lnTo>
                    <a:cubicBezTo>
                      <a:pt x="4001" y="567"/>
                      <a:pt x="3993" y="588"/>
                      <a:pt x="3979" y="604"/>
                    </a:cubicBezTo>
                    <a:close/>
                  </a:path>
                </a:pathLst>
              </a:custGeom>
              <a:solidFill>
                <a:schemeClr val="accent1"/>
              </a:solidFill>
              <a:ln w="9525" cap="flat">
                <a:noFill/>
                <a:bevel/>
                <a:headEnd/>
                <a:tailEnd/>
              </a:ln>
              <a:effectLst/>
            </p:spPr>
            <p:txBody>
              <a:bodyPr wrap="none" anchor="ctr"/>
              <a:lstStyle/>
              <a:p>
                <a:endParaRPr lang="en-US"/>
              </a:p>
            </p:txBody>
          </p:sp>
        </p:grpSp>
      </p:grpSp>
      <p:sp>
        <p:nvSpPr>
          <p:cNvPr id="12" name="Freeform 11">
            <a:extLst>
              <a:ext uri="{FF2B5EF4-FFF2-40B4-BE49-F238E27FC236}">
                <a16:creationId xmlns:a16="http://schemas.microsoft.com/office/drawing/2014/main" id="{A4F159D2-44F8-3748-9731-2FFBECCA7526}"/>
              </a:ext>
            </a:extLst>
          </p:cNvPr>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iscoSansTT Light" panose="020B0503020201020303" pitchFamily="34" charset="0"/>
              <a:ea typeface="ＭＳ Ｐゴシック" charset="0"/>
            </a:endParaRPr>
          </a:p>
        </p:txBody>
      </p:sp>
      <p:grpSp>
        <p:nvGrpSpPr>
          <p:cNvPr id="13" name="Group 12">
            <a:extLst>
              <a:ext uri="{FF2B5EF4-FFF2-40B4-BE49-F238E27FC236}">
                <a16:creationId xmlns:a16="http://schemas.microsoft.com/office/drawing/2014/main" id="{4A78B050-D1F7-0445-9138-C27FEB4665AC}"/>
              </a:ext>
            </a:extLst>
          </p:cNvPr>
          <p:cNvGrpSpPr/>
          <p:nvPr/>
        </p:nvGrpSpPr>
        <p:grpSpPr>
          <a:xfrm>
            <a:off x="2514600" y="1630524"/>
            <a:ext cx="4114800" cy="2133528"/>
            <a:chOff x="2514600" y="1630524"/>
            <a:chExt cx="4114800" cy="2133528"/>
          </a:xfrm>
        </p:grpSpPr>
        <p:grpSp>
          <p:nvGrpSpPr>
            <p:cNvPr id="14" name="Group 13">
              <a:extLst>
                <a:ext uri="{FF2B5EF4-FFF2-40B4-BE49-F238E27FC236}">
                  <a16:creationId xmlns:a16="http://schemas.microsoft.com/office/drawing/2014/main" id="{14D92FB2-0BEE-7D40-BE8C-6D2655B96B3A}"/>
                </a:ext>
              </a:extLst>
            </p:cNvPr>
            <p:cNvGrpSpPr>
              <a:grpSpLocks noChangeAspect="1"/>
            </p:cNvGrpSpPr>
            <p:nvPr/>
          </p:nvGrpSpPr>
          <p:grpSpPr>
            <a:xfrm>
              <a:off x="2514600" y="1630524"/>
              <a:ext cx="4114800" cy="1335227"/>
              <a:chOff x="2956719" y="4114800"/>
              <a:chExt cx="3292475" cy="1068387"/>
            </a:xfrm>
          </p:grpSpPr>
          <p:sp>
            <p:nvSpPr>
              <p:cNvPr id="18" name="Freeform 1">
                <a:extLst>
                  <a:ext uri="{FF2B5EF4-FFF2-40B4-BE49-F238E27FC236}">
                    <a16:creationId xmlns:a16="http://schemas.microsoft.com/office/drawing/2014/main" id="{9855285B-2345-B040-9218-833F514C6436}"/>
                  </a:ext>
                </a:extLst>
              </p:cNvPr>
              <p:cNvSpPr>
                <a:spLocks noChangeAspect="1" noChangeArrowheads="1"/>
              </p:cNvSpPr>
              <p:nvPr/>
            </p:nvSpPr>
            <p:spPr bwMode="auto">
              <a:xfrm>
                <a:off x="4531519" y="4567237"/>
                <a:ext cx="144462" cy="479425"/>
              </a:xfrm>
              <a:custGeom>
                <a:avLst/>
                <a:gdLst>
                  <a:gd name="T0" fmla="*/ 397 w 401"/>
                  <a:gd name="T1" fmla="*/ 1139 h 1332"/>
                  <a:gd name="T2" fmla="*/ 201 w 401"/>
                  <a:gd name="T3" fmla="*/ 1331 h 1332"/>
                  <a:gd name="T4" fmla="*/ 0 w 401"/>
                  <a:gd name="T5" fmla="*/ 1139 h 1332"/>
                  <a:gd name="T6" fmla="*/ 0 w 401"/>
                  <a:gd name="T7" fmla="*/ 739 h 1332"/>
                  <a:gd name="T8" fmla="*/ 201 w 401"/>
                  <a:gd name="T9" fmla="*/ 547 h 1332"/>
                  <a:gd name="T10" fmla="*/ 397 w 401"/>
                  <a:gd name="T11" fmla="*/ 739 h 1332"/>
                  <a:gd name="T12" fmla="*/ 397 w 401"/>
                  <a:gd name="T13" fmla="*/ 1139 h 1332"/>
                  <a:gd name="T14" fmla="*/ 202 w 401"/>
                  <a:gd name="T15" fmla="*/ 0 h 1332"/>
                  <a:gd name="T16" fmla="*/ 6 w 401"/>
                  <a:gd name="T17" fmla="*/ 189 h 1332"/>
                  <a:gd name="T18" fmla="*/ 202 w 401"/>
                  <a:gd name="T19" fmla="*/ 378 h 1332"/>
                  <a:gd name="T20" fmla="*/ 400 w 401"/>
                  <a:gd name="T21" fmla="*/ 189 h 1332"/>
                  <a:gd name="T22" fmla="*/ 202 w 401"/>
                  <a:gd name="T23" fmla="*/ 0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1" h="1332">
                    <a:moveTo>
                      <a:pt x="397" y="1139"/>
                    </a:moveTo>
                    <a:cubicBezTo>
                      <a:pt x="397" y="1246"/>
                      <a:pt x="311" y="1331"/>
                      <a:pt x="201" y="1331"/>
                    </a:cubicBezTo>
                    <a:cubicBezTo>
                      <a:pt x="90" y="1331"/>
                      <a:pt x="0" y="1246"/>
                      <a:pt x="0" y="1139"/>
                    </a:cubicBezTo>
                    <a:lnTo>
                      <a:pt x="0" y="739"/>
                    </a:lnTo>
                    <a:cubicBezTo>
                      <a:pt x="0" y="634"/>
                      <a:pt x="90" y="547"/>
                      <a:pt x="201" y="547"/>
                    </a:cubicBezTo>
                    <a:cubicBezTo>
                      <a:pt x="310" y="547"/>
                      <a:pt x="397" y="632"/>
                      <a:pt x="397" y="739"/>
                    </a:cubicBezTo>
                    <a:lnTo>
                      <a:pt x="397" y="1139"/>
                    </a:lnTo>
                    <a:close/>
                    <a:moveTo>
                      <a:pt x="202" y="0"/>
                    </a:moveTo>
                    <a:cubicBezTo>
                      <a:pt x="93" y="0"/>
                      <a:pt x="6" y="84"/>
                      <a:pt x="6" y="189"/>
                    </a:cubicBezTo>
                    <a:cubicBezTo>
                      <a:pt x="6" y="293"/>
                      <a:pt x="93" y="378"/>
                      <a:pt x="202" y="378"/>
                    </a:cubicBezTo>
                    <a:cubicBezTo>
                      <a:pt x="312" y="378"/>
                      <a:pt x="400" y="293"/>
                      <a:pt x="400" y="189"/>
                    </a:cubicBezTo>
                    <a:cubicBezTo>
                      <a:pt x="400" y="84"/>
                      <a:pt x="312" y="0"/>
                      <a:pt x="202" y="0"/>
                    </a:cubicBezTo>
                    <a:close/>
                  </a:path>
                </a:pathLst>
              </a:custGeom>
              <a:solidFill>
                <a:schemeClr val="accent6"/>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19" name="Freeform 2">
                <a:extLst>
                  <a:ext uri="{FF2B5EF4-FFF2-40B4-BE49-F238E27FC236}">
                    <a16:creationId xmlns:a16="http://schemas.microsoft.com/office/drawing/2014/main" id="{F1FD51EF-D7E3-4B43-B0B7-550FEE432F7A}"/>
                  </a:ext>
                </a:extLst>
              </p:cNvPr>
              <p:cNvSpPr>
                <a:spLocks noChangeAspect="1" noChangeArrowheads="1"/>
              </p:cNvSpPr>
              <p:nvPr/>
            </p:nvSpPr>
            <p:spPr bwMode="auto">
              <a:xfrm>
                <a:off x="4137819" y="4371975"/>
                <a:ext cx="935037" cy="674687"/>
              </a:xfrm>
              <a:custGeom>
                <a:avLst/>
                <a:gdLst>
                  <a:gd name="T0" fmla="*/ 401 w 2596"/>
                  <a:gd name="T1" fmla="*/ 1681 h 1874"/>
                  <a:gd name="T2" fmla="*/ 201 w 2596"/>
                  <a:gd name="T3" fmla="*/ 1873 h 1874"/>
                  <a:gd name="T4" fmla="*/ 0 w 2596"/>
                  <a:gd name="T5" fmla="*/ 1681 h 1874"/>
                  <a:gd name="T6" fmla="*/ 0 w 2596"/>
                  <a:gd name="T7" fmla="*/ 756 h 1874"/>
                  <a:gd name="T8" fmla="*/ 201 w 2596"/>
                  <a:gd name="T9" fmla="*/ 564 h 1874"/>
                  <a:gd name="T10" fmla="*/ 401 w 2596"/>
                  <a:gd name="T11" fmla="*/ 756 h 1874"/>
                  <a:gd name="T12" fmla="*/ 401 w 2596"/>
                  <a:gd name="T13" fmla="*/ 1681 h 1874"/>
                  <a:gd name="T14" fmla="*/ 203 w 2596"/>
                  <a:gd name="T15" fmla="*/ 0 h 1874"/>
                  <a:gd name="T16" fmla="*/ 6 w 2596"/>
                  <a:gd name="T17" fmla="*/ 189 h 1874"/>
                  <a:gd name="T18" fmla="*/ 203 w 2596"/>
                  <a:gd name="T19" fmla="*/ 378 h 1874"/>
                  <a:gd name="T20" fmla="*/ 401 w 2596"/>
                  <a:gd name="T21" fmla="*/ 189 h 1874"/>
                  <a:gd name="T22" fmla="*/ 203 w 2596"/>
                  <a:gd name="T23" fmla="*/ 0 h 1874"/>
                  <a:gd name="T24" fmla="*/ 2587 w 2596"/>
                  <a:gd name="T25" fmla="*/ 1681 h 1874"/>
                  <a:gd name="T26" fmla="*/ 2389 w 2596"/>
                  <a:gd name="T27" fmla="*/ 1873 h 1874"/>
                  <a:gd name="T28" fmla="*/ 2192 w 2596"/>
                  <a:gd name="T29" fmla="*/ 1681 h 1874"/>
                  <a:gd name="T30" fmla="*/ 2192 w 2596"/>
                  <a:gd name="T31" fmla="*/ 756 h 1874"/>
                  <a:gd name="T32" fmla="*/ 2389 w 2596"/>
                  <a:gd name="T33" fmla="*/ 564 h 1874"/>
                  <a:gd name="T34" fmla="*/ 2587 w 2596"/>
                  <a:gd name="T35" fmla="*/ 756 h 1874"/>
                  <a:gd name="T36" fmla="*/ 2587 w 2596"/>
                  <a:gd name="T37" fmla="*/ 1681 h 1874"/>
                  <a:gd name="T38" fmla="*/ 2398 w 2596"/>
                  <a:gd name="T39" fmla="*/ 8 h 1874"/>
                  <a:gd name="T40" fmla="*/ 2200 w 2596"/>
                  <a:gd name="T41" fmla="*/ 197 h 1874"/>
                  <a:gd name="T42" fmla="*/ 2398 w 2596"/>
                  <a:gd name="T43" fmla="*/ 386 h 1874"/>
                  <a:gd name="T44" fmla="*/ 2595 w 2596"/>
                  <a:gd name="T45" fmla="*/ 197 h 1874"/>
                  <a:gd name="T46" fmla="*/ 2398 w 2596"/>
                  <a:gd name="T47" fmla="*/ 8 h 1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96" h="1874">
                    <a:moveTo>
                      <a:pt x="401" y="1681"/>
                    </a:moveTo>
                    <a:cubicBezTo>
                      <a:pt x="401" y="1788"/>
                      <a:pt x="311" y="1873"/>
                      <a:pt x="201" y="1873"/>
                    </a:cubicBezTo>
                    <a:cubicBezTo>
                      <a:pt x="90" y="1873"/>
                      <a:pt x="0" y="1788"/>
                      <a:pt x="0" y="1681"/>
                    </a:cubicBezTo>
                    <a:lnTo>
                      <a:pt x="0" y="756"/>
                    </a:lnTo>
                    <a:cubicBezTo>
                      <a:pt x="0" y="652"/>
                      <a:pt x="90" y="564"/>
                      <a:pt x="201" y="564"/>
                    </a:cubicBezTo>
                    <a:cubicBezTo>
                      <a:pt x="311" y="564"/>
                      <a:pt x="401" y="649"/>
                      <a:pt x="401" y="756"/>
                    </a:cubicBezTo>
                    <a:lnTo>
                      <a:pt x="401" y="1681"/>
                    </a:lnTo>
                    <a:close/>
                    <a:moveTo>
                      <a:pt x="203" y="0"/>
                    </a:moveTo>
                    <a:cubicBezTo>
                      <a:pt x="93" y="0"/>
                      <a:pt x="6" y="84"/>
                      <a:pt x="6" y="189"/>
                    </a:cubicBezTo>
                    <a:cubicBezTo>
                      <a:pt x="6" y="293"/>
                      <a:pt x="93" y="378"/>
                      <a:pt x="203" y="378"/>
                    </a:cubicBezTo>
                    <a:cubicBezTo>
                      <a:pt x="313" y="378"/>
                      <a:pt x="401" y="293"/>
                      <a:pt x="401" y="189"/>
                    </a:cubicBezTo>
                    <a:cubicBezTo>
                      <a:pt x="401" y="84"/>
                      <a:pt x="313" y="0"/>
                      <a:pt x="203" y="0"/>
                    </a:cubicBezTo>
                    <a:close/>
                    <a:moveTo>
                      <a:pt x="2587" y="1681"/>
                    </a:moveTo>
                    <a:cubicBezTo>
                      <a:pt x="2587" y="1788"/>
                      <a:pt x="2500" y="1873"/>
                      <a:pt x="2389" y="1873"/>
                    </a:cubicBezTo>
                    <a:cubicBezTo>
                      <a:pt x="2279" y="1873"/>
                      <a:pt x="2192" y="1788"/>
                      <a:pt x="2192" y="1681"/>
                    </a:cubicBezTo>
                    <a:lnTo>
                      <a:pt x="2192" y="756"/>
                    </a:lnTo>
                    <a:cubicBezTo>
                      <a:pt x="2192" y="652"/>
                      <a:pt x="2282" y="564"/>
                      <a:pt x="2389" y="564"/>
                    </a:cubicBezTo>
                    <a:cubicBezTo>
                      <a:pt x="2500" y="564"/>
                      <a:pt x="2587" y="649"/>
                      <a:pt x="2587" y="756"/>
                    </a:cubicBezTo>
                    <a:lnTo>
                      <a:pt x="2587" y="1681"/>
                    </a:lnTo>
                    <a:close/>
                    <a:moveTo>
                      <a:pt x="2398" y="8"/>
                    </a:moveTo>
                    <a:cubicBezTo>
                      <a:pt x="2288" y="8"/>
                      <a:pt x="2200" y="92"/>
                      <a:pt x="2200" y="197"/>
                    </a:cubicBezTo>
                    <a:cubicBezTo>
                      <a:pt x="2200" y="301"/>
                      <a:pt x="2288" y="386"/>
                      <a:pt x="2398" y="386"/>
                    </a:cubicBezTo>
                    <a:cubicBezTo>
                      <a:pt x="2505" y="386"/>
                      <a:pt x="2595" y="302"/>
                      <a:pt x="2595" y="197"/>
                    </a:cubicBezTo>
                    <a:cubicBezTo>
                      <a:pt x="2595" y="93"/>
                      <a:pt x="2508" y="8"/>
                      <a:pt x="2398" y="8"/>
                    </a:cubicBezTo>
                    <a:close/>
                  </a:path>
                </a:pathLst>
              </a:custGeom>
              <a:solidFill>
                <a:schemeClr val="accent5"/>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0" name="Freeform 3">
                <a:extLst>
                  <a:ext uri="{FF2B5EF4-FFF2-40B4-BE49-F238E27FC236}">
                    <a16:creationId xmlns:a16="http://schemas.microsoft.com/office/drawing/2014/main" id="{3E8FE8E1-92EE-ED46-BB8D-8F04073FB502}"/>
                  </a:ext>
                </a:extLst>
              </p:cNvPr>
              <p:cNvSpPr>
                <a:spLocks noChangeAspect="1" noChangeArrowheads="1"/>
              </p:cNvSpPr>
              <p:nvPr/>
            </p:nvSpPr>
            <p:spPr bwMode="auto">
              <a:xfrm>
                <a:off x="3350419" y="4371975"/>
                <a:ext cx="2506662" cy="674687"/>
              </a:xfrm>
              <a:custGeom>
                <a:avLst/>
                <a:gdLst>
                  <a:gd name="T0" fmla="*/ 401 w 6962"/>
                  <a:gd name="T1" fmla="*/ 1679 h 1872"/>
                  <a:gd name="T2" fmla="*/ 200 w 6962"/>
                  <a:gd name="T3" fmla="*/ 1871 h 1872"/>
                  <a:gd name="T4" fmla="*/ 0 w 6962"/>
                  <a:gd name="T5" fmla="*/ 1679 h 1872"/>
                  <a:gd name="T6" fmla="*/ 0 w 6962"/>
                  <a:gd name="T7" fmla="*/ 754 h 1872"/>
                  <a:gd name="T8" fmla="*/ 200 w 6962"/>
                  <a:gd name="T9" fmla="*/ 562 h 1872"/>
                  <a:gd name="T10" fmla="*/ 401 w 6962"/>
                  <a:gd name="T11" fmla="*/ 754 h 1872"/>
                  <a:gd name="T12" fmla="*/ 401 w 6962"/>
                  <a:gd name="T13" fmla="*/ 1679 h 1872"/>
                  <a:gd name="T14" fmla="*/ 212 w 6962"/>
                  <a:gd name="T15" fmla="*/ 0 h 1872"/>
                  <a:gd name="T16" fmla="*/ 14 w 6962"/>
                  <a:gd name="T17" fmla="*/ 190 h 1872"/>
                  <a:gd name="T18" fmla="*/ 212 w 6962"/>
                  <a:gd name="T19" fmla="*/ 379 h 1872"/>
                  <a:gd name="T20" fmla="*/ 409 w 6962"/>
                  <a:gd name="T21" fmla="*/ 190 h 1872"/>
                  <a:gd name="T22" fmla="*/ 212 w 6962"/>
                  <a:gd name="T23" fmla="*/ 0 h 1872"/>
                  <a:gd name="T24" fmla="*/ 6961 w 6962"/>
                  <a:gd name="T25" fmla="*/ 1679 h 1872"/>
                  <a:gd name="T26" fmla="*/ 6761 w 6962"/>
                  <a:gd name="T27" fmla="*/ 1871 h 1872"/>
                  <a:gd name="T28" fmla="*/ 6563 w 6962"/>
                  <a:gd name="T29" fmla="*/ 1679 h 1872"/>
                  <a:gd name="T30" fmla="*/ 6563 w 6962"/>
                  <a:gd name="T31" fmla="*/ 754 h 1872"/>
                  <a:gd name="T32" fmla="*/ 6761 w 6962"/>
                  <a:gd name="T33" fmla="*/ 562 h 1872"/>
                  <a:gd name="T34" fmla="*/ 6961 w 6962"/>
                  <a:gd name="T35" fmla="*/ 754 h 1872"/>
                  <a:gd name="T36" fmla="*/ 6961 w 6962"/>
                  <a:gd name="T37" fmla="*/ 1679 h 1872"/>
                  <a:gd name="T38" fmla="*/ 6764 w 6962"/>
                  <a:gd name="T39" fmla="*/ 12 h 1872"/>
                  <a:gd name="T40" fmla="*/ 6566 w 6962"/>
                  <a:gd name="T41" fmla="*/ 201 h 1872"/>
                  <a:gd name="T42" fmla="*/ 6764 w 6962"/>
                  <a:gd name="T43" fmla="*/ 390 h 1872"/>
                  <a:gd name="T44" fmla="*/ 6961 w 6962"/>
                  <a:gd name="T45" fmla="*/ 201 h 1872"/>
                  <a:gd name="T46" fmla="*/ 6764 w 6962"/>
                  <a:gd name="T47" fmla="*/ 12 h 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962" h="1872">
                    <a:moveTo>
                      <a:pt x="401" y="1679"/>
                    </a:moveTo>
                    <a:cubicBezTo>
                      <a:pt x="401" y="1786"/>
                      <a:pt x="310" y="1871"/>
                      <a:pt x="200" y="1871"/>
                    </a:cubicBezTo>
                    <a:cubicBezTo>
                      <a:pt x="89" y="1871"/>
                      <a:pt x="0" y="1786"/>
                      <a:pt x="0" y="1679"/>
                    </a:cubicBezTo>
                    <a:lnTo>
                      <a:pt x="0" y="754"/>
                    </a:lnTo>
                    <a:cubicBezTo>
                      <a:pt x="0" y="650"/>
                      <a:pt x="89" y="562"/>
                      <a:pt x="200" y="562"/>
                    </a:cubicBezTo>
                    <a:cubicBezTo>
                      <a:pt x="310" y="562"/>
                      <a:pt x="401" y="647"/>
                      <a:pt x="401" y="754"/>
                    </a:cubicBezTo>
                    <a:lnTo>
                      <a:pt x="401" y="1679"/>
                    </a:lnTo>
                    <a:close/>
                    <a:moveTo>
                      <a:pt x="212" y="0"/>
                    </a:moveTo>
                    <a:cubicBezTo>
                      <a:pt x="102" y="0"/>
                      <a:pt x="14" y="85"/>
                      <a:pt x="14" y="190"/>
                    </a:cubicBezTo>
                    <a:cubicBezTo>
                      <a:pt x="14" y="294"/>
                      <a:pt x="102" y="379"/>
                      <a:pt x="212" y="379"/>
                    </a:cubicBezTo>
                    <a:cubicBezTo>
                      <a:pt x="319" y="381"/>
                      <a:pt x="409" y="297"/>
                      <a:pt x="409" y="190"/>
                    </a:cubicBezTo>
                    <a:cubicBezTo>
                      <a:pt x="409" y="85"/>
                      <a:pt x="322" y="0"/>
                      <a:pt x="212" y="0"/>
                    </a:cubicBezTo>
                    <a:close/>
                    <a:moveTo>
                      <a:pt x="6961" y="1679"/>
                    </a:moveTo>
                    <a:cubicBezTo>
                      <a:pt x="6961" y="1786"/>
                      <a:pt x="6874" y="1871"/>
                      <a:pt x="6761" y="1871"/>
                    </a:cubicBezTo>
                    <a:cubicBezTo>
                      <a:pt x="6651" y="1871"/>
                      <a:pt x="6563" y="1786"/>
                      <a:pt x="6563" y="1679"/>
                    </a:cubicBezTo>
                    <a:lnTo>
                      <a:pt x="6563" y="754"/>
                    </a:lnTo>
                    <a:cubicBezTo>
                      <a:pt x="6563" y="650"/>
                      <a:pt x="6651" y="562"/>
                      <a:pt x="6761" y="562"/>
                    </a:cubicBezTo>
                    <a:cubicBezTo>
                      <a:pt x="6874" y="562"/>
                      <a:pt x="6961" y="647"/>
                      <a:pt x="6961" y="754"/>
                    </a:cubicBezTo>
                    <a:lnTo>
                      <a:pt x="6961" y="1679"/>
                    </a:lnTo>
                    <a:close/>
                    <a:moveTo>
                      <a:pt x="6764" y="12"/>
                    </a:moveTo>
                    <a:cubicBezTo>
                      <a:pt x="6654" y="12"/>
                      <a:pt x="6566" y="96"/>
                      <a:pt x="6566" y="201"/>
                    </a:cubicBezTo>
                    <a:cubicBezTo>
                      <a:pt x="6566" y="305"/>
                      <a:pt x="6653" y="390"/>
                      <a:pt x="6764" y="390"/>
                    </a:cubicBezTo>
                    <a:cubicBezTo>
                      <a:pt x="6871" y="390"/>
                      <a:pt x="6961" y="305"/>
                      <a:pt x="6961" y="201"/>
                    </a:cubicBezTo>
                    <a:cubicBezTo>
                      <a:pt x="6961" y="96"/>
                      <a:pt x="6875" y="12"/>
                      <a:pt x="6764" y="12"/>
                    </a:cubicBezTo>
                    <a:close/>
                  </a:path>
                </a:pathLst>
              </a:custGeom>
              <a:solidFill>
                <a:schemeClr val="accent2"/>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24" name="Freeform 4">
                <a:extLst>
                  <a:ext uri="{FF2B5EF4-FFF2-40B4-BE49-F238E27FC236}">
                    <a16:creationId xmlns:a16="http://schemas.microsoft.com/office/drawing/2014/main" id="{292CA921-0C77-F34E-B859-021DC8BCF8EF}"/>
                  </a:ext>
                </a:extLst>
              </p:cNvPr>
              <p:cNvSpPr>
                <a:spLocks noChangeAspect="1" noChangeArrowheads="1"/>
              </p:cNvSpPr>
              <p:nvPr/>
            </p:nvSpPr>
            <p:spPr bwMode="auto">
              <a:xfrm>
                <a:off x="2956719" y="4114800"/>
                <a:ext cx="3292475" cy="1068387"/>
              </a:xfrm>
              <a:custGeom>
                <a:avLst/>
                <a:gdLst>
                  <a:gd name="T0" fmla="*/ 401 w 9146"/>
                  <a:gd name="T1" fmla="*/ 2395 h 2969"/>
                  <a:gd name="T2" fmla="*/ 200 w 9146"/>
                  <a:gd name="T3" fmla="*/ 2587 h 2969"/>
                  <a:gd name="T4" fmla="*/ 0 w 9146"/>
                  <a:gd name="T5" fmla="*/ 2395 h 2969"/>
                  <a:gd name="T6" fmla="*/ 0 w 9146"/>
                  <a:gd name="T7" fmla="*/ 1995 h 2969"/>
                  <a:gd name="T8" fmla="*/ 200 w 9146"/>
                  <a:gd name="T9" fmla="*/ 1803 h 2969"/>
                  <a:gd name="T10" fmla="*/ 401 w 9146"/>
                  <a:gd name="T11" fmla="*/ 1995 h 2969"/>
                  <a:gd name="T12" fmla="*/ 401 w 9146"/>
                  <a:gd name="T13" fmla="*/ 2395 h 2969"/>
                  <a:gd name="T14" fmla="*/ 200 w 9146"/>
                  <a:gd name="T15" fmla="*/ 1247 h 2969"/>
                  <a:gd name="T16" fmla="*/ 3 w 9146"/>
                  <a:gd name="T17" fmla="*/ 1436 h 2969"/>
                  <a:gd name="T18" fmla="*/ 200 w 9146"/>
                  <a:gd name="T19" fmla="*/ 1625 h 2969"/>
                  <a:gd name="T20" fmla="*/ 398 w 9146"/>
                  <a:gd name="T21" fmla="*/ 1436 h 2969"/>
                  <a:gd name="T22" fmla="*/ 200 w 9146"/>
                  <a:gd name="T23" fmla="*/ 1247 h 2969"/>
                  <a:gd name="T24" fmla="*/ 2588 w 9146"/>
                  <a:gd name="T25" fmla="*/ 2776 h 2969"/>
                  <a:gd name="T26" fmla="*/ 2387 w 9146"/>
                  <a:gd name="T27" fmla="*/ 2968 h 2969"/>
                  <a:gd name="T28" fmla="*/ 2187 w 9146"/>
                  <a:gd name="T29" fmla="*/ 2776 h 2969"/>
                  <a:gd name="T30" fmla="*/ 2187 w 9146"/>
                  <a:gd name="T31" fmla="*/ 750 h 2969"/>
                  <a:gd name="T32" fmla="*/ 2387 w 9146"/>
                  <a:gd name="T33" fmla="*/ 558 h 2969"/>
                  <a:gd name="T34" fmla="*/ 2588 w 9146"/>
                  <a:gd name="T35" fmla="*/ 750 h 2969"/>
                  <a:gd name="T36" fmla="*/ 2588 w 9146"/>
                  <a:gd name="T37" fmla="*/ 2776 h 2969"/>
                  <a:gd name="T38" fmla="*/ 2387 w 9146"/>
                  <a:gd name="T39" fmla="*/ 0 h 2969"/>
                  <a:gd name="T40" fmla="*/ 2190 w 9146"/>
                  <a:gd name="T41" fmla="*/ 189 h 2969"/>
                  <a:gd name="T42" fmla="*/ 2387 w 9146"/>
                  <a:gd name="T43" fmla="*/ 378 h 2969"/>
                  <a:gd name="T44" fmla="*/ 2585 w 9146"/>
                  <a:gd name="T45" fmla="*/ 189 h 2969"/>
                  <a:gd name="T46" fmla="*/ 2387 w 9146"/>
                  <a:gd name="T47" fmla="*/ 0 h 2969"/>
                  <a:gd name="T48" fmla="*/ 6961 w 9146"/>
                  <a:gd name="T49" fmla="*/ 2776 h 2969"/>
                  <a:gd name="T50" fmla="*/ 6763 w 9146"/>
                  <a:gd name="T51" fmla="*/ 2968 h 2969"/>
                  <a:gd name="T52" fmla="*/ 6566 w 9146"/>
                  <a:gd name="T53" fmla="*/ 2776 h 2969"/>
                  <a:gd name="T54" fmla="*/ 6566 w 9146"/>
                  <a:gd name="T55" fmla="*/ 750 h 2969"/>
                  <a:gd name="T56" fmla="*/ 6763 w 9146"/>
                  <a:gd name="T57" fmla="*/ 558 h 2969"/>
                  <a:gd name="T58" fmla="*/ 6961 w 9146"/>
                  <a:gd name="T59" fmla="*/ 750 h 2969"/>
                  <a:gd name="T60" fmla="*/ 6961 w 9146"/>
                  <a:gd name="T61" fmla="*/ 2776 h 2969"/>
                  <a:gd name="T62" fmla="*/ 6766 w 9146"/>
                  <a:gd name="T63" fmla="*/ 8 h 2969"/>
                  <a:gd name="T64" fmla="*/ 6569 w 9146"/>
                  <a:gd name="T65" fmla="*/ 197 h 2969"/>
                  <a:gd name="T66" fmla="*/ 6766 w 9146"/>
                  <a:gd name="T67" fmla="*/ 386 h 2969"/>
                  <a:gd name="T68" fmla="*/ 6964 w 9146"/>
                  <a:gd name="T69" fmla="*/ 197 h 2969"/>
                  <a:gd name="T70" fmla="*/ 6766 w 9146"/>
                  <a:gd name="T71" fmla="*/ 8 h 2969"/>
                  <a:gd name="T72" fmla="*/ 9145 w 9146"/>
                  <a:gd name="T73" fmla="*/ 2395 h 2969"/>
                  <a:gd name="T74" fmla="*/ 8948 w 9146"/>
                  <a:gd name="T75" fmla="*/ 2587 h 2969"/>
                  <a:gd name="T76" fmla="*/ 8750 w 9146"/>
                  <a:gd name="T77" fmla="*/ 2395 h 2969"/>
                  <a:gd name="T78" fmla="*/ 8750 w 9146"/>
                  <a:gd name="T79" fmla="*/ 1995 h 2969"/>
                  <a:gd name="T80" fmla="*/ 8948 w 9146"/>
                  <a:gd name="T81" fmla="*/ 1803 h 2969"/>
                  <a:gd name="T82" fmla="*/ 9145 w 9146"/>
                  <a:gd name="T83" fmla="*/ 1995 h 2969"/>
                  <a:gd name="T84" fmla="*/ 9145 w 9146"/>
                  <a:gd name="T85" fmla="*/ 2395 h 2969"/>
                  <a:gd name="T86" fmla="*/ 8948 w 9146"/>
                  <a:gd name="T87" fmla="*/ 1247 h 2969"/>
                  <a:gd name="T88" fmla="*/ 8750 w 9146"/>
                  <a:gd name="T89" fmla="*/ 1436 h 2969"/>
                  <a:gd name="T90" fmla="*/ 8948 w 9146"/>
                  <a:gd name="T91" fmla="*/ 1625 h 2969"/>
                  <a:gd name="T92" fmla="*/ 9145 w 9146"/>
                  <a:gd name="T93" fmla="*/ 1436 h 2969"/>
                  <a:gd name="T94" fmla="*/ 8948 w 9146"/>
                  <a:gd name="T95" fmla="*/ 1247 h 2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46" h="2969">
                    <a:moveTo>
                      <a:pt x="401" y="2395"/>
                    </a:moveTo>
                    <a:cubicBezTo>
                      <a:pt x="401" y="2502"/>
                      <a:pt x="310" y="2587"/>
                      <a:pt x="200" y="2587"/>
                    </a:cubicBezTo>
                    <a:cubicBezTo>
                      <a:pt x="90" y="2587"/>
                      <a:pt x="0" y="2502"/>
                      <a:pt x="0" y="2395"/>
                    </a:cubicBezTo>
                    <a:lnTo>
                      <a:pt x="0" y="1995"/>
                    </a:lnTo>
                    <a:cubicBezTo>
                      <a:pt x="0" y="1890"/>
                      <a:pt x="90" y="1803"/>
                      <a:pt x="200" y="1803"/>
                    </a:cubicBezTo>
                    <a:cubicBezTo>
                      <a:pt x="310" y="1803"/>
                      <a:pt x="401" y="1888"/>
                      <a:pt x="401" y="1995"/>
                    </a:cubicBezTo>
                    <a:lnTo>
                      <a:pt x="401" y="2395"/>
                    </a:lnTo>
                    <a:close/>
                    <a:moveTo>
                      <a:pt x="200" y="1247"/>
                    </a:moveTo>
                    <a:cubicBezTo>
                      <a:pt x="90" y="1247"/>
                      <a:pt x="3" y="1331"/>
                      <a:pt x="3" y="1436"/>
                    </a:cubicBezTo>
                    <a:cubicBezTo>
                      <a:pt x="3" y="1540"/>
                      <a:pt x="90" y="1625"/>
                      <a:pt x="200" y="1625"/>
                    </a:cubicBezTo>
                    <a:cubicBezTo>
                      <a:pt x="310" y="1625"/>
                      <a:pt x="398" y="1540"/>
                      <a:pt x="398" y="1436"/>
                    </a:cubicBezTo>
                    <a:cubicBezTo>
                      <a:pt x="398" y="1331"/>
                      <a:pt x="310" y="1247"/>
                      <a:pt x="200" y="1247"/>
                    </a:cubicBezTo>
                    <a:close/>
                    <a:moveTo>
                      <a:pt x="2588" y="2776"/>
                    </a:moveTo>
                    <a:cubicBezTo>
                      <a:pt x="2588" y="2883"/>
                      <a:pt x="2497" y="2968"/>
                      <a:pt x="2387" y="2968"/>
                    </a:cubicBezTo>
                    <a:cubicBezTo>
                      <a:pt x="2277" y="2968"/>
                      <a:pt x="2187" y="2883"/>
                      <a:pt x="2187" y="2776"/>
                    </a:cubicBezTo>
                    <a:lnTo>
                      <a:pt x="2187" y="750"/>
                    </a:lnTo>
                    <a:cubicBezTo>
                      <a:pt x="2187" y="646"/>
                      <a:pt x="2277" y="558"/>
                      <a:pt x="2387" y="558"/>
                    </a:cubicBezTo>
                    <a:cubicBezTo>
                      <a:pt x="2497" y="558"/>
                      <a:pt x="2588" y="643"/>
                      <a:pt x="2588" y="750"/>
                    </a:cubicBezTo>
                    <a:lnTo>
                      <a:pt x="2588" y="2776"/>
                    </a:lnTo>
                    <a:close/>
                    <a:moveTo>
                      <a:pt x="2387" y="0"/>
                    </a:moveTo>
                    <a:cubicBezTo>
                      <a:pt x="2277" y="0"/>
                      <a:pt x="2190" y="84"/>
                      <a:pt x="2190" y="189"/>
                    </a:cubicBezTo>
                    <a:cubicBezTo>
                      <a:pt x="2190" y="293"/>
                      <a:pt x="2277" y="378"/>
                      <a:pt x="2387" y="378"/>
                    </a:cubicBezTo>
                    <a:cubicBezTo>
                      <a:pt x="2497" y="378"/>
                      <a:pt x="2585" y="293"/>
                      <a:pt x="2585" y="189"/>
                    </a:cubicBezTo>
                    <a:cubicBezTo>
                      <a:pt x="2585" y="84"/>
                      <a:pt x="2497" y="0"/>
                      <a:pt x="2387" y="0"/>
                    </a:cubicBezTo>
                    <a:close/>
                    <a:moveTo>
                      <a:pt x="6961" y="2776"/>
                    </a:moveTo>
                    <a:cubicBezTo>
                      <a:pt x="6961" y="2883"/>
                      <a:pt x="6873" y="2968"/>
                      <a:pt x="6763" y="2968"/>
                    </a:cubicBezTo>
                    <a:cubicBezTo>
                      <a:pt x="6653" y="2968"/>
                      <a:pt x="6566" y="2883"/>
                      <a:pt x="6566" y="2776"/>
                    </a:cubicBezTo>
                    <a:lnTo>
                      <a:pt x="6566" y="750"/>
                    </a:lnTo>
                    <a:cubicBezTo>
                      <a:pt x="6566" y="646"/>
                      <a:pt x="6653" y="558"/>
                      <a:pt x="6763" y="558"/>
                    </a:cubicBezTo>
                    <a:cubicBezTo>
                      <a:pt x="6873" y="558"/>
                      <a:pt x="6961" y="643"/>
                      <a:pt x="6961" y="750"/>
                    </a:cubicBezTo>
                    <a:lnTo>
                      <a:pt x="6961" y="2776"/>
                    </a:lnTo>
                    <a:close/>
                    <a:moveTo>
                      <a:pt x="6766" y="8"/>
                    </a:moveTo>
                    <a:cubicBezTo>
                      <a:pt x="6656" y="8"/>
                      <a:pt x="6569" y="92"/>
                      <a:pt x="6569" y="197"/>
                    </a:cubicBezTo>
                    <a:cubicBezTo>
                      <a:pt x="6569" y="301"/>
                      <a:pt x="6656" y="386"/>
                      <a:pt x="6766" y="386"/>
                    </a:cubicBezTo>
                    <a:cubicBezTo>
                      <a:pt x="6873" y="386"/>
                      <a:pt x="6964" y="301"/>
                      <a:pt x="6964" y="197"/>
                    </a:cubicBezTo>
                    <a:cubicBezTo>
                      <a:pt x="6964" y="92"/>
                      <a:pt x="6876" y="8"/>
                      <a:pt x="6766" y="8"/>
                    </a:cubicBezTo>
                    <a:close/>
                    <a:moveTo>
                      <a:pt x="9145" y="2395"/>
                    </a:moveTo>
                    <a:cubicBezTo>
                      <a:pt x="9145" y="2502"/>
                      <a:pt x="9055" y="2587"/>
                      <a:pt x="8948" y="2587"/>
                    </a:cubicBezTo>
                    <a:cubicBezTo>
                      <a:pt x="8838" y="2587"/>
                      <a:pt x="8750" y="2502"/>
                      <a:pt x="8750" y="2395"/>
                    </a:cubicBezTo>
                    <a:lnTo>
                      <a:pt x="8750" y="1995"/>
                    </a:lnTo>
                    <a:cubicBezTo>
                      <a:pt x="8750" y="1890"/>
                      <a:pt x="8840" y="1803"/>
                      <a:pt x="8948" y="1803"/>
                    </a:cubicBezTo>
                    <a:cubicBezTo>
                      <a:pt x="9058" y="1803"/>
                      <a:pt x="9145" y="1888"/>
                      <a:pt x="9145" y="1995"/>
                    </a:cubicBezTo>
                    <a:lnTo>
                      <a:pt x="9145" y="2395"/>
                    </a:lnTo>
                    <a:close/>
                    <a:moveTo>
                      <a:pt x="8948" y="1247"/>
                    </a:moveTo>
                    <a:cubicBezTo>
                      <a:pt x="8838" y="1247"/>
                      <a:pt x="8750" y="1331"/>
                      <a:pt x="8750" y="1436"/>
                    </a:cubicBezTo>
                    <a:cubicBezTo>
                      <a:pt x="8750" y="1540"/>
                      <a:pt x="8838" y="1625"/>
                      <a:pt x="8948" y="1625"/>
                    </a:cubicBezTo>
                    <a:cubicBezTo>
                      <a:pt x="9058" y="1625"/>
                      <a:pt x="9145" y="1540"/>
                      <a:pt x="9145" y="1436"/>
                    </a:cubicBezTo>
                    <a:cubicBezTo>
                      <a:pt x="9145" y="1331"/>
                      <a:pt x="9058" y="1247"/>
                      <a:pt x="8948" y="1247"/>
                    </a:cubicBezTo>
                    <a:close/>
                  </a:path>
                </a:pathLst>
              </a:custGeom>
              <a:solidFill>
                <a:schemeClr val="accent1"/>
              </a:solidFill>
              <a:ln w="9525" cap="flat">
                <a:no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grpSp>
        <p:grpSp>
          <p:nvGrpSpPr>
            <p:cNvPr id="15" name="Group 14">
              <a:extLst>
                <a:ext uri="{FF2B5EF4-FFF2-40B4-BE49-F238E27FC236}">
                  <a16:creationId xmlns:a16="http://schemas.microsoft.com/office/drawing/2014/main" id="{F9115B57-E69A-1141-9E22-72033C98E0C6}"/>
                </a:ext>
              </a:extLst>
            </p:cNvPr>
            <p:cNvGrpSpPr>
              <a:grpSpLocks noChangeAspect="1"/>
            </p:cNvGrpSpPr>
            <p:nvPr/>
          </p:nvGrpSpPr>
          <p:grpSpPr>
            <a:xfrm>
              <a:off x="2610880" y="3376996"/>
              <a:ext cx="3910270" cy="387056"/>
              <a:chOff x="3503613" y="4343400"/>
              <a:chExt cx="3127379" cy="309563"/>
            </a:xfrm>
          </p:grpSpPr>
          <p:sp>
            <p:nvSpPr>
              <p:cNvPr id="16" name="Freeform 1">
                <a:extLst>
                  <a:ext uri="{FF2B5EF4-FFF2-40B4-BE49-F238E27FC236}">
                    <a16:creationId xmlns:a16="http://schemas.microsoft.com/office/drawing/2014/main" id="{4F0A678E-251D-5F4B-B551-5DBAF46BA7F0}"/>
                  </a:ext>
                </a:extLst>
              </p:cNvPr>
              <p:cNvSpPr>
                <a:spLocks noChangeArrowheads="1"/>
              </p:cNvSpPr>
              <p:nvPr/>
            </p:nvSpPr>
            <p:spPr bwMode="auto">
              <a:xfrm>
                <a:off x="3503613" y="4343400"/>
                <a:ext cx="1538287" cy="254000"/>
              </a:xfrm>
              <a:custGeom>
                <a:avLst/>
                <a:gdLst>
                  <a:gd name="T0" fmla="*/ 426 w 4271"/>
                  <a:gd name="T1" fmla="*/ 187 h 704"/>
                  <a:gd name="T2" fmla="*/ 330 w 4271"/>
                  <a:gd name="T3" fmla="*/ 421 h 704"/>
                  <a:gd name="T4" fmla="*/ 274 w 4271"/>
                  <a:gd name="T5" fmla="*/ 418 h 704"/>
                  <a:gd name="T6" fmla="*/ 632 w 4271"/>
                  <a:gd name="T7" fmla="*/ 342 h 704"/>
                  <a:gd name="T8" fmla="*/ 802 w 4271"/>
                  <a:gd name="T9" fmla="*/ 215 h 704"/>
                  <a:gd name="T10" fmla="*/ 968 w 4271"/>
                  <a:gd name="T11" fmla="*/ 339 h 704"/>
                  <a:gd name="T12" fmla="*/ 931 w 4271"/>
                  <a:gd name="T13" fmla="*/ 601 h 704"/>
                  <a:gd name="T14" fmla="*/ 728 w 4271"/>
                  <a:gd name="T15" fmla="*/ 644 h 704"/>
                  <a:gd name="T16" fmla="*/ 618 w 4271"/>
                  <a:gd name="T17" fmla="*/ 438 h 704"/>
                  <a:gd name="T18" fmla="*/ 632 w 4271"/>
                  <a:gd name="T19" fmla="*/ 632 h 704"/>
                  <a:gd name="T20" fmla="*/ 895 w 4271"/>
                  <a:gd name="T21" fmla="*/ 683 h 704"/>
                  <a:gd name="T22" fmla="*/ 1036 w 4271"/>
                  <a:gd name="T23" fmla="*/ 438 h 704"/>
                  <a:gd name="T24" fmla="*/ 892 w 4271"/>
                  <a:gd name="T25" fmla="*/ 192 h 704"/>
                  <a:gd name="T26" fmla="*/ 627 w 4271"/>
                  <a:gd name="T27" fmla="*/ 240 h 704"/>
                  <a:gd name="T28" fmla="*/ 581 w 4271"/>
                  <a:gd name="T29" fmla="*/ 551 h 704"/>
                  <a:gd name="T30" fmla="*/ 1171 w 4271"/>
                  <a:gd name="T31" fmla="*/ 601 h 704"/>
                  <a:gd name="T32" fmla="*/ 1335 w 4271"/>
                  <a:gd name="T33" fmla="*/ 700 h 704"/>
                  <a:gd name="T34" fmla="*/ 1510 w 4271"/>
                  <a:gd name="T35" fmla="*/ 686 h 704"/>
                  <a:gd name="T36" fmla="*/ 1501 w 4271"/>
                  <a:gd name="T37" fmla="*/ 189 h 704"/>
                  <a:gd name="T38" fmla="*/ 1459 w 4271"/>
                  <a:gd name="T39" fmla="*/ 610 h 704"/>
                  <a:gd name="T40" fmla="*/ 1250 w 4271"/>
                  <a:gd name="T41" fmla="*/ 621 h 704"/>
                  <a:gd name="T42" fmla="*/ 1157 w 4271"/>
                  <a:gd name="T43" fmla="*/ 187 h 704"/>
                  <a:gd name="T44" fmla="*/ 2057 w 4271"/>
                  <a:gd name="T45" fmla="*/ 378 h 704"/>
                  <a:gd name="T46" fmla="*/ 2148 w 4271"/>
                  <a:gd name="T47" fmla="*/ 232 h 704"/>
                  <a:gd name="T48" fmla="*/ 2328 w 4271"/>
                  <a:gd name="T49" fmla="*/ 347 h 704"/>
                  <a:gd name="T50" fmla="*/ 2382 w 4271"/>
                  <a:gd name="T51" fmla="*/ 378 h 704"/>
                  <a:gd name="T52" fmla="*/ 2469 w 4271"/>
                  <a:gd name="T53" fmla="*/ 232 h 704"/>
                  <a:gd name="T54" fmla="*/ 2653 w 4271"/>
                  <a:gd name="T55" fmla="*/ 350 h 704"/>
                  <a:gd name="T56" fmla="*/ 2706 w 4271"/>
                  <a:gd name="T57" fmla="*/ 347 h 704"/>
                  <a:gd name="T58" fmla="*/ 2492 w 4271"/>
                  <a:gd name="T59" fmla="*/ 181 h 704"/>
                  <a:gd name="T60" fmla="*/ 2371 w 4271"/>
                  <a:gd name="T61" fmla="*/ 274 h 704"/>
                  <a:gd name="T62" fmla="*/ 2125 w 4271"/>
                  <a:gd name="T63" fmla="*/ 198 h 704"/>
                  <a:gd name="T64" fmla="*/ 2004 w 4271"/>
                  <a:gd name="T65" fmla="*/ 192 h 704"/>
                  <a:gd name="T66" fmla="*/ 2057 w 4271"/>
                  <a:gd name="T67" fmla="*/ 686 h 704"/>
                  <a:gd name="T68" fmla="*/ 2884 w 4271"/>
                  <a:gd name="T69" fmla="*/ 517 h 704"/>
                  <a:gd name="T70" fmla="*/ 3034 w 4271"/>
                  <a:gd name="T71" fmla="*/ 441 h 704"/>
                  <a:gd name="T72" fmla="*/ 3158 w 4271"/>
                  <a:gd name="T73" fmla="*/ 570 h 704"/>
                  <a:gd name="T74" fmla="*/ 3008 w 4271"/>
                  <a:gd name="T75" fmla="*/ 658 h 704"/>
                  <a:gd name="T76" fmla="*/ 2935 w 4271"/>
                  <a:gd name="T77" fmla="*/ 246 h 704"/>
                  <a:gd name="T78" fmla="*/ 3175 w 4271"/>
                  <a:gd name="T79" fmla="*/ 333 h 704"/>
                  <a:gd name="T80" fmla="*/ 2927 w 4271"/>
                  <a:gd name="T81" fmla="*/ 424 h 704"/>
                  <a:gd name="T82" fmla="*/ 2819 w 4271"/>
                  <a:gd name="T83" fmla="*/ 559 h 704"/>
                  <a:gd name="T84" fmla="*/ 2924 w 4271"/>
                  <a:gd name="T85" fmla="*/ 692 h 704"/>
                  <a:gd name="T86" fmla="*/ 3107 w 4271"/>
                  <a:gd name="T87" fmla="*/ 672 h 704"/>
                  <a:gd name="T88" fmla="*/ 3183 w 4271"/>
                  <a:gd name="T89" fmla="*/ 686 h 704"/>
                  <a:gd name="T90" fmla="*/ 3212 w 4271"/>
                  <a:gd name="T91" fmla="*/ 271 h 704"/>
                  <a:gd name="T92" fmla="*/ 3034 w 4271"/>
                  <a:gd name="T93" fmla="*/ 178 h 704"/>
                  <a:gd name="T94" fmla="*/ 2850 w 4271"/>
                  <a:gd name="T95" fmla="*/ 263 h 704"/>
                  <a:gd name="T96" fmla="*/ 2893 w 4271"/>
                  <a:gd name="T97" fmla="*/ 319 h 704"/>
                  <a:gd name="T98" fmla="*/ 3782 w 4271"/>
                  <a:gd name="T99" fmla="*/ 686 h 704"/>
                  <a:gd name="T100" fmla="*/ 3677 w 4271"/>
                  <a:gd name="T101" fmla="*/ 189 h 704"/>
                  <a:gd name="T102" fmla="*/ 3375 w 4271"/>
                  <a:gd name="T103" fmla="*/ 0 h 704"/>
                  <a:gd name="T104" fmla="*/ 3429 w 4271"/>
                  <a:gd name="T105" fmla="*/ 424 h 704"/>
                  <a:gd name="T106" fmla="*/ 4199 w 4271"/>
                  <a:gd name="T107" fmla="*/ 325 h 704"/>
                  <a:gd name="T108" fmla="*/ 3917 w 4271"/>
                  <a:gd name="T109" fmla="*/ 268 h 704"/>
                  <a:gd name="T110" fmla="*/ 4205 w 4271"/>
                  <a:gd name="T111" fmla="*/ 551 h 704"/>
                  <a:gd name="T112" fmla="*/ 3974 w 4271"/>
                  <a:gd name="T113" fmla="*/ 647 h 704"/>
                  <a:gd name="T114" fmla="*/ 3855 w 4271"/>
                  <a:gd name="T115" fmla="*/ 452 h 704"/>
                  <a:gd name="T116" fmla="*/ 4205 w 4271"/>
                  <a:gd name="T117" fmla="*/ 246 h 704"/>
                  <a:gd name="T118" fmla="*/ 3945 w 4271"/>
                  <a:gd name="T119" fmla="*/ 195 h 704"/>
                  <a:gd name="T120" fmla="*/ 3801 w 4271"/>
                  <a:gd name="T121" fmla="*/ 441 h 704"/>
                  <a:gd name="T122" fmla="*/ 3948 w 4271"/>
                  <a:gd name="T123" fmla="*/ 686 h 704"/>
                  <a:gd name="T124" fmla="*/ 4259 w 4271"/>
                  <a:gd name="T125" fmla="*/ 553 h 7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1" h="704">
                    <a:moveTo>
                      <a:pt x="62" y="0"/>
                    </a:moveTo>
                    <a:lnTo>
                      <a:pt x="302" y="370"/>
                    </a:lnTo>
                    <a:cubicBezTo>
                      <a:pt x="344" y="308"/>
                      <a:pt x="384" y="246"/>
                      <a:pt x="426" y="187"/>
                    </a:cubicBezTo>
                    <a:cubicBezTo>
                      <a:pt x="466" y="124"/>
                      <a:pt x="508" y="65"/>
                      <a:pt x="548" y="3"/>
                    </a:cubicBezTo>
                    <a:lnTo>
                      <a:pt x="604" y="3"/>
                    </a:lnTo>
                    <a:lnTo>
                      <a:pt x="330" y="421"/>
                    </a:lnTo>
                    <a:lnTo>
                      <a:pt x="330" y="689"/>
                    </a:lnTo>
                    <a:lnTo>
                      <a:pt x="274" y="689"/>
                    </a:lnTo>
                    <a:lnTo>
                      <a:pt x="274" y="418"/>
                    </a:lnTo>
                    <a:lnTo>
                      <a:pt x="0" y="0"/>
                    </a:lnTo>
                    <a:lnTo>
                      <a:pt x="62" y="0"/>
                    </a:lnTo>
                    <a:close/>
                    <a:moveTo>
                      <a:pt x="632" y="342"/>
                    </a:moveTo>
                    <a:cubicBezTo>
                      <a:pt x="640" y="314"/>
                      <a:pt x="655" y="291"/>
                      <a:pt x="672" y="271"/>
                    </a:cubicBezTo>
                    <a:cubicBezTo>
                      <a:pt x="689" y="251"/>
                      <a:pt x="708" y="240"/>
                      <a:pt x="728" y="229"/>
                    </a:cubicBezTo>
                    <a:cubicBezTo>
                      <a:pt x="751" y="220"/>
                      <a:pt x="773" y="215"/>
                      <a:pt x="802" y="215"/>
                    </a:cubicBezTo>
                    <a:cubicBezTo>
                      <a:pt x="827" y="215"/>
                      <a:pt x="852" y="220"/>
                      <a:pt x="875" y="229"/>
                    </a:cubicBezTo>
                    <a:cubicBezTo>
                      <a:pt x="897" y="237"/>
                      <a:pt x="917" y="251"/>
                      <a:pt x="931" y="271"/>
                    </a:cubicBezTo>
                    <a:cubicBezTo>
                      <a:pt x="948" y="291"/>
                      <a:pt x="960" y="314"/>
                      <a:pt x="968" y="339"/>
                    </a:cubicBezTo>
                    <a:cubicBezTo>
                      <a:pt x="977" y="367"/>
                      <a:pt x="982" y="398"/>
                      <a:pt x="982" y="435"/>
                    </a:cubicBezTo>
                    <a:cubicBezTo>
                      <a:pt x="982" y="472"/>
                      <a:pt x="976" y="503"/>
                      <a:pt x="968" y="531"/>
                    </a:cubicBezTo>
                    <a:cubicBezTo>
                      <a:pt x="959" y="559"/>
                      <a:pt x="945" y="582"/>
                      <a:pt x="931" y="601"/>
                    </a:cubicBezTo>
                    <a:cubicBezTo>
                      <a:pt x="914" y="621"/>
                      <a:pt x="895" y="632"/>
                      <a:pt x="875" y="644"/>
                    </a:cubicBezTo>
                    <a:cubicBezTo>
                      <a:pt x="852" y="652"/>
                      <a:pt x="830" y="658"/>
                      <a:pt x="802" y="658"/>
                    </a:cubicBezTo>
                    <a:cubicBezTo>
                      <a:pt x="776" y="658"/>
                      <a:pt x="751" y="652"/>
                      <a:pt x="728" y="644"/>
                    </a:cubicBezTo>
                    <a:cubicBezTo>
                      <a:pt x="706" y="635"/>
                      <a:pt x="686" y="621"/>
                      <a:pt x="669" y="601"/>
                    </a:cubicBezTo>
                    <a:cubicBezTo>
                      <a:pt x="652" y="582"/>
                      <a:pt x="641" y="559"/>
                      <a:pt x="629" y="531"/>
                    </a:cubicBezTo>
                    <a:cubicBezTo>
                      <a:pt x="621" y="508"/>
                      <a:pt x="618" y="475"/>
                      <a:pt x="618" y="438"/>
                    </a:cubicBezTo>
                    <a:cubicBezTo>
                      <a:pt x="618" y="402"/>
                      <a:pt x="623" y="370"/>
                      <a:pt x="632" y="342"/>
                    </a:cubicBezTo>
                    <a:close/>
                    <a:moveTo>
                      <a:pt x="581" y="551"/>
                    </a:moveTo>
                    <a:cubicBezTo>
                      <a:pt x="593" y="584"/>
                      <a:pt x="610" y="610"/>
                      <a:pt x="632" y="632"/>
                    </a:cubicBezTo>
                    <a:cubicBezTo>
                      <a:pt x="655" y="655"/>
                      <a:pt x="680" y="672"/>
                      <a:pt x="708" y="683"/>
                    </a:cubicBezTo>
                    <a:cubicBezTo>
                      <a:pt x="737" y="695"/>
                      <a:pt x="768" y="700"/>
                      <a:pt x="802" y="700"/>
                    </a:cubicBezTo>
                    <a:cubicBezTo>
                      <a:pt x="835" y="700"/>
                      <a:pt x="866" y="695"/>
                      <a:pt x="895" y="683"/>
                    </a:cubicBezTo>
                    <a:cubicBezTo>
                      <a:pt x="923" y="672"/>
                      <a:pt x="948" y="655"/>
                      <a:pt x="971" y="632"/>
                    </a:cubicBezTo>
                    <a:cubicBezTo>
                      <a:pt x="991" y="610"/>
                      <a:pt x="1008" y="584"/>
                      <a:pt x="1019" y="551"/>
                    </a:cubicBezTo>
                    <a:cubicBezTo>
                      <a:pt x="1030" y="517"/>
                      <a:pt x="1036" y="481"/>
                      <a:pt x="1036" y="438"/>
                    </a:cubicBezTo>
                    <a:cubicBezTo>
                      <a:pt x="1036" y="396"/>
                      <a:pt x="1030" y="356"/>
                      <a:pt x="1019" y="325"/>
                    </a:cubicBezTo>
                    <a:cubicBezTo>
                      <a:pt x="1008" y="291"/>
                      <a:pt x="991" y="266"/>
                      <a:pt x="968" y="243"/>
                    </a:cubicBezTo>
                    <a:cubicBezTo>
                      <a:pt x="945" y="220"/>
                      <a:pt x="923" y="204"/>
                      <a:pt x="892" y="192"/>
                    </a:cubicBezTo>
                    <a:cubicBezTo>
                      <a:pt x="864" y="181"/>
                      <a:pt x="833" y="175"/>
                      <a:pt x="796" y="175"/>
                    </a:cubicBezTo>
                    <a:cubicBezTo>
                      <a:pt x="762" y="175"/>
                      <a:pt x="731" y="181"/>
                      <a:pt x="703" y="192"/>
                    </a:cubicBezTo>
                    <a:cubicBezTo>
                      <a:pt x="675" y="204"/>
                      <a:pt x="649" y="220"/>
                      <a:pt x="627" y="240"/>
                    </a:cubicBezTo>
                    <a:cubicBezTo>
                      <a:pt x="604" y="263"/>
                      <a:pt x="587" y="288"/>
                      <a:pt x="576" y="322"/>
                    </a:cubicBezTo>
                    <a:cubicBezTo>
                      <a:pt x="567" y="356"/>
                      <a:pt x="562" y="396"/>
                      <a:pt x="562" y="438"/>
                    </a:cubicBezTo>
                    <a:cubicBezTo>
                      <a:pt x="562" y="481"/>
                      <a:pt x="567" y="517"/>
                      <a:pt x="581" y="551"/>
                    </a:cubicBezTo>
                    <a:close/>
                    <a:moveTo>
                      <a:pt x="1157" y="189"/>
                    </a:moveTo>
                    <a:lnTo>
                      <a:pt x="1157" y="525"/>
                    </a:lnTo>
                    <a:cubicBezTo>
                      <a:pt x="1157" y="553"/>
                      <a:pt x="1162" y="579"/>
                      <a:pt x="1171" y="601"/>
                    </a:cubicBezTo>
                    <a:cubicBezTo>
                      <a:pt x="1179" y="624"/>
                      <a:pt x="1194" y="641"/>
                      <a:pt x="1208" y="655"/>
                    </a:cubicBezTo>
                    <a:cubicBezTo>
                      <a:pt x="1225" y="669"/>
                      <a:pt x="1241" y="681"/>
                      <a:pt x="1264" y="689"/>
                    </a:cubicBezTo>
                    <a:cubicBezTo>
                      <a:pt x="1286" y="698"/>
                      <a:pt x="1310" y="700"/>
                      <a:pt x="1335" y="700"/>
                    </a:cubicBezTo>
                    <a:cubicBezTo>
                      <a:pt x="1366" y="700"/>
                      <a:pt x="1400" y="692"/>
                      <a:pt x="1431" y="678"/>
                    </a:cubicBezTo>
                    <a:cubicBezTo>
                      <a:pt x="1462" y="664"/>
                      <a:pt x="1487" y="638"/>
                      <a:pt x="1504" y="607"/>
                    </a:cubicBezTo>
                    <a:lnTo>
                      <a:pt x="1510" y="686"/>
                    </a:lnTo>
                    <a:lnTo>
                      <a:pt x="1555" y="686"/>
                    </a:lnTo>
                    <a:lnTo>
                      <a:pt x="1555" y="189"/>
                    </a:lnTo>
                    <a:lnTo>
                      <a:pt x="1501" y="189"/>
                    </a:lnTo>
                    <a:lnTo>
                      <a:pt x="1501" y="494"/>
                    </a:lnTo>
                    <a:cubicBezTo>
                      <a:pt x="1501" y="517"/>
                      <a:pt x="1499" y="539"/>
                      <a:pt x="1490" y="559"/>
                    </a:cubicBezTo>
                    <a:cubicBezTo>
                      <a:pt x="1482" y="579"/>
                      <a:pt x="1473" y="596"/>
                      <a:pt x="1459" y="610"/>
                    </a:cubicBezTo>
                    <a:cubicBezTo>
                      <a:pt x="1445" y="624"/>
                      <a:pt x="1428" y="635"/>
                      <a:pt x="1411" y="644"/>
                    </a:cubicBezTo>
                    <a:cubicBezTo>
                      <a:pt x="1391" y="652"/>
                      <a:pt x="1372" y="655"/>
                      <a:pt x="1349" y="655"/>
                    </a:cubicBezTo>
                    <a:cubicBezTo>
                      <a:pt x="1307" y="655"/>
                      <a:pt x="1275" y="644"/>
                      <a:pt x="1250" y="621"/>
                    </a:cubicBezTo>
                    <a:cubicBezTo>
                      <a:pt x="1224" y="599"/>
                      <a:pt x="1214" y="568"/>
                      <a:pt x="1214" y="522"/>
                    </a:cubicBezTo>
                    <a:lnTo>
                      <a:pt x="1214" y="187"/>
                    </a:lnTo>
                    <a:lnTo>
                      <a:pt x="1157" y="187"/>
                    </a:lnTo>
                    <a:lnTo>
                      <a:pt x="1157" y="189"/>
                    </a:lnTo>
                    <a:close/>
                    <a:moveTo>
                      <a:pt x="2057" y="686"/>
                    </a:moveTo>
                    <a:lnTo>
                      <a:pt x="2057" y="378"/>
                    </a:lnTo>
                    <a:cubicBezTo>
                      <a:pt x="2057" y="356"/>
                      <a:pt x="2060" y="336"/>
                      <a:pt x="2069" y="316"/>
                    </a:cubicBezTo>
                    <a:cubicBezTo>
                      <a:pt x="2077" y="297"/>
                      <a:pt x="2086" y="281"/>
                      <a:pt x="2100" y="266"/>
                    </a:cubicBezTo>
                    <a:cubicBezTo>
                      <a:pt x="2114" y="252"/>
                      <a:pt x="2128" y="240"/>
                      <a:pt x="2148" y="232"/>
                    </a:cubicBezTo>
                    <a:cubicBezTo>
                      <a:pt x="2165" y="223"/>
                      <a:pt x="2184" y="220"/>
                      <a:pt x="2207" y="220"/>
                    </a:cubicBezTo>
                    <a:cubicBezTo>
                      <a:pt x="2246" y="220"/>
                      <a:pt x="2277" y="232"/>
                      <a:pt x="2297" y="251"/>
                    </a:cubicBezTo>
                    <a:cubicBezTo>
                      <a:pt x="2317" y="271"/>
                      <a:pt x="2328" y="305"/>
                      <a:pt x="2328" y="347"/>
                    </a:cubicBezTo>
                    <a:lnTo>
                      <a:pt x="2328" y="686"/>
                    </a:lnTo>
                    <a:lnTo>
                      <a:pt x="2382" y="686"/>
                    </a:lnTo>
                    <a:lnTo>
                      <a:pt x="2382" y="378"/>
                    </a:lnTo>
                    <a:cubicBezTo>
                      <a:pt x="2382" y="356"/>
                      <a:pt x="2385" y="336"/>
                      <a:pt x="2393" y="316"/>
                    </a:cubicBezTo>
                    <a:cubicBezTo>
                      <a:pt x="2399" y="297"/>
                      <a:pt x="2410" y="281"/>
                      <a:pt x="2424" y="266"/>
                    </a:cubicBezTo>
                    <a:cubicBezTo>
                      <a:pt x="2438" y="252"/>
                      <a:pt x="2452" y="241"/>
                      <a:pt x="2469" y="232"/>
                    </a:cubicBezTo>
                    <a:cubicBezTo>
                      <a:pt x="2486" y="224"/>
                      <a:pt x="2506" y="220"/>
                      <a:pt x="2529" y="220"/>
                    </a:cubicBezTo>
                    <a:cubicBezTo>
                      <a:pt x="2568" y="220"/>
                      <a:pt x="2599" y="232"/>
                      <a:pt x="2622" y="251"/>
                    </a:cubicBezTo>
                    <a:cubicBezTo>
                      <a:pt x="2644" y="271"/>
                      <a:pt x="2653" y="305"/>
                      <a:pt x="2653" y="350"/>
                    </a:cubicBezTo>
                    <a:lnTo>
                      <a:pt x="2653" y="689"/>
                    </a:lnTo>
                    <a:lnTo>
                      <a:pt x="2706" y="689"/>
                    </a:lnTo>
                    <a:lnTo>
                      <a:pt x="2706" y="347"/>
                    </a:lnTo>
                    <a:cubicBezTo>
                      <a:pt x="2706" y="294"/>
                      <a:pt x="2692" y="251"/>
                      <a:pt x="2661" y="220"/>
                    </a:cubicBezTo>
                    <a:cubicBezTo>
                      <a:pt x="2630" y="192"/>
                      <a:pt x="2591" y="175"/>
                      <a:pt x="2540" y="175"/>
                    </a:cubicBezTo>
                    <a:cubicBezTo>
                      <a:pt x="2523" y="175"/>
                      <a:pt x="2509" y="178"/>
                      <a:pt x="2492" y="181"/>
                    </a:cubicBezTo>
                    <a:cubicBezTo>
                      <a:pt x="2475" y="184"/>
                      <a:pt x="2461" y="189"/>
                      <a:pt x="2444" y="198"/>
                    </a:cubicBezTo>
                    <a:cubicBezTo>
                      <a:pt x="2430" y="206"/>
                      <a:pt x="2416" y="215"/>
                      <a:pt x="2402" y="229"/>
                    </a:cubicBezTo>
                    <a:cubicBezTo>
                      <a:pt x="2388" y="240"/>
                      <a:pt x="2379" y="257"/>
                      <a:pt x="2371" y="274"/>
                    </a:cubicBezTo>
                    <a:cubicBezTo>
                      <a:pt x="2359" y="240"/>
                      <a:pt x="2339" y="218"/>
                      <a:pt x="2314" y="201"/>
                    </a:cubicBezTo>
                    <a:cubicBezTo>
                      <a:pt x="2288" y="184"/>
                      <a:pt x="2255" y="175"/>
                      <a:pt x="2215" y="175"/>
                    </a:cubicBezTo>
                    <a:cubicBezTo>
                      <a:pt x="2184" y="175"/>
                      <a:pt x="2156" y="184"/>
                      <a:pt x="2125" y="198"/>
                    </a:cubicBezTo>
                    <a:cubicBezTo>
                      <a:pt x="2097" y="212"/>
                      <a:pt x="2071" y="235"/>
                      <a:pt x="2055" y="268"/>
                    </a:cubicBezTo>
                    <a:lnTo>
                      <a:pt x="2049" y="192"/>
                    </a:lnTo>
                    <a:lnTo>
                      <a:pt x="2004" y="192"/>
                    </a:lnTo>
                    <a:lnTo>
                      <a:pt x="2004" y="689"/>
                    </a:lnTo>
                    <a:lnTo>
                      <a:pt x="2057" y="689"/>
                    </a:lnTo>
                    <a:lnTo>
                      <a:pt x="2057" y="686"/>
                    </a:lnTo>
                    <a:close/>
                    <a:moveTo>
                      <a:pt x="2912" y="632"/>
                    </a:moveTo>
                    <a:cubicBezTo>
                      <a:pt x="2887" y="616"/>
                      <a:pt x="2876" y="590"/>
                      <a:pt x="2876" y="556"/>
                    </a:cubicBezTo>
                    <a:cubicBezTo>
                      <a:pt x="2876" y="542"/>
                      <a:pt x="2878" y="529"/>
                      <a:pt x="2884" y="517"/>
                    </a:cubicBezTo>
                    <a:cubicBezTo>
                      <a:pt x="2889" y="506"/>
                      <a:pt x="2898" y="495"/>
                      <a:pt x="2910" y="486"/>
                    </a:cubicBezTo>
                    <a:cubicBezTo>
                      <a:pt x="2921" y="478"/>
                      <a:pt x="2938" y="469"/>
                      <a:pt x="2958" y="460"/>
                    </a:cubicBezTo>
                    <a:cubicBezTo>
                      <a:pt x="2977" y="452"/>
                      <a:pt x="3003" y="446"/>
                      <a:pt x="3034" y="441"/>
                    </a:cubicBezTo>
                    <a:lnTo>
                      <a:pt x="3172" y="418"/>
                    </a:lnTo>
                    <a:lnTo>
                      <a:pt x="3172" y="511"/>
                    </a:lnTo>
                    <a:cubicBezTo>
                      <a:pt x="3172" y="534"/>
                      <a:pt x="3166" y="553"/>
                      <a:pt x="3158" y="570"/>
                    </a:cubicBezTo>
                    <a:cubicBezTo>
                      <a:pt x="3149" y="587"/>
                      <a:pt x="3135" y="604"/>
                      <a:pt x="3118" y="616"/>
                    </a:cubicBezTo>
                    <a:cubicBezTo>
                      <a:pt x="3102" y="630"/>
                      <a:pt x="3085" y="638"/>
                      <a:pt x="3065" y="647"/>
                    </a:cubicBezTo>
                    <a:cubicBezTo>
                      <a:pt x="3048" y="655"/>
                      <a:pt x="3028" y="658"/>
                      <a:pt x="3008" y="658"/>
                    </a:cubicBezTo>
                    <a:cubicBezTo>
                      <a:pt x="2969" y="658"/>
                      <a:pt x="2938" y="649"/>
                      <a:pt x="2912" y="632"/>
                    </a:cubicBezTo>
                    <a:close/>
                    <a:moveTo>
                      <a:pt x="2893" y="319"/>
                    </a:moveTo>
                    <a:cubicBezTo>
                      <a:pt x="2895" y="288"/>
                      <a:pt x="2910" y="263"/>
                      <a:pt x="2935" y="246"/>
                    </a:cubicBezTo>
                    <a:cubicBezTo>
                      <a:pt x="2960" y="226"/>
                      <a:pt x="2994" y="218"/>
                      <a:pt x="3034" y="218"/>
                    </a:cubicBezTo>
                    <a:cubicBezTo>
                      <a:pt x="3079" y="218"/>
                      <a:pt x="3113" y="229"/>
                      <a:pt x="3138" y="249"/>
                    </a:cubicBezTo>
                    <a:cubicBezTo>
                      <a:pt x="3164" y="268"/>
                      <a:pt x="3175" y="297"/>
                      <a:pt x="3175" y="333"/>
                    </a:cubicBezTo>
                    <a:lnTo>
                      <a:pt x="3175" y="376"/>
                    </a:lnTo>
                    <a:lnTo>
                      <a:pt x="3020" y="401"/>
                    </a:lnTo>
                    <a:cubicBezTo>
                      <a:pt x="2983" y="407"/>
                      <a:pt x="2952" y="415"/>
                      <a:pt x="2927" y="424"/>
                    </a:cubicBezTo>
                    <a:cubicBezTo>
                      <a:pt x="2901" y="432"/>
                      <a:pt x="2881" y="443"/>
                      <a:pt x="2864" y="458"/>
                    </a:cubicBezTo>
                    <a:cubicBezTo>
                      <a:pt x="2848" y="472"/>
                      <a:pt x="2836" y="486"/>
                      <a:pt x="2831" y="503"/>
                    </a:cubicBezTo>
                    <a:cubicBezTo>
                      <a:pt x="2825" y="520"/>
                      <a:pt x="2819" y="539"/>
                      <a:pt x="2819" y="559"/>
                    </a:cubicBezTo>
                    <a:cubicBezTo>
                      <a:pt x="2819" y="582"/>
                      <a:pt x="2824" y="601"/>
                      <a:pt x="2833" y="618"/>
                    </a:cubicBezTo>
                    <a:cubicBezTo>
                      <a:pt x="2841" y="635"/>
                      <a:pt x="2853" y="649"/>
                      <a:pt x="2870" y="664"/>
                    </a:cubicBezTo>
                    <a:cubicBezTo>
                      <a:pt x="2884" y="675"/>
                      <a:pt x="2904" y="687"/>
                      <a:pt x="2924" y="692"/>
                    </a:cubicBezTo>
                    <a:cubicBezTo>
                      <a:pt x="2943" y="698"/>
                      <a:pt x="2969" y="700"/>
                      <a:pt x="2994" y="700"/>
                    </a:cubicBezTo>
                    <a:cubicBezTo>
                      <a:pt x="3017" y="700"/>
                      <a:pt x="3039" y="697"/>
                      <a:pt x="3056" y="692"/>
                    </a:cubicBezTo>
                    <a:cubicBezTo>
                      <a:pt x="3076" y="686"/>
                      <a:pt x="3093" y="680"/>
                      <a:pt x="3107" y="672"/>
                    </a:cubicBezTo>
                    <a:cubicBezTo>
                      <a:pt x="3121" y="664"/>
                      <a:pt x="3135" y="652"/>
                      <a:pt x="3147" y="641"/>
                    </a:cubicBezTo>
                    <a:cubicBezTo>
                      <a:pt x="3158" y="630"/>
                      <a:pt x="3166" y="618"/>
                      <a:pt x="3175" y="604"/>
                    </a:cubicBezTo>
                    <a:lnTo>
                      <a:pt x="3183" y="686"/>
                    </a:lnTo>
                    <a:lnTo>
                      <a:pt x="3226" y="686"/>
                    </a:lnTo>
                    <a:lnTo>
                      <a:pt x="3226" y="339"/>
                    </a:lnTo>
                    <a:cubicBezTo>
                      <a:pt x="3226" y="314"/>
                      <a:pt x="3220" y="291"/>
                      <a:pt x="3212" y="271"/>
                    </a:cubicBezTo>
                    <a:cubicBezTo>
                      <a:pt x="3203" y="251"/>
                      <a:pt x="3189" y="235"/>
                      <a:pt x="3172" y="220"/>
                    </a:cubicBezTo>
                    <a:cubicBezTo>
                      <a:pt x="3155" y="206"/>
                      <a:pt x="3135" y="195"/>
                      <a:pt x="3113" y="189"/>
                    </a:cubicBezTo>
                    <a:cubicBezTo>
                      <a:pt x="3090" y="181"/>
                      <a:pt x="3062" y="178"/>
                      <a:pt x="3034" y="178"/>
                    </a:cubicBezTo>
                    <a:cubicBezTo>
                      <a:pt x="3006" y="178"/>
                      <a:pt x="2980" y="181"/>
                      <a:pt x="2955" y="189"/>
                    </a:cubicBezTo>
                    <a:cubicBezTo>
                      <a:pt x="2932" y="195"/>
                      <a:pt x="2910" y="206"/>
                      <a:pt x="2893" y="218"/>
                    </a:cubicBezTo>
                    <a:cubicBezTo>
                      <a:pt x="2876" y="229"/>
                      <a:pt x="2861" y="246"/>
                      <a:pt x="2850" y="263"/>
                    </a:cubicBezTo>
                    <a:cubicBezTo>
                      <a:pt x="2838" y="280"/>
                      <a:pt x="2833" y="299"/>
                      <a:pt x="2831" y="322"/>
                    </a:cubicBezTo>
                    <a:lnTo>
                      <a:pt x="2893" y="322"/>
                    </a:lnTo>
                    <a:lnTo>
                      <a:pt x="2893" y="319"/>
                    </a:lnTo>
                    <a:close/>
                    <a:moveTo>
                      <a:pt x="3429" y="424"/>
                    </a:moveTo>
                    <a:lnTo>
                      <a:pt x="3708" y="686"/>
                    </a:lnTo>
                    <a:lnTo>
                      <a:pt x="3782" y="686"/>
                    </a:lnTo>
                    <a:lnTo>
                      <a:pt x="3482" y="407"/>
                    </a:lnTo>
                    <a:lnTo>
                      <a:pt x="3748" y="189"/>
                    </a:lnTo>
                    <a:lnTo>
                      <a:pt x="3677" y="189"/>
                    </a:lnTo>
                    <a:lnTo>
                      <a:pt x="3429" y="393"/>
                    </a:lnTo>
                    <a:lnTo>
                      <a:pt x="3429" y="0"/>
                    </a:lnTo>
                    <a:lnTo>
                      <a:pt x="3375" y="0"/>
                    </a:lnTo>
                    <a:lnTo>
                      <a:pt x="3375" y="686"/>
                    </a:lnTo>
                    <a:lnTo>
                      <a:pt x="3429" y="686"/>
                    </a:lnTo>
                    <a:lnTo>
                      <a:pt x="3429" y="424"/>
                    </a:lnTo>
                    <a:close/>
                    <a:moveTo>
                      <a:pt x="4103" y="229"/>
                    </a:moveTo>
                    <a:cubicBezTo>
                      <a:pt x="4123" y="237"/>
                      <a:pt x="4143" y="249"/>
                      <a:pt x="4160" y="266"/>
                    </a:cubicBezTo>
                    <a:cubicBezTo>
                      <a:pt x="4177" y="283"/>
                      <a:pt x="4188" y="299"/>
                      <a:pt x="4199" y="325"/>
                    </a:cubicBezTo>
                    <a:cubicBezTo>
                      <a:pt x="4208" y="347"/>
                      <a:pt x="4213" y="376"/>
                      <a:pt x="4216" y="410"/>
                    </a:cubicBezTo>
                    <a:lnTo>
                      <a:pt x="3858" y="410"/>
                    </a:lnTo>
                    <a:cubicBezTo>
                      <a:pt x="3863" y="347"/>
                      <a:pt x="3883" y="299"/>
                      <a:pt x="3917" y="268"/>
                    </a:cubicBezTo>
                    <a:cubicBezTo>
                      <a:pt x="3948" y="235"/>
                      <a:pt x="3988" y="218"/>
                      <a:pt x="4036" y="218"/>
                    </a:cubicBezTo>
                    <a:cubicBezTo>
                      <a:pt x="4058" y="218"/>
                      <a:pt x="4081" y="220"/>
                      <a:pt x="4103" y="229"/>
                    </a:cubicBezTo>
                    <a:close/>
                    <a:moveTo>
                      <a:pt x="4205" y="551"/>
                    </a:moveTo>
                    <a:cubicBezTo>
                      <a:pt x="4194" y="584"/>
                      <a:pt x="4176" y="611"/>
                      <a:pt x="4148" y="630"/>
                    </a:cubicBezTo>
                    <a:cubicBezTo>
                      <a:pt x="4119" y="650"/>
                      <a:pt x="4086" y="658"/>
                      <a:pt x="4047" y="658"/>
                    </a:cubicBezTo>
                    <a:cubicBezTo>
                      <a:pt x="4021" y="658"/>
                      <a:pt x="3996" y="655"/>
                      <a:pt x="3974" y="647"/>
                    </a:cubicBezTo>
                    <a:cubicBezTo>
                      <a:pt x="3951" y="638"/>
                      <a:pt x="3931" y="627"/>
                      <a:pt x="3914" y="610"/>
                    </a:cubicBezTo>
                    <a:cubicBezTo>
                      <a:pt x="3897" y="593"/>
                      <a:pt x="3883" y="570"/>
                      <a:pt x="3872" y="545"/>
                    </a:cubicBezTo>
                    <a:cubicBezTo>
                      <a:pt x="3861" y="520"/>
                      <a:pt x="3855" y="489"/>
                      <a:pt x="3855" y="452"/>
                    </a:cubicBezTo>
                    <a:lnTo>
                      <a:pt x="4270" y="452"/>
                    </a:lnTo>
                    <a:cubicBezTo>
                      <a:pt x="4270" y="404"/>
                      <a:pt x="4264" y="364"/>
                      <a:pt x="4253" y="331"/>
                    </a:cubicBezTo>
                    <a:cubicBezTo>
                      <a:pt x="4242" y="297"/>
                      <a:pt x="4225" y="269"/>
                      <a:pt x="4205" y="246"/>
                    </a:cubicBezTo>
                    <a:cubicBezTo>
                      <a:pt x="4185" y="224"/>
                      <a:pt x="4160" y="206"/>
                      <a:pt x="4132" y="195"/>
                    </a:cubicBezTo>
                    <a:cubicBezTo>
                      <a:pt x="4103" y="184"/>
                      <a:pt x="4071" y="178"/>
                      <a:pt x="4038" y="178"/>
                    </a:cubicBezTo>
                    <a:cubicBezTo>
                      <a:pt x="4004" y="178"/>
                      <a:pt x="3974" y="184"/>
                      <a:pt x="3945" y="195"/>
                    </a:cubicBezTo>
                    <a:cubicBezTo>
                      <a:pt x="3917" y="206"/>
                      <a:pt x="3891" y="224"/>
                      <a:pt x="3869" y="246"/>
                    </a:cubicBezTo>
                    <a:cubicBezTo>
                      <a:pt x="3846" y="269"/>
                      <a:pt x="3832" y="297"/>
                      <a:pt x="3818" y="328"/>
                    </a:cubicBezTo>
                    <a:cubicBezTo>
                      <a:pt x="3807" y="359"/>
                      <a:pt x="3801" y="399"/>
                      <a:pt x="3801" y="441"/>
                    </a:cubicBezTo>
                    <a:cubicBezTo>
                      <a:pt x="3801" y="484"/>
                      <a:pt x="3807" y="520"/>
                      <a:pt x="3821" y="553"/>
                    </a:cubicBezTo>
                    <a:cubicBezTo>
                      <a:pt x="3832" y="584"/>
                      <a:pt x="3852" y="613"/>
                      <a:pt x="3872" y="635"/>
                    </a:cubicBezTo>
                    <a:cubicBezTo>
                      <a:pt x="3895" y="658"/>
                      <a:pt x="3920" y="675"/>
                      <a:pt x="3948" y="686"/>
                    </a:cubicBezTo>
                    <a:cubicBezTo>
                      <a:pt x="3979" y="697"/>
                      <a:pt x="4010" y="703"/>
                      <a:pt x="4044" y="703"/>
                    </a:cubicBezTo>
                    <a:cubicBezTo>
                      <a:pt x="4101" y="703"/>
                      <a:pt x="4146" y="689"/>
                      <a:pt x="4182" y="664"/>
                    </a:cubicBezTo>
                    <a:cubicBezTo>
                      <a:pt x="4219" y="635"/>
                      <a:pt x="4244" y="601"/>
                      <a:pt x="4259" y="553"/>
                    </a:cubicBezTo>
                    <a:lnTo>
                      <a:pt x="4205" y="553"/>
                    </a:lnTo>
                    <a:lnTo>
                      <a:pt x="4205" y="551"/>
                    </a:lnTo>
                    <a:close/>
                  </a:path>
                </a:pathLst>
              </a:custGeom>
              <a:solidFill>
                <a:schemeClr val="bg2"/>
              </a:solidFill>
              <a:ln w="9525" cap="flat">
                <a:noFill/>
                <a:bevel/>
                <a:headEnd/>
                <a:tailEnd/>
              </a:ln>
              <a:effectLst/>
            </p:spPr>
            <p:txBody>
              <a:bodyPr wrap="none" anchor="ctr"/>
              <a:lstStyle/>
              <a:p>
                <a:endParaRPr lang="en-US"/>
              </a:p>
            </p:txBody>
          </p:sp>
          <p:sp>
            <p:nvSpPr>
              <p:cNvPr id="17" name="Freeform 2">
                <a:extLst>
                  <a:ext uri="{FF2B5EF4-FFF2-40B4-BE49-F238E27FC236}">
                    <a16:creationId xmlns:a16="http://schemas.microsoft.com/office/drawing/2014/main" id="{529F4E14-597B-5543-977B-8C355068589A}"/>
                  </a:ext>
                </a:extLst>
              </p:cNvPr>
              <p:cNvSpPr>
                <a:spLocks noChangeArrowheads="1"/>
              </p:cNvSpPr>
              <p:nvPr/>
            </p:nvSpPr>
            <p:spPr bwMode="auto">
              <a:xfrm>
                <a:off x="5184779" y="4343400"/>
                <a:ext cx="1446213" cy="309563"/>
              </a:xfrm>
              <a:custGeom>
                <a:avLst/>
                <a:gdLst>
                  <a:gd name="T0" fmla="*/ 150 w 4017"/>
                  <a:gd name="T1" fmla="*/ 435 h 859"/>
                  <a:gd name="T2" fmla="*/ 266 w 4017"/>
                  <a:gd name="T3" fmla="*/ 593 h 859"/>
                  <a:gd name="T4" fmla="*/ 218 w 4017"/>
                  <a:gd name="T5" fmla="*/ 686 h 859"/>
                  <a:gd name="T6" fmla="*/ 0 w 4017"/>
                  <a:gd name="T7" fmla="*/ 189 h 859"/>
                  <a:gd name="T8" fmla="*/ 314 w 4017"/>
                  <a:gd name="T9" fmla="*/ 175 h 859"/>
                  <a:gd name="T10" fmla="*/ 545 w 4017"/>
                  <a:gd name="T11" fmla="*/ 429 h 859"/>
                  <a:gd name="T12" fmla="*/ 297 w 4017"/>
                  <a:gd name="T13" fmla="*/ 700 h 859"/>
                  <a:gd name="T14" fmla="*/ 971 w 4017"/>
                  <a:gd name="T15" fmla="*/ 565 h 859"/>
                  <a:gd name="T16" fmla="*/ 932 w 4017"/>
                  <a:gd name="T17" fmla="*/ 288 h 859"/>
                  <a:gd name="T18" fmla="*/ 802 w 4017"/>
                  <a:gd name="T19" fmla="*/ 565 h 859"/>
                  <a:gd name="T20" fmla="*/ 1155 w 4017"/>
                  <a:gd name="T21" fmla="*/ 438 h 859"/>
                  <a:gd name="T22" fmla="*/ 610 w 4017"/>
                  <a:gd name="T23" fmla="*/ 438 h 859"/>
                  <a:gd name="T24" fmla="*/ 1544 w 4017"/>
                  <a:gd name="T25" fmla="*/ 537 h 859"/>
                  <a:gd name="T26" fmla="*/ 1358 w 4017"/>
                  <a:gd name="T27" fmla="*/ 477 h 859"/>
                  <a:gd name="T28" fmla="*/ 1299 w 4017"/>
                  <a:gd name="T29" fmla="*/ 223 h 859"/>
                  <a:gd name="T30" fmla="*/ 1553 w 4017"/>
                  <a:gd name="T31" fmla="*/ 333 h 859"/>
                  <a:gd name="T32" fmla="*/ 1397 w 4017"/>
                  <a:gd name="T33" fmla="*/ 325 h 859"/>
                  <a:gd name="T34" fmla="*/ 1507 w 4017"/>
                  <a:gd name="T35" fmla="*/ 384 h 859"/>
                  <a:gd name="T36" fmla="*/ 1713 w 4017"/>
                  <a:gd name="T37" fmla="*/ 542 h 859"/>
                  <a:gd name="T38" fmla="*/ 1471 w 4017"/>
                  <a:gd name="T39" fmla="*/ 709 h 859"/>
                  <a:gd name="T40" fmla="*/ 1409 w 4017"/>
                  <a:gd name="T41" fmla="*/ 593 h 859"/>
                  <a:gd name="T42" fmla="*/ 2094 w 4017"/>
                  <a:gd name="T43" fmla="*/ 556 h 859"/>
                  <a:gd name="T44" fmla="*/ 1973 w 4017"/>
                  <a:gd name="T45" fmla="*/ 497 h 859"/>
                  <a:gd name="T46" fmla="*/ 1787 w 4017"/>
                  <a:gd name="T47" fmla="*/ 336 h 859"/>
                  <a:gd name="T48" fmla="*/ 2252 w 4017"/>
                  <a:gd name="T49" fmla="*/ 333 h 859"/>
                  <a:gd name="T50" fmla="*/ 1959 w 4017"/>
                  <a:gd name="T51" fmla="*/ 294 h 859"/>
                  <a:gd name="T52" fmla="*/ 1998 w 4017"/>
                  <a:gd name="T53" fmla="*/ 370 h 859"/>
                  <a:gd name="T54" fmla="*/ 2235 w 4017"/>
                  <a:gd name="T55" fmla="*/ 474 h 859"/>
                  <a:gd name="T56" fmla="*/ 2120 w 4017"/>
                  <a:gd name="T57" fmla="*/ 697 h 859"/>
                  <a:gd name="T58" fmla="*/ 1922 w 4017"/>
                  <a:gd name="T59" fmla="*/ 553 h 859"/>
                  <a:gd name="T60" fmla="*/ 2340 w 4017"/>
                  <a:gd name="T61" fmla="*/ 189 h 859"/>
                  <a:gd name="T62" fmla="*/ 2340 w 4017"/>
                  <a:gd name="T63" fmla="*/ 189 h 859"/>
                  <a:gd name="T64" fmla="*/ 2334 w 4017"/>
                  <a:gd name="T65" fmla="*/ 127 h 859"/>
                  <a:gd name="T66" fmla="*/ 2786 w 4017"/>
                  <a:gd name="T67" fmla="*/ 322 h 859"/>
                  <a:gd name="T68" fmla="*/ 2822 w 4017"/>
                  <a:gd name="T69" fmla="*/ 584 h 859"/>
                  <a:gd name="T70" fmla="*/ 2958 w 4017"/>
                  <a:gd name="T71" fmla="*/ 319 h 859"/>
                  <a:gd name="T72" fmla="*/ 2828 w 4017"/>
                  <a:gd name="T73" fmla="*/ 192 h 859"/>
                  <a:gd name="T74" fmla="*/ 3133 w 4017"/>
                  <a:gd name="T75" fmla="*/ 311 h 859"/>
                  <a:gd name="T76" fmla="*/ 3003 w 4017"/>
                  <a:gd name="T77" fmla="*/ 680 h 859"/>
                  <a:gd name="T78" fmla="*/ 2732 w 4017"/>
                  <a:gd name="T79" fmla="*/ 683 h 859"/>
                  <a:gd name="T80" fmla="*/ 3234 w 4017"/>
                  <a:gd name="T81" fmla="*/ 686 h 859"/>
                  <a:gd name="T82" fmla="*/ 3669 w 4017"/>
                  <a:gd name="T83" fmla="*/ 299 h 859"/>
                  <a:gd name="T84" fmla="*/ 3742 w 4017"/>
                  <a:gd name="T85" fmla="*/ 271 h 859"/>
                  <a:gd name="T86" fmla="*/ 4008 w 4017"/>
                  <a:gd name="T87" fmla="*/ 545 h 859"/>
                  <a:gd name="T88" fmla="*/ 3852 w 4017"/>
                  <a:gd name="T89" fmla="*/ 689 h 859"/>
                  <a:gd name="T90" fmla="*/ 3500 w 4017"/>
                  <a:gd name="T91" fmla="*/ 551 h 859"/>
                  <a:gd name="T92" fmla="*/ 3638 w 4017"/>
                  <a:gd name="T93" fmla="*/ 195 h 859"/>
                  <a:gd name="T94" fmla="*/ 3996 w 4017"/>
                  <a:gd name="T95" fmla="*/ 345 h 859"/>
                  <a:gd name="T96" fmla="*/ 3762 w 4017"/>
                  <a:gd name="T97" fmla="*/ 599 h 859"/>
                  <a:gd name="T98" fmla="*/ 3979 w 4017"/>
                  <a:gd name="T99" fmla="*/ 60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17" h="859">
                    <a:moveTo>
                      <a:pt x="356" y="319"/>
                    </a:moveTo>
                    <a:cubicBezTo>
                      <a:pt x="336" y="297"/>
                      <a:pt x="308" y="285"/>
                      <a:pt x="271" y="285"/>
                    </a:cubicBezTo>
                    <a:cubicBezTo>
                      <a:pt x="237" y="285"/>
                      <a:pt x="206" y="297"/>
                      <a:pt x="184" y="322"/>
                    </a:cubicBezTo>
                    <a:cubicBezTo>
                      <a:pt x="161" y="347"/>
                      <a:pt x="150" y="384"/>
                      <a:pt x="150" y="435"/>
                    </a:cubicBezTo>
                    <a:cubicBezTo>
                      <a:pt x="150" y="466"/>
                      <a:pt x="153" y="491"/>
                      <a:pt x="158" y="511"/>
                    </a:cubicBezTo>
                    <a:cubicBezTo>
                      <a:pt x="164" y="531"/>
                      <a:pt x="173" y="548"/>
                      <a:pt x="184" y="559"/>
                    </a:cubicBezTo>
                    <a:cubicBezTo>
                      <a:pt x="195" y="570"/>
                      <a:pt x="206" y="582"/>
                      <a:pt x="221" y="584"/>
                    </a:cubicBezTo>
                    <a:cubicBezTo>
                      <a:pt x="235" y="590"/>
                      <a:pt x="249" y="593"/>
                      <a:pt x="266" y="593"/>
                    </a:cubicBezTo>
                    <a:cubicBezTo>
                      <a:pt x="300" y="593"/>
                      <a:pt x="331" y="579"/>
                      <a:pt x="353" y="553"/>
                    </a:cubicBezTo>
                    <a:cubicBezTo>
                      <a:pt x="376" y="528"/>
                      <a:pt x="387" y="489"/>
                      <a:pt x="387" y="435"/>
                    </a:cubicBezTo>
                    <a:cubicBezTo>
                      <a:pt x="387" y="381"/>
                      <a:pt x="376" y="342"/>
                      <a:pt x="356" y="319"/>
                    </a:cubicBezTo>
                    <a:close/>
                    <a:moveTo>
                      <a:pt x="218" y="686"/>
                    </a:moveTo>
                    <a:cubicBezTo>
                      <a:pt x="192" y="675"/>
                      <a:pt x="173" y="661"/>
                      <a:pt x="156" y="644"/>
                    </a:cubicBezTo>
                    <a:lnTo>
                      <a:pt x="156" y="858"/>
                    </a:lnTo>
                    <a:lnTo>
                      <a:pt x="0" y="858"/>
                    </a:lnTo>
                    <a:lnTo>
                      <a:pt x="0" y="189"/>
                    </a:lnTo>
                    <a:lnTo>
                      <a:pt x="119" y="189"/>
                    </a:lnTo>
                    <a:lnTo>
                      <a:pt x="150" y="246"/>
                    </a:lnTo>
                    <a:cubicBezTo>
                      <a:pt x="170" y="226"/>
                      <a:pt x="192" y="209"/>
                      <a:pt x="218" y="195"/>
                    </a:cubicBezTo>
                    <a:cubicBezTo>
                      <a:pt x="246" y="181"/>
                      <a:pt x="277" y="175"/>
                      <a:pt x="314" y="175"/>
                    </a:cubicBezTo>
                    <a:cubicBezTo>
                      <a:pt x="348" y="175"/>
                      <a:pt x="379" y="181"/>
                      <a:pt x="407" y="192"/>
                    </a:cubicBezTo>
                    <a:cubicBezTo>
                      <a:pt x="435" y="204"/>
                      <a:pt x="460" y="220"/>
                      <a:pt x="480" y="240"/>
                    </a:cubicBezTo>
                    <a:cubicBezTo>
                      <a:pt x="500" y="263"/>
                      <a:pt x="517" y="288"/>
                      <a:pt x="528" y="319"/>
                    </a:cubicBezTo>
                    <a:cubicBezTo>
                      <a:pt x="539" y="350"/>
                      <a:pt x="545" y="387"/>
                      <a:pt x="545" y="429"/>
                    </a:cubicBezTo>
                    <a:cubicBezTo>
                      <a:pt x="545" y="472"/>
                      <a:pt x="539" y="511"/>
                      <a:pt x="525" y="542"/>
                    </a:cubicBezTo>
                    <a:cubicBezTo>
                      <a:pt x="514" y="576"/>
                      <a:pt x="494" y="604"/>
                      <a:pt x="474" y="627"/>
                    </a:cubicBezTo>
                    <a:cubicBezTo>
                      <a:pt x="452" y="649"/>
                      <a:pt x="427" y="666"/>
                      <a:pt x="398" y="680"/>
                    </a:cubicBezTo>
                    <a:cubicBezTo>
                      <a:pt x="370" y="695"/>
                      <a:pt x="331" y="700"/>
                      <a:pt x="297" y="700"/>
                    </a:cubicBezTo>
                    <a:cubicBezTo>
                      <a:pt x="268" y="700"/>
                      <a:pt x="243" y="695"/>
                      <a:pt x="218" y="686"/>
                    </a:cubicBezTo>
                    <a:close/>
                    <a:moveTo>
                      <a:pt x="802" y="565"/>
                    </a:moveTo>
                    <a:cubicBezTo>
                      <a:pt x="822" y="590"/>
                      <a:pt x="851" y="601"/>
                      <a:pt x="887" y="601"/>
                    </a:cubicBezTo>
                    <a:cubicBezTo>
                      <a:pt x="924" y="601"/>
                      <a:pt x="951" y="590"/>
                      <a:pt x="971" y="565"/>
                    </a:cubicBezTo>
                    <a:cubicBezTo>
                      <a:pt x="991" y="539"/>
                      <a:pt x="999" y="497"/>
                      <a:pt x="999" y="438"/>
                    </a:cubicBezTo>
                    <a:cubicBezTo>
                      <a:pt x="999" y="407"/>
                      <a:pt x="997" y="382"/>
                      <a:pt x="991" y="362"/>
                    </a:cubicBezTo>
                    <a:cubicBezTo>
                      <a:pt x="985" y="343"/>
                      <a:pt x="980" y="325"/>
                      <a:pt x="968" y="314"/>
                    </a:cubicBezTo>
                    <a:cubicBezTo>
                      <a:pt x="960" y="302"/>
                      <a:pt x="946" y="291"/>
                      <a:pt x="932" y="288"/>
                    </a:cubicBezTo>
                    <a:cubicBezTo>
                      <a:pt x="918" y="283"/>
                      <a:pt x="901" y="280"/>
                      <a:pt x="884" y="280"/>
                    </a:cubicBezTo>
                    <a:cubicBezTo>
                      <a:pt x="844" y="280"/>
                      <a:pt x="816" y="291"/>
                      <a:pt x="799" y="316"/>
                    </a:cubicBezTo>
                    <a:cubicBezTo>
                      <a:pt x="779" y="336"/>
                      <a:pt x="771" y="378"/>
                      <a:pt x="771" y="438"/>
                    </a:cubicBezTo>
                    <a:cubicBezTo>
                      <a:pt x="771" y="497"/>
                      <a:pt x="782" y="539"/>
                      <a:pt x="802" y="565"/>
                    </a:cubicBezTo>
                    <a:close/>
                    <a:moveTo>
                      <a:pt x="681" y="243"/>
                    </a:moveTo>
                    <a:cubicBezTo>
                      <a:pt x="728" y="198"/>
                      <a:pt x="796" y="178"/>
                      <a:pt x="884" y="178"/>
                    </a:cubicBezTo>
                    <a:cubicBezTo>
                      <a:pt x="971" y="178"/>
                      <a:pt x="1039" y="201"/>
                      <a:pt x="1084" y="243"/>
                    </a:cubicBezTo>
                    <a:cubicBezTo>
                      <a:pt x="1132" y="288"/>
                      <a:pt x="1155" y="353"/>
                      <a:pt x="1155" y="438"/>
                    </a:cubicBezTo>
                    <a:cubicBezTo>
                      <a:pt x="1155" y="525"/>
                      <a:pt x="1132" y="590"/>
                      <a:pt x="1084" y="635"/>
                    </a:cubicBezTo>
                    <a:cubicBezTo>
                      <a:pt x="1036" y="680"/>
                      <a:pt x="968" y="703"/>
                      <a:pt x="881" y="703"/>
                    </a:cubicBezTo>
                    <a:cubicBezTo>
                      <a:pt x="796" y="703"/>
                      <a:pt x="728" y="680"/>
                      <a:pt x="681" y="635"/>
                    </a:cubicBezTo>
                    <a:cubicBezTo>
                      <a:pt x="635" y="590"/>
                      <a:pt x="610" y="523"/>
                      <a:pt x="610" y="438"/>
                    </a:cubicBezTo>
                    <a:cubicBezTo>
                      <a:pt x="610" y="354"/>
                      <a:pt x="633" y="288"/>
                      <a:pt x="681" y="243"/>
                    </a:cubicBezTo>
                    <a:close/>
                    <a:moveTo>
                      <a:pt x="1530" y="590"/>
                    </a:moveTo>
                    <a:cubicBezTo>
                      <a:pt x="1544" y="582"/>
                      <a:pt x="1550" y="570"/>
                      <a:pt x="1550" y="556"/>
                    </a:cubicBezTo>
                    <a:cubicBezTo>
                      <a:pt x="1550" y="548"/>
                      <a:pt x="1547" y="542"/>
                      <a:pt x="1544" y="537"/>
                    </a:cubicBezTo>
                    <a:cubicBezTo>
                      <a:pt x="1541" y="531"/>
                      <a:pt x="1533" y="525"/>
                      <a:pt x="1524" y="522"/>
                    </a:cubicBezTo>
                    <a:cubicBezTo>
                      <a:pt x="1516" y="520"/>
                      <a:pt x="1502" y="514"/>
                      <a:pt x="1488" y="511"/>
                    </a:cubicBezTo>
                    <a:cubicBezTo>
                      <a:pt x="1471" y="508"/>
                      <a:pt x="1454" y="503"/>
                      <a:pt x="1428" y="497"/>
                    </a:cubicBezTo>
                    <a:cubicBezTo>
                      <a:pt x="1403" y="491"/>
                      <a:pt x="1381" y="486"/>
                      <a:pt x="1358" y="477"/>
                    </a:cubicBezTo>
                    <a:cubicBezTo>
                      <a:pt x="1336" y="469"/>
                      <a:pt x="1315" y="460"/>
                      <a:pt x="1299" y="446"/>
                    </a:cubicBezTo>
                    <a:cubicBezTo>
                      <a:pt x="1282" y="435"/>
                      <a:pt x="1267" y="418"/>
                      <a:pt x="1256" y="401"/>
                    </a:cubicBezTo>
                    <a:cubicBezTo>
                      <a:pt x="1245" y="384"/>
                      <a:pt x="1242" y="362"/>
                      <a:pt x="1242" y="336"/>
                    </a:cubicBezTo>
                    <a:cubicBezTo>
                      <a:pt x="1242" y="291"/>
                      <a:pt x="1263" y="251"/>
                      <a:pt x="1299" y="223"/>
                    </a:cubicBezTo>
                    <a:cubicBezTo>
                      <a:pt x="1336" y="195"/>
                      <a:pt x="1394" y="181"/>
                      <a:pt x="1471" y="181"/>
                    </a:cubicBezTo>
                    <a:cubicBezTo>
                      <a:pt x="1538" y="181"/>
                      <a:pt x="1592" y="195"/>
                      <a:pt x="1632" y="220"/>
                    </a:cubicBezTo>
                    <a:cubicBezTo>
                      <a:pt x="1674" y="246"/>
                      <a:pt x="1696" y="285"/>
                      <a:pt x="1708" y="333"/>
                    </a:cubicBezTo>
                    <a:lnTo>
                      <a:pt x="1553" y="333"/>
                    </a:lnTo>
                    <a:cubicBezTo>
                      <a:pt x="1550" y="319"/>
                      <a:pt x="1541" y="306"/>
                      <a:pt x="1527" y="297"/>
                    </a:cubicBezTo>
                    <a:cubicBezTo>
                      <a:pt x="1513" y="289"/>
                      <a:pt x="1493" y="283"/>
                      <a:pt x="1468" y="283"/>
                    </a:cubicBezTo>
                    <a:cubicBezTo>
                      <a:pt x="1442" y="283"/>
                      <a:pt x="1426" y="285"/>
                      <a:pt x="1414" y="294"/>
                    </a:cubicBezTo>
                    <a:cubicBezTo>
                      <a:pt x="1403" y="302"/>
                      <a:pt x="1397" y="311"/>
                      <a:pt x="1397" y="325"/>
                    </a:cubicBezTo>
                    <a:cubicBezTo>
                      <a:pt x="1397" y="331"/>
                      <a:pt x="1400" y="339"/>
                      <a:pt x="1403" y="342"/>
                    </a:cubicBezTo>
                    <a:cubicBezTo>
                      <a:pt x="1406" y="347"/>
                      <a:pt x="1412" y="350"/>
                      <a:pt x="1420" y="356"/>
                    </a:cubicBezTo>
                    <a:cubicBezTo>
                      <a:pt x="1429" y="362"/>
                      <a:pt x="1440" y="364"/>
                      <a:pt x="1454" y="370"/>
                    </a:cubicBezTo>
                    <a:cubicBezTo>
                      <a:pt x="1468" y="373"/>
                      <a:pt x="1485" y="378"/>
                      <a:pt x="1507" y="384"/>
                    </a:cubicBezTo>
                    <a:cubicBezTo>
                      <a:pt x="1530" y="390"/>
                      <a:pt x="1555" y="395"/>
                      <a:pt x="1581" y="404"/>
                    </a:cubicBezTo>
                    <a:cubicBezTo>
                      <a:pt x="1606" y="410"/>
                      <a:pt x="1627" y="421"/>
                      <a:pt x="1646" y="432"/>
                    </a:cubicBezTo>
                    <a:cubicBezTo>
                      <a:pt x="1666" y="443"/>
                      <a:pt x="1683" y="458"/>
                      <a:pt x="1694" y="474"/>
                    </a:cubicBezTo>
                    <a:cubicBezTo>
                      <a:pt x="1706" y="491"/>
                      <a:pt x="1713" y="514"/>
                      <a:pt x="1713" y="542"/>
                    </a:cubicBezTo>
                    <a:cubicBezTo>
                      <a:pt x="1713" y="568"/>
                      <a:pt x="1708" y="590"/>
                      <a:pt x="1699" y="610"/>
                    </a:cubicBezTo>
                    <a:cubicBezTo>
                      <a:pt x="1688" y="630"/>
                      <a:pt x="1674" y="647"/>
                      <a:pt x="1654" y="664"/>
                    </a:cubicBezTo>
                    <a:cubicBezTo>
                      <a:pt x="1634" y="678"/>
                      <a:pt x="1609" y="689"/>
                      <a:pt x="1578" y="697"/>
                    </a:cubicBezTo>
                    <a:cubicBezTo>
                      <a:pt x="1547" y="706"/>
                      <a:pt x="1513" y="709"/>
                      <a:pt x="1471" y="709"/>
                    </a:cubicBezTo>
                    <a:cubicBezTo>
                      <a:pt x="1400" y="709"/>
                      <a:pt x="1344" y="695"/>
                      <a:pt x="1301" y="666"/>
                    </a:cubicBezTo>
                    <a:cubicBezTo>
                      <a:pt x="1259" y="638"/>
                      <a:pt x="1234" y="601"/>
                      <a:pt x="1225" y="553"/>
                    </a:cubicBezTo>
                    <a:lnTo>
                      <a:pt x="1380" y="553"/>
                    </a:lnTo>
                    <a:cubicBezTo>
                      <a:pt x="1383" y="570"/>
                      <a:pt x="1394" y="582"/>
                      <a:pt x="1409" y="593"/>
                    </a:cubicBezTo>
                    <a:cubicBezTo>
                      <a:pt x="1420" y="596"/>
                      <a:pt x="1440" y="601"/>
                      <a:pt x="1462" y="601"/>
                    </a:cubicBezTo>
                    <a:cubicBezTo>
                      <a:pt x="1493" y="601"/>
                      <a:pt x="1516" y="599"/>
                      <a:pt x="1530" y="590"/>
                    </a:cubicBezTo>
                    <a:close/>
                    <a:moveTo>
                      <a:pt x="2075" y="590"/>
                    </a:moveTo>
                    <a:cubicBezTo>
                      <a:pt x="2089" y="582"/>
                      <a:pt x="2094" y="570"/>
                      <a:pt x="2094" y="556"/>
                    </a:cubicBezTo>
                    <a:cubicBezTo>
                      <a:pt x="2094" y="548"/>
                      <a:pt x="2092" y="542"/>
                      <a:pt x="2089" y="537"/>
                    </a:cubicBezTo>
                    <a:cubicBezTo>
                      <a:pt x="2086" y="531"/>
                      <a:pt x="2078" y="525"/>
                      <a:pt x="2069" y="522"/>
                    </a:cubicBezTo>
                    <a:cubicBezTo>
                      <a:pt x="2061" y="520"/>
                      <a:pt x="2046" y="514"/>
                      <a:pt x="2032" y="511"/>
                    </a:cubicBezTo>
                    <a:cubicBezTo>
                      <a:pt x="2015" y="508"/>
                      <a:pt x="1998" y="503"/>
                      <a:pt x="1973" y="497"/>
                    </a:cubicBezTo>
                    <a:cubicBezTo>
                      <a:pt x="1948" y="491"/>
                      <a:pt x="1925" y="486"/>
                      <a:pt x="1902" y="477"/>
                    </a:cubicBezTo>
                    <a:cubicBezTo>
                      <a:pt x="1880" y="469"/>
                      <a:pt x="1860" y="460"/>
                      <a:pt x="1843" y="446"/>
                    </a:cubicBezTo>
                    <a:cubicBezTo>
                      <a:pt x="1826" y="435"/>
                      <a:pt x="1812" y="418"/>
                      <a:pt x="1801" y="401"/>
                    </a:cubicBezTo>
                    <a:cubicBezTo>
                      <a:pt x="1790" y="384"/>
                      <a:pt x="1787" y="362"/>
                      <a:pt x="1787" y="336"/>
                    </a:cubicBezTo>
                    <a:cubicBezTo>
                      <a:pt x="1787" y="291"/>
                      <a:pt x="1807" y="251"/>
                      <a:pt x="1843" y="223"/>
                    </a:cubicBezTo>
                    <a:cubicBezTo>
                      <a:pt x="1880" y="195"/>
                      <a:pt x="1939" y="181"/>
                      <a:pt x="2015" y="181"/>
                    </a:cubicBezTo>
                    <a:cubicBezTo>
                      <a:pt x="2083" y="181"/>
                      <a:pt x="2137" y="195"/>
                      <a:pt x="2176" y="220"/>
                    </a:cubicBezTo>
                    <a:cubicBezTo>
                      <a:pt x="2219" y="246"/>
                      <a:pt x="2241" y="285"/>
                      <a:pt x="2252" y="333"/>
                    </a:cubicBezTo>
                    <a:lnTo>
                      <a:pt x="2097" y="333"/>
                    </a:lnTo>
                    <a:cubicBezTo>
                      <a:pt x="2094" y="319"/>
                      <a:pt x="2086" y="306"/>
                      <a:pt x="2072" y="297"/>
                    </a:cubicBezTo>
                    <a:cubicBezTo>
                      <a:pt x="2058" y="289"/>
                      <a:pt x="2038" y="283"/>
                      <a:pt x="2013" y="283"/>
                    </a:cubicBezTo>
                    <a:cubicBezTo>
                      <a:pt x="1987" y="283"/>
                      <a:pt x="1970" y="285"/>
                      <a:pt x="1959" y="294"/>
                    </a:cubicBezTo>
                    <a:cubicBezTo>
                      <a:pt x="1948" y="302"/>
                      <a:pt x="1942" y="311"/>
                      <a:pt x="1942" y="325"/>
                    </a:cubicBezTo>
                    <a:cubicBezTo>
                      <a:pt x="1942" y="331"/>
                      <a:pt x="1945" y="339"/>
                      <a:pt x="1948" y="342"/>
                    </a:cubicBezTo>
                    <a:cubicBezTo>
                      <a:pt x="1950" y="347"/>
                      <a:pt x="1957" y="350"/>
                      <a:pt x="1965" y="356"/>
                    </a:cubicBezTo>
                    <a:cubicBezTo>
                      <a:pt x="1974" y="362"/>
                      <a:pt x="1984" y="364"/>
                      <a:pt x="1998" y="370"/>
                    </a:cubicBezTo>
                    <a:cubicBezTo>
                      <a:pt x="2013" y="373"/>
                      <a:pt x="2029" y="378"/>
                      <a:pt x="2052" y="384"/>
                    </a:cubicBezTo>
                    <a:cubicBezTo>
                      <a:pt x="2075" y="390"/>
                      <a:pt x="2100" y="395"/>
                      <a:pt x="2123" y="404"/>
                    </a:cubicBezTo>
                    <a:cubicBezTo>
                      <a:pt x="2148" y="410"/>
                      <a:pt x="2168" y="421"/>
                      <a:pt x="2187" y="432"/>
                    </a:cubicBezTo>
                    <a:cubicBezTo>
                      <a:pt x="2207" y="443"/>
                      <a:pt x="2224" y="458"/>
                      <a:pt x="2235" y="474"/>
                    </a:cubicBezTo>
                    <a:cubicBezTo>
                      <a:pt x="2247" y="491"/>
                      <a:pt x="2255" y="514"/>
                      <a:pt x="2255" y="542"/>
                    </a:cubicBezTo>
                    <a:cubicBezTo>
                      <a:pt x="2255" y="568"/>
                      <a:pt x="2250" y="590"/>
                      <a:pt x="2241" y="610"/>
                    </a:cubicBezTo>
                    <a:cubicBezTo>
                      <a:pt x="2230" y="630"/>
                      <a:pt x="2216" y="647"/>
                      <a:pt x="2196" y="664"/>
                    </a:cubicBezTo>
                    <a:cubicBezTo>
                      <a:pt x="2176" y="678"/>
                      <a:pt x="2151" y="689"/>
                      <a:pt x="2120" y="697"/>
                    </a:cubicBezTo>
                    <a:cubicBezTo>
                      <a:pt x="2089" y="706"/>
                      <a:pt x="2055" y="709"/>
                      <a:pt x="2013" y="709"/>
                    </a:cubicBezTo>
                    <a:cubicBezTo>
                      <a:pt x="1942" y="709"/>
                      <a:pt x="1886" y="695"/>
                      <a:pt x="1843" y="666"/>
                    </a:cubicBezTo>
                    <a:cubicBezTo>
                      <a:pt x="1801" y="638"/>
                      <a:pt x="1775" y="601"/>
                      <a:pt x="1767" y="553"/>
                    </a:cubicBezTo>
                    <a:lnTo>
                      <a:pt x="1922" y="553"/>
                    </a:lnTo>
                    <a:cubicBezTo>
                      <a:pt x="1925" y="570"/>
                      <a:pt x="1936" y="582"/>
                      <a:pt x="1950" y="593"/>
                    </a:cubicBezTo>
                    <a:cubicBezTo>
                      <a:pt x="1962" y="596"/>
                      <a:pt x="1981" y="601"/>
                      <a:pt x="2007" y="601"/>
                    </a:cubicBezTo>
                    <a:cubicBezTo>
                      <a:pt x="2038" y="601"/>
                      <a:pt x="2060" y="599"/>
                      <a:pt x="2075" y="590"/>
                    </a:cubicBezTo>
                    <a:close/>
                    <a:moveTo>
                      <a:pt x="2340" y="189"/>
                    </a:moveTo>
                    <a:lnTo>
                      <a:pt x="2495" y="189"/>
                    </a:lnTo>
                    <a:lnTo>
                      <a:pt x="2495" y="686"/>
                    </a:lnTo>
                    <a:lnTo>
                      <a:pt x="2340" y="686"/>
                    </a:lnTo>
                    <a:lnTo>
                      <a:pt x="2340" y="189"/>
                    </a:lnTo>
                    <a:close/>
                    <a:moveTo>
                      <a:pt x="2334" y="0"/>
                    </a:moveTo>
                    <a:lnTo>
                      <a:pt x="2501" y="0"/>
                    </a:lnTo>
                    <a:lnTo>
                      <a:pt x="2501" y="127"/>
                    </a:lnTo>
                    <a:lnTo>
                      <a:pt x="2334" y="127"/>
                    </a:lnTo>
                    <a:lnTo>
                      <a:pt x="2334" y="0"/>
                    </a:lnTo>
                    <a:close/>
                    <a:moveTo>
                      <a:pt x="2958" y="319"/>
                    </a:moveTo>
                    <a:cubicBezTo>
                      <a:pt x="2938" y="297"/>
                      <a:pt x="2910" y="285"/>
                      <a:pt x="2873" y="285"/>
                    </a:cubicBezTo>
                    <a:cubicBezTo>
                      <a:pt x="2839" y="285"/>
                      <a:pt x="2808" y="297"/>
                      <a:pt x="2786" y="322"/>
                    </a:cubicBezTo>
                    <a:cubicBezTo>
                      <a:pt x="2763" y="347"/>
                      <a:pt x="2752" y="384"/>
                      <a:pt x="2752" y="435"/>
                    </a:cubicBezTo>
                    <a:cubicBezTo>
                      <a:pt x="2752" y="466"/>
                      <a:pt x="2755" y="491"/>
                      <a:pt x="2760" y="511"/>
                    </a:cubicBezTo>
                    <a:cubicBezTo>
                      <a:pt x="2766" y="531"/>
                      <a:pt x="2775" y="548"/>
                      <a:pt x="2786" y="559"/>
                    </a:cubicBezTo>
                    <a:cubicBezTo>
                      <a:pt x="2798" y="570"/>
                      <a:pt x="2808" y="582"/>
                      <a:pt x="2822" y="584"/>
                    </a:cubicBezTo>
                    <a:cubicBezTo>
                      <a:pt x="2837" y="590"/>
                      <a:pt x="2851" y="593"/>
                      <a:pt x="2868" y="593"/>
                    </a:cubicBezTo>
                    <a:cubicBezTo>
                      <a:pt x="2901" y="593"/>
                      <a:pt x="2933" y="579"/>
                      <a:pt x="2955" y="553"/>
                    </a:cubicBezTo>
                    <a:cubicBezTo>
                      <a:pt x="2978" y="528"/>
                      <a:pt x="2989" y="489"/>
                      <a:pt x="2989" y="435"/>
                    </a:cubicBezTo>
                    <a:cubicBezTo>
                      <a:pt x="2989" y="381"/>
                      <a:pt x="2978" y="342"/>
                      <a:pt x="2958" y="319"/>
                    </a:cubicBezTo>
                    <a:close/>
                    <a:moveTo>
                      <a:pt x="2605" y="0"/>
                    </a:moveTo>
                    <a:lnTo>
                      <a:pt x="2760" y="0"/>
                    </a:lnTo>
                    <a:lnTo>
                      <a:pt x="2760" y="237"/>
                    </a:lnTo>
                    <a:cubicBezTo>
                      <a:pt x="2780" y="218"/>
                      <a:pt x="2800" y="204"/>
                      <a:pt x="2828" y="192"/>
                    </a:cubicBezTo>
                    <a:cubicBezTo>
                      <a:pt x="2853" y="181"/>
                      <a:pt x="2885" y="175"/>
                      <a:pt x="2918" y="175"/>
                    </a:cubicBezTo>
                    <a:cubicBezTo>
                      <a:pt x="2952" y="175"/>
                      <a:pt x="2983" y="181"/>
                      <a:pt x="3012" y="189"/>
                    </a:cubicBezTo>
                    <a:cubicBezTo>
                      <a:pt x="3040" y="201"/>
                      <a:pt x="3065" y="216"/>
                      <a:pt x="3085" y="235"/>
                    </a:cubicBezTo>
                    <a:cubicBezTo>
                      <a:pt x="3105" y="255"/>
                      <a:pt x="3122" y="280"/>
                      <a:pt x="3133" y="311"/>
                    </a:cubicBezTo>
                    <a:cubicBezTo>
                      <a:pt x="3144" y="342"/>
                      <a:pt x="3150" y="378"/>
                      <a:pt x="3150" y="418"/>
                    </a:cubicBezTo>
                    <a:cubicBezTo>
                      <a:pt x="3150" y="463"/>
                      <a:pt x="3144" y="503"/>
                      <a:pt x="3130" y="539"/>
                    </a:cubicBezTo>
                    <a:cubicBezTo>
                      <a:pt x="3119" y="573"/>
                      <a:pt x="3102" y="605"/>
                      <a:pt x="3079" y="627"/>
                    </a:cubicBezTo>
                    <a:cubicBezTo>
                      <a:pt x="3057" y="650"/>
                      <a:pt x="3031" y="669"/>
                      <a:pt x="3003" y="680"/>
                    </a:cubicBezTo>
                    <a:cubicBezTo>
                      <a:pt x="2972" y="692"/>
                      <a:pt x="2941" y="697"/>
                      <a:pt x="2907" y="697"/>
                    </a:cubicBezTo>
                    <a:cubicBezTo>
                      <a:pt x="2876" y="697"/>
                      <a:pt x="2848" y="692"/>
                      <a:pt x="2822" y="680"/>
                    </a:cubicBezTo>
                    <a:cubicBezTo>
                      <a:pt x="2797" y="669"/>
                      <a:pt x="2774" y="652"/>
                      <a:pt x="2758" y="632"/>
                    </a:cubicBezTo>
                    <a:lnTo>
                      <a:pt x="2732" y="683"/>
                    </a:lnTo>
                    <a:lnTo>
                      <a:pt x="2605" y="683"/>
                    </a:lnTo>
                    <a:lnTo>
                      <a:pt x="2605" y="0"/>
                    </a:lnTo>
                    <a:close/>
                    <a:moveTo>
                      <a:pt x="3390" y="686"/>
                    </a:moveTo>
                    <a:lnTo>
                      <a:pt x="3234" y="686"/>
                    </a:lnTo>
                    <a:lnTo>
                      <a:pt x="3234" y="0"/>
                    </a:lnTo>
                    <a:lnTo>
                      <a:pt x="3390" y="0"/>
                    </a:lnTo>
                    <a:lnTo>
                      <a:pt x="3390" y="686"/>
                    </a:lnTo>
                    <a:close/>
                    <a:moveTo>
                      <a:pt x="3669" y="299"/>
                    </a:moveTo>
                    <a:cubicBezTo>
                      <a:pt x="3649" y="316"/>
                      <a:pt x="3638" y="347"/>
                      <a:pt x="3635" y="390"/>
                    </a:cubicBezTo>
                    <a:lnTo>
                      <a:pt x="3852" y="390"/>
                    </a:lnTo>
                    <a:cubicBezTo>
                      <a:pt x="3850" y="347"/>
                      <a:pt x="3841" y="316"/>
                      <a:pt x="3821" y="299"/>
                    </a:cubicBezTo>
                    <a:cubicBezTo>
                      <a:pt x="3802" y="280"/>
                      <a:pt x="3776" y="271"/>
                      <a:pt x="3742" y="271"/>
                    </a:cubicBezTo>
                    <a:cubicBezTo>
                      <a:pt x="3711" y="271"/>
                      <a:pt x="3689" y="280"/>
                      <a:pt x="3669" y="299"/>
                    </a:cubicBezTo>
                    <a:close/>
                    <a:moveTo>
                      <a:pt x="4008" y="542"/>
                    </a:moveTo>
                    <a:cubicBezTo>
                      <a:pt x="4007" y="543"/>
                      <a:pt x="4007" y="544"/>
                      <a:pt x="4007" y="545"/>
                    </a:cubicBezTo>
                    <a:lnTo>
                      <a:pt x="4008" y="545"/>
                    </a:lnTo>
                    <a:lnTo>
                      <a:pt x="4008" y="542"/>
                    </a:lnTo>
                    <a:close/>
                    <a:moveTo>
                      <a:pt x="3979" y="604"/>
                    </a:moveTo>
                    <a:cubicBezTo>
                      <a:pt x="3968" y="624"/>
                      <a:pt x="3951" y="641"/>
                      <a:pt x="3929" y="655"/>
                    </a:cubicBezTo>
                    <a:cubicBezTo>
                      <a:pt x="3909" y="669"/>
                      <a:pt x="3884" y="680"/>
                      <a:pt x="3852" y="689"/>
                    </a:cubicBezTo>
                    <a:cubicBezTo>
                      <a:pt x="3824" y="697"/>
                      <a:pt x="3790" y="700"/>
                      <a:pt x="3751" y="700"/>
                    </a:cubicBezTo>
                    <a:cubicBezTo>
                      <a:pt x="3711" y="700"/>
                      <a:pt x="3675" y="695"/>
                      <a:pt x="3641" y="683"/>
                    </a:cubicBezTo>
                    <a:cubicBezTo>
                      <a:pt x="3607" y="672"/>
                      <a:pt x="3579" y="655"/>
                      <a:pt x="3556" y="632"/>
                    </a:cubicBezTo>
                    <a:cubicBezTo>
                      <a:pt x="3534" y="610"/>
                      <a:pt x="3514" y="582"/>
                      <a:pt x="3500" y="551"/>
                    </a:cubicBezTo>
                    <a:cubicBezTo>
                      <a:pt x="3486" y="520"/>
                      <a:pt x="3480" y="480"/>
                      <a:pt x="3480" y="441"/>
                    </a:cubicBezTo>
                    <a:cubicBezTo>
                      <a:pt x="3480" y="398"/>
                      <a:pt x="3486" y="362"/>
                      <a:pt x="3500" y="328"/>
                    </a:cubicBezTo>
                    <a:cubicBezTo>
                      <a:pt x="3511" y="294"/>
                      <a:pt x="3531" y="268"/>
                      <a:pt x="3553" y="246"/>
                    </a:cubicBezTo>
                    <a:cubicBezTo>
                      <a:pt x="3576" y="223"/>
                      <a:pt x="3604" y="206"/>
                      <a:pt x="3638" y="195"/>
                    </a:cubicBezTo>
                    <a:cubicBezTo>
                      <a:pt x="3672" y="184"/>
                      <a:pt x="3709" y="178"/>
                      <a:pt x="3748" y="178"/>
                    </a:cubicBezTo>
                    <a:cubicBezTo>
                      <a:pt x="3790" y="178"/>
                      <a:pt x="3827" y="184"/>
                      <a:pt x="3858" y="195"/>
                    </a:cubicBezTo>
                    <a:cubicBezTo>
                      <a:pt x="3892" y="206"/>
                      <a:pt x="3921" y="226"/>
                      <a:pt x="3943" y="251"/>
                    </a:cubicBezTo>
                    <a:cubicBezTo>
                      <a:pt x="3966" y="277"/>
                      <a:pt x="3982" y="308"/>
                      <a:pt x="3996" y="345"/>
                    </a:cubicBezTo>
                    <a:cubicBezTo>
                      <a:pt x="4008" y="381"/>
                      <a:pt x="4016" y="426"/>
                      <a:pt x="4016" y="477"/>
                    </a:cubicBezTo>
                    <a:lnTo>
                      <a:pt x="3641" y="477"/>
                    </a:lnTo>
                    <a:cubicBezTo>
                      <a:pt x="3646" y="522"/>
                      <a:pt x="3661" y="553"/>
                      <a:pt x="3680" y="570"/>
                    </a:cubicBezTo>
                    <a:cubicBezTo>
                      <a:pt x="3703" y="590"/>
                      <a:pt x="3728" y="599"/>
                      <a:pt x="3762" y="599"/>
                    </a:cubicBezTo>
                    <a:cubicBezTo>
                      <a:pt x="3788" y="599"/>
                      <a:pt x="3807" y="593"/>
                      <a:pt x="3821" y="584"/>
                    </a:cubicBezTo>
                    <a:cubicBezTo>
                      <a:pt x="3836" y="576"/>
                      <a:pt x="3847" y="562"/>
                      <a:pt x="3852" y="545"/>
                    </a:cubicBezTo>
                    <a:lnTo>
                      <a:pt x="4007" y="545"/>
                    </a:lnTo>
                    <a:cubicBezTo>
                      <a:pt x="4001" y="567"/>
                      <a:pt x="3993" y="588"/>
                      <a:pt x="3979" y="604"/>
                    </a:cubicBezTo>
                    <a:close/>
                  </a:path>
                </a:pathLst>
              </a:custGeom>
              <a:solidFill>
                <a:schemeClr val="accent1"/>
              </a:solidFill>
              <a:ln w="9525" cap="flat">
                <a:noFill/>
                <a:bevel/>
                <a:headEnd/>
                <a:tailEnd/>
              </a:ln>
              <a:effectLst/>
            </p:spPr>
            <p:txBody>
              <a:bodyPr wrap="none" anchor="ctr"/>
              <a:lstStyle/>
              <a:p>
                <a:endParaRPr lang="en-US"/>
              </a:p>
            </p:txBody>
          </p:sp>
        </p:grpSp>
      </p:grpSp>
    </p:spTree>
    <p:extLst>
      <p:ext uri="{BB962C8B-B14F-4D97-AF65-F5344CB8AC3E}">
        <p14:creationId xmlns:p14="http://schemas.microsoft.com/office/powerpoint/2010/main" val="16509575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893059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7" y="1223661"/>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5"/>
            <a:ext cx="2596896" cy="357657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538432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1513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nchor="t"/>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3" name="Group 2">
            <a:extLst>
              <a:ext uri="{FF2B5EF4-FFF2-40B4-BE49-F238E27FC236}">
                <a16:creationId xmlns:a16="http://schemas.microsoft.com/office/drawing/2014/main" id="{1991F690-C79C-E542-ADE5-B98B5C21D54E}"/>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59764329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21" name="Freeform 20">
            <a:extLst>
              <a:ext uri="{FF2B5EF4-FFF2-40B4-BE49-F238E27FC236}">
                <a16:creationId xmlns:a16="http://schemas.microsoft.com/office/drawing/2014/main" id="{DE133895-CF0C-8D48-B4A3-4C94D525E188}"/>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2" y="391308"/>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28954083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2" y="391308"/>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spTree>
    <p:extLst>
      <p:ext uri="{BB962C8B-B14F-4D97-AF65-F5344CB8AC3E}">
        <p14:creationId xmlns:p14="http://schemas.microsoft.com/office/powerpoint/2010/main" val="68989510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35741782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6" y="1653702"/>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66" name="Freeform 65">
            <a:extLst>
              <a:ext uri="{FF2B5EF4-FFF2-40B4-BE49-F238E27FC236}">
                <a16:creationId xmlns:a16="http://schemas.microsoft.com/office/drawing/2014/main" id="{DDAEF4F6-E358-4249-AAEE-917895E8A324}"/>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9999586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7" y="1223661"/>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5"/>
            <a:ext cx="2596896" cy="357657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9108821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spTree>
    <p:extLst>
      <p:ext uri="{BB962C8B-B14F-4D97-AF65-F5344CB8AC3E}">
        <p14:creationId xmlns:p14="http://schemas.microsoft.com/office/powerpoint/2010/main" val="48827241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119811357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2"/>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277478084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2"/>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p:spPr>
        <p:txBody>
          <a:bodyPr anchor="ctr">
            <a:noAutofit/>
          </a:bodyPr>
          <a:lstStyle>
            <a:lvl1pPr marL="238125" indent="-238125">
              <a:spcBef>
                <a:spcPts val="2400"/>
              </a:spcBef>
              <a:buClr>
                <a:schemeClr val="tx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56574750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tx2"/>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p:spPr>
        <p:txBody>
          <a:bodyPr anchor="ctr">
            <a:noAutofit/>
          </a:bodyPr>
          <a:lstStyle>
            <a:lvl1pPr marL="238125" indent="-238125">
              <a:spcBef>
                <a:spcPts val="2400"/>
              </a:spcBef>
              <a:buClr>
                <a:schemeClr val="tx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85494160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5"/>
            <a:ext cx="2576512" cy="731839"/>
          </a:xfrm>
          <a:prstGeom prst="rect">
            <a:avLst/>
          </a:prstGeom>
        </p:spPr>
        <p:txBody>
          <a:bodyPr anchor="ctr">
            <a:normAutofit/>
          </a:bodyPr>
          <a:lstStyle>
            <a:lvl1pPr>
              <a:lnSpc>
                <a:spcPct val="80000"/>
              </a:lnSpc>
              <a:defRPr sz="4000" baseline="0">
                <a:solidFill>
                  <a:schemeClr val="tx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8" y="2051050"/>
            <a:ext cx="2695575" cy="731838"/>
          </a:xfrm>
          <a:prstGeom prst="rect">
            <a:avLst/>
          </a:prstGeom>
        </p:spPr>
        <p:txBody>
          <a:bodyPr/>
          <a:lstStyle>
            <a:lvl1pPr marL="0" indent="0">
              <a:buNone/>
              <a:defRPr sz="4000" baseline="0">
                <a:solidFill>
                  <a:schemeClr val="tx1"/>
                </a:solidFill>
              </a:defRPr>
            </a:lvl1pPr>
          </a:lstStyle>
          <a:p>
            <a:pPr lvl="0"/>
            <a:r>
              <a:rPr lang="en-US"/>
              <a:t>##</a:t>
            </a:r>
          </a:p>
        </p:txBody>
      </p:sp>
      <p:sp>
        <p:nvSpPr>
          <p:cNvPr id="8" name="Text Placeholder 14">
            <a:extLst>
              <a:ext uri="{FF2B5EF4-FFF2-40B4-BE49-F238E27FC236}">
                <a16:creationId xmlns:a16="http://schemas.microsoft.com/office/drawing/2014/main" id="{D1FCB566-ADF6-AB48-8D05-7BE4EFEEAAC8}"/>
              </a:ext>
            </a:extLst>
          </p:cNvPr>
          <p:cNvSpPr>
            <a:spLocks noGrp="1"/>
          </p:cNvSpPr>
          <p:nvPr>
            <p:ph type="body" sz="quarter" idx="12" hasCustomPrompt="1"/>
          </p:nvPr>
        </p:nvSpPr>
        <p:spPr>
          <a:xfrm>
            <a:off x="542925" y="2905125"/>
            <a:ext cx="2576513" cy="1679575"/>
          </a:xfrm>
          <a:prstGeom prst="rect">
            <a:avLst/>
          </a:prstGeo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16">
            <a:extLst>
              <a:ext uri="{FF2B5EF4-FFF2-40B4-BE49-F238E27FC236}">
                <a16:creationId xmlns:a16="http://schemas.microsoft.com/office/drawing/2014/main" id="{F8F22DCF-40AA-BB45-967D-D84D73528A5D}"/>
              </a:ext>
            </a:extLst>
          </p:cNvPr>
          <p:cNvSpPr>
            <a:spLocks noGrp="1"/>
          </p:cNvSpPr>
          <p:nvPr>
            <p:ph type="body" sz="quarter" idx="13" hasCustomPrompt="1"/>
          </p:nvPr>
        </p:nvSpPr>
        <p:spPr>
          <a:xfrm>
            <a:off x="3414713" y="2905125"/>
            <a:ext cx="2576512" cy="1679575"/>
          </a:xfrm>
          <a:prstGeom prst="rect">
            <a:avLst/>
          </a:prstGeom>
        </p:spPr>
        <p:txBody>
          <a:bodyPr/>
          <a:lstStyle>
            <a:lvl1pPr marL="169863" indent="-169863">
              <a:buClr>
                <a:schemeClr val="accent2"/>
              </a:buClr>
              <a:defRPr lang="en-US" sz="1800" kern="1200" dirty="0">
                <a:solidFill>
                  <a:schemeClr val="tx1"/>
                </a:solidFill>
                <a:latin typeface="+mn-lt"/>
                <a:ea typeface="ＭＳ Ｐゴシック" charset="0"/>
                <a:cs typeface="CiscoSans"/>
              </a:defRPr>
            </a:lvl1pPr>
            <a:lvl2pPr marL="358775" indent="-187325">
              <a:buClr>
                <a:schemeClr val="accent2"/>
              </a:buClr>
              <a:defRPr lang="en-US" sz="1600" kern="1200" dirty="0">
                <a:solidFill>
                  <a:schemeClr val="tx1"/>
                </a:solidFill>
                <a:latin typeface="+mn-lt"/>
                <a:ea typeface="ＭＳ Ｐゴシック" charset="0"/>
                <a:cs typeface="CiscoSans"/>
              </a:defRPr>
            </a:lvl2pPr>
            <a:lvl3pPr marL="573087" indent="-285750">
              <a:buClr>
                <a:schemeClr val="accent2"/>
              </a:buClr>
              <a:defRPr lang="en-US" sz="1400" kern="1200" dirty="0">
                <a:solidFill>
                  <a:schemeClr val="tx1"/>
                </a:solidFill>
                <a:latin typeface="+mn-lt"/>
                <a:ea typeface="ＭＳ Ｐゴシック" charset="0"/>
                <a:cs typeface="CiscoSans"/>
              </a:defRPr>
            </a:lvl3pPr>
            <a:lvl4pPr marL="573088" indent="-171450">
              <a:buClr>
                <a:schemeClr val="accent2"/>
              </a:buClr>
              <a:defRPr lang="en-US" sz="1200" kern="1200" dirty="0">
                <a:solidFill>
                  <a:schemeClr val="tx1"/>
                </a:solidFill>
                <a:latin typeface="+mn-lt"/>
                <a:ea typeface="ＭＳ Ｐゴシック" charset="0"/>
                <a:cs typeface="CiscoSans"/>
              </a:defRPr>
            </a:lvl4pPr>
            <a:lvl5pPr marL="687387" indent="-171450">
              <a:buClr>
                <a:schemeClr val="accent2"/>
              </a:buClr>
              <a:defRPr lang="en-US" sz="1100" kern="1200" dirty="0">
                <a:solidFill>
                  <a:schemeClr val="tx1"/>
                </a:solidFill>
                <a:latin typeface="+mn-lt"/>
                <a:ea typeface="ＭＳ Ｐゴシック" charset="0"/>
                <a:cs typeface="CiscoSans"/>
              </a:defRPr>
            </a:lvl5pPr>
          </a:lstStyle>
          <a:p>
            <a:pPr marL="169863" lvl="0" indent="-169863" algn="l" defTabSz="684213"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8" lvl="1" indent="-115888" algn="l" defTabSz="684213" rtl="0" eaLnBrk="1" fontAlgn="base" hangingPunct="1">
              <a:lnSpc>
                <a:spcPct val="95000"/>
              </a:lnSpc>
              <a:spcBef>
                <a:spcPts val="600"/>
              </a:spcBef>
              <a:spcAft>
                <a:spcPct val="0"/>
              </a:spcAft>
              <a:buClr>
                <a:schemeClr val="accent2"/>
              </a:buClr>
              <a:buSzPct val="80000"/>
              <a:buFont typeface="System Font Regular"/>
              <a:buChar char="-"/>
              <a:tabLst>
                <a:tab pos="339725" algn="l"/>
              </a:tabLst>
            </a:pPr>
            <a:r>
              <a:rPr lang="en-US"/>
              <a:t>Second level</a:t>
            </a:r>
          </a:p>
          <a:p>
            <a:pPr marL="400050" lvl="2" indent="-112713"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38" lvl="3" indent="-114300" algn="l" defTabSz="684213"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25" lvl="4" indent="-115888"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10" name="Text Placeholder 18">
            <a:extLst>
              <a:ext uri="{FF2B5EF4-FFF2-40B4-BE49-F238E27FC236}">
                <a16:creationId xmlns:a16="http://schemas.microsoft.com/office/drawing/2014/main" id="{365CB7F7-C8B7-E647-A291-1E817E77E173}"/>
              </a:ext>
            </a:extLst>
          </p:cNvPr>
          <p:cNvSpPr>
            <a:spLocks noGrp="1"/>
          </p:cNvSpPr>
          <p:nvPr>
            <p:ph type="body" sz="quarter" idx="14" hasCustomPrompt="1"/>
          </p:nvPr>
        </p:nvSpPr>
        <p:spPr>
          <a:xfrm>
            <a:off x="6256338" y="2905125"/>
            <a:ext cx="2695575" cy="1679574"/>
          </a:xfrm>
          <a:prstGeom prst="rect">
            <a:avLst/>
          </a:prstGeom>
        </p:spPr>
        <p:txBody>
          <a:bodyPr/>
          <a:lstStyle>
            <a:lvl1pPr marL="169863" indent="-169863">
              <a:buClr>
                <a:schemeClr val="accent2"/>
              </a:buClr>
              <a:defRPr lang="en-US" sz="1800" kern="1200" dirty="0">
                <a:solidFill>
                  <a:schemeClr val="tx1"/>
                </a:solidFill>
                <a:latin typeface="+mn-lt"/>
                <a:ea typeface="ＭＳ Ｐゴシック" charset="0"/>
                <a:cs typeface="CiscoSans"/>
              </a:defRPr>
            </a:lvl1pPr>
            <a:lvl2pPr marL="358775" indent="-187325">
              <a:buClr>
                <a:schemeClr val="accent2"/>
              </a:buClr>
              <a:defRPr lang="en-US" sz="1600" kern="1200" dirty="0">
                <a:solidFill>
                  <a:schemeClr val="tx1"/>
                </a:solidFill>
                <a:latin typeface="+mn-lt"/>
                <a:ea typeface="ＭＳ Ｐゴシック" charset="0"/>
                <a:cs typeface="CiscoSans"/>
              </a:defRPr>
            </a:lvl2pPr>
            <a:lvl3pPr marL="573087" indent="-285750">
              <a:buClr>
                <a:schemeClr val="accent2"/>
              </a:buClr>
              <a:defRPr lang="en-US" sz="1400" kern="1200" dirty="0">
                <a:solidFill>
                  <a:schemeClr val="tx1"/>
                </a:solidFill>
                <a:latin typeface="+mn-lt"/>
                <a:ea typeface="ＭＳ Ｐゴシック" charset="0"/>
                <a:cs typeface="CiscoSans"/>
              </a:defRPr>
            </a:lvl3pPr>
            <a:lvl4pPr marL="573088" indent="-171450">
              <a:buClr>
                <a:schemeClr val="accent2"/>
              </a:buClr>
              <a:defRPr lang="en-US" sz="1200" kern="1200" dirty="0">
                <a:solidFill>
                  <a:schemeClr val="tx1"/>
                </a:solidFill>
                <a:latin typeface="+mn-lt"/>
                <a:ea typeface="ＭＳ Ｐゴシック" charset="0"/>
                <a:cs typeface="CiscoSans"/>
              </a:defRPr>
            </a:lvl4pPr>
            <a:lvl5pPr marL="687387" indent="-171450">
              <a:buClr>
                <a:schemeClr val="accent2"/>
              </a:buClr>
              <a:defRPr lang="en-US" sz="1100" kern="1200" dirty="0">
                <a:solidFill>
                  <a:schemeClr val="tx1"/>
                </a:solidFill>
                <a:latin typeface="+mn-lt"/>
                <a:ea typeface="ＭＳ Ｐゴシック" charset="0"/>
                <a:cs typeface="CiscoSans"/>
              </a:defRPr>
            </a:lvl5pPr>
          </a:lstStyle>
          <a:p>
            <a:pPr marL="169863" lvl="0" indent="-169863" algn="l" defTabSz="684213"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8" lvl="1" indent="-115888" algn="l" defTabSz="684213" rtl="0" eaLnBrk="1" fontAlgn="base" hangingPunct="1">
              <a:lnSpc>
                <a:spcPct val="95000"/>
              </a:lnSpc>
              <a:spcBef>
                <a:spcPts val="600"/>
              </a:spcBef>
              <a:spcAft>
                <a:spcPct val="0"/>
              </a:spcAft>
              <a:buClr>
                <a:schemeClr val="accent2"/>
              </a:buClr>
              <a:buSzPct val="80000"/>
              <a:buFont typeface="System Font Regular"/>
              <a:buChar char="-"/>
              <a:tabLst>
                <a:tab pos="339725" algn="l"/>
              </a:tabLst>
            </a:pPr>
            <a:r>
              <a:rPr lang="en-US"/>
              <a:t>Second level</a:t>
            </a:r>
          </a:p>
          <a:p>
            <a:pPr marL="400050" lvl="2" indent="-112713"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38" lvl="3" indent="-114300" algn="l" defTabSz="684213"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25" lvl="4" indent="-115888"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tx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Tree>
    <p:extLst>
      <p:ext uri="{BB962C8B-B14F-4D97-AF65-F5344CB8AC3E}">
        <p14:creationId xmlns:p14="http://schemas.microsoft.com/office/powerpoint/2010/main" val="43570766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tx2"/>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5"/>
            <a:ext cx="2576512" cy="731839"/>
          </a:xfrm>
          <a:prstGeom prst="rect">
            <a:avLst/>
          </a:prstGeom>
        </p:spPr>
        <p:txBody>
          <a:bodyPr anchor="ctr">
            <a:norm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8" y="2051050"/>
            <a:ext cx="2695575" cy="731838"/>
          </a:xfrm>
          <a:prstGeom prst="rect">
            <a:avLst/>
          </a:prstGeom>
        </p:spPr>
        <p:txBody>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19" name="Rectangle 7">
            <a:extLst>
              <a:ext uri="{FF2B5EF4-FFF2-40B4-BE49-F238E27FC236}">
                <a16:creationId xmlns:a16="http://schemas.microsoft.com/office/drawing/2014/main" id="{FC36E454-11A2-D048-9654-66169FE73D5F}"/>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grpSp>
        <p:nvGrpSpPr>
          <p:cNvPr id="20" name="Group 19">
            <a:extLst>
              <a:ext uri="{FF2B5EF4-FFF2-40B4-BE49-F238E27FC236}">
                <a16:creationId xmlns:a16="http://schemas.microsoft.com/office/drawing/2014/main" id="{16640192-158F-F347-A27E-083FE16CB367}"/>
              </a:ext>
            </a:extLst>
          </p:cNvPr>
          <p:cNvGrpSpPr/>
          <p:nvPr userDrawn="1"/>
        </p:nvGrpSpPr>
        <p:grpSpPr>
          <a:xfrm>
            <a:off x="528763" y="4712481"/>
            <a:ext cx="921665" cy="191516"/>
            <a:chOff x="528763" y="4734321"/>
            <a:chExt cx="816561" cy="169676"/>
          </a:xfrm>
          <a:solidFill>
            <a:schemeClr val="bg1"/>
          </a:solidFill>
        </p:grpSpPr>
        <p:grpSp>
          <p:nvGrpSpPr>
            <p:cNvPr id="21" name="Graphic 2">
              <a:extLst>
                <a:ext uri="{FF2B5EF4-FFF2-40B4-BE49-F238E27FC236}">
                  <a16:creationId xmlns:a16="http://schemas.microsoft.com/office/drawing/2014/main" id="{608A3145-0BBF-2346-AEE8-B68BCDAACD04}"/>
                </a:ext>
              </a:extLst>
            </p:cNvPr>
            <p:cNvGrpSpPr/>
            <p:nvPr userDrawn="1"/>
          </p:nvGrpSpPr>
          <p:grpSpPr>
            <a:xfrm>
              <a:off x="896434" y="4795886"/>
              <a:ext cx="448890" cy="108111"/>
              <a:chOff x="4433187" y="1865375"/>
              <a:chExt cx="2298157" cy="553493"/>
            </a:xfrm>
            <a:grpFill/>
          </p:grpSpPr>
          <p:sp>
            <p:nvSpPr>
              <p:cNvPr id="23" name="Freeform 22">
                <a:extLst>
                  <a:ext uri="{FF2B5EF4-FFF2-40B4-BE49-F238E27FC236}">
                    <a16:creationId xmlns:a16="http://schemas.microsoft.com/office/drawing/2014/main" id="{F5DA23B2-074C-1D4F-9423-41E7D8533CCD}"/>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C89BB6E3-68B4-F74D-9660-AB5A26D4E391}"/>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5" name="Freeform 34">
                <a:extLst>
                  <a:ext uri="{FF2B5EF4-FFF2-40B4-BE49-F238E27FC236}">
                    <a16:creationId xmlns:a16="http://schemas.microsoft.com/office/drawing/2014/main" id="{E90E2323-5F45-A44A-AD72-AC92C87313BB}"/>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7" name="Freeform 36">
                <a:extLst>
                  <a:ext uri="{FF2B5EF4-FFF2-40B4-BE49-F238E27FC236}">
                    <a16:creationId xmlns:a16="http://schemas.microsoft.com/office/drawing/2014/main" id="{3E1005AF-D46E-2545-9FEF-16AA507425C8}"/>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8" name="Freeform 37">
                <a:extLst>
                  <a:ext uri="{FF2B5EF4-FFF2-40B4-BE49-F238E27FC236}">
                    <a16:creationId xmlns:a16="http://schemas.microsoft.com/office/drawing/2014/main" id="{80EC794F-06E5-C440-B28E-06EFCF42AC73}"/>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9" name="Freeform 38">
                <a:extLst>
                  <a:ext uri="{FF2B5EF4-FFF2-40B4-BE49-F238E27FC236}">
                    <a16:creationId xmlns:a16="http://schemas.microsoft.com/office/drawing/2014/main" id="{615B9127-EF05-FB47-8969-414A1766378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2" name="Freeform 6">
              <a:extLst>
                <a:ext uri="{FF2B5EF4-FFF2-40B4-BE49-F238E27FC236}">
                  <a16:creationId xmlns:a16="http://schemas.microsoft.com/office/drawing/2014/main" id="{4E043034-EC43-2241-8896-2BA86CD7995D}"/>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40" name="Rectangle 4">
            <a:extLst>
              <a:ext uri="{FF2B5EF4-FFF2-40B4-BE49-F238E27FC236}">
                <a16:creationId xmlns:a16="http://schemas.microsoft.com/office/drawing/2014/main" id="{A424C76B-B20A-BF40-BBAC-285AD907AC9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42" name="Text Placeholder 16">
            <a:extLst>
              <a:ext uri="{FF2B5EF4-FFF2-40B4-BE49-F238E27FC236}">
                <a16:creationId xmlns:a16="http://schemas.microsoft.com/office/drawing/2014/main" id="{E2AD7E11-94E1-984F-8CCD-770A102CD3C6}"/>
              </a:ext>
            </a:extLst>
          </p:cNvPr>
          <p:cNvSpPr>
            <a:spLocks noGrp="1"/>
          </p:cNvSpPr>
          <p:nvPr>
            <p:ph type="body" sz="quarter" idx="13" hasCustomPrompt="1"/>
          </p:nvPr>
        </p:nvSpPr>
        <p:spPr>
          <a:xfrm>
            <a:off x="3414713" y="2905125"/>
            <a:ext cx="2576512"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3" name="Text Placeholder 18">
            <a:extLst>
              <a:ext uri="{FF2B5EF4-FFF2-40B4-BE49-F238E27FC236}">
                <a16:creationId xmlns:a16="http://schemas.microsoft.com/office/drawing/2014/main" id="{3949089B-9CE0-8C42-A85F-57D2D52A8E5E}"/>
              </a:ext>
            </a:extLst>
          </p:cNvPr>
          <p:cNvSpPr>
            <a:spLocks noGrp="1"/>
          </p:cNvSpPr>
          <p:nvPr>
            <p:ph type="body" sz="quarter" idx="14" hasCustomPrompt="1"/>
          </p:nvPr>
        </p:nvSpPr>
        <p:spPr>
          <a:xfrm>
            <a:off x="6256338" y="2905125"/>
            <a:ext cx="2695575" cy="1679574"/>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4" name="Text Placeholder 14">
            <a:extLst>
              <a:ext uri="{FF2B5EF4-FFF2-40B4-BE49-F238E27FC236}">
                <a16:creationId xmlns:a16="http://schemas.microsoft.com/office/drawing/2014/main" id="{3819789C-6A88-6F40-AFC6-E402BF814A68}"/>
              </a:ext>
            </a:extLst>
          </p:cNvPr>
          <p:cNvSpPr>
            <a:spLocks noGrp="1"/>
          </p:cNvSpPr>
          <p:nvPr>
            <p:ph type="body" sz="quarter" idx="12" hasCustomPrompt="1"/>
          </p:nvPr>
        </p:nvSpPr>
        <p:spPr>
          <a:xfrm>
            <a:off x="542925" y="2905125"/>
            <a:ext cx="2576513"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032049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5"/>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4">
              <a:alpha val="50000"/>
            </a:schemeClr>
          </a:solidFill>
          <a:ln w="20071" cap="flat">
            <a:noFill/>
            <a:prstDash val="solid"/>
            <a:miter/>
          </a:ln>
        </p:spPr>
        <p:txBody>
          <a:bodyPr rtlCol="0" anchor="ctr"/>
          <a:lstStyle/>
          <a:p>
            <a:endParaRPr lang="en-US"/>
          </a:p>
        </p:txBody>
      </p:sp>
      <p:grpSp>
        <p:nvGrpSpPr>
          <p:cNvPr id="68" name="Group 67">
            <a:extLst>
              <a:ext uri="{FF2B5EF4-FFF2-40B4-BE49-F238E27FC236}">
                <a16:creationId xmlns:a16="http://schemas.microsoft.com/office/drawing/2014/main" id="{2C8D71F1-F450-3540-B0DB-5E198AFD6884}"/>
              </a:ext>
            </a:extLst>
          </p:cNvPr>
          <p:cNvGrpSpPr/>
          <p:nvPr userDrawn="1"/>
        </p:nvGrpSpPr>
        <p:grpSpPr>
          <a:xfrm>
            <a:off x="282292" y="2563081"/>
            <a:ext cx="3178762" cy="580089"/>
            <a:chOff x="5098310" y="621568"/>
            <a:chExt cx="1477115" cy="269557"/>
          </a:xfrm>
          <a:gradFill>
            <a:gsLst>
              <a:gs pos="18000">
                <a:schemeClr val="accent4">
                  <a:alpha val="8000"/>
                </a:schemeClr>
              </a:gs>
              <a:gs pos="48000">
                <a:schemeClr val="accent4">
                  <a:alpha val="47000"/>
                </a:schemeClr>
              </a:gs>
              <a:gs pos="78000">
                <a:schemeClr val="accent4"/>
              </a:gs>
            </a:gsLst>
            <a:lin ang="600000" scaled="0"/>
          </a:gradFill>
        </p:grpSpPr>
        <p:sp>
          <p:nvSpPr>
            <p:cNvPr id="69" name="Freeform 68">
              <a:extLst>
                <a:ext uri="{FF2B5EF4-FFF2-40B4-BE49-F238E27FC236}">
                  <a16:creationId xmlns:a16="http://schemas.microsoft.com/office/drawing/2014/main" id="{6E61787F-F6EE-7A4C-BEC3-3F8FB657CA58}"/>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96B83B50-0CCF-A845-A364-EA85E6261AFF}"/>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D454FE6A-A3E3-664E-A4C7-74EAC738E1FE}"/>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8D479E64-D1F6-B047-94D5-E82B46763710}"/>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9D6FCB8E-2ABB-764A-9A10-2B11150949E3}"/>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gr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6"/>
            <a:ext cx="1128042" cy="207621"/>
            <a:chOff x="4467257" y="275609"/>
            <a:chExt cx="1102102" cy="202847"/>
          </a:xfrm>
          <a:solidFill>
            <a:schemeClr val="accent3"/>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4" y="531813"/>
            <a:ext cx="4204117" cy="3983038"/>
          </a:xfrm>
        </p:spPr>
        <p:txBody>
          <a:bodyPr anchor="ctr">
            <a:noAutofit/>
          </a:bodyPr>
          <a:lstStyle>
            <a:lvl1pPr marL="238125" indent="-238125">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8" y="1765818"/>
            <a:ext cx="2145139" cy="667875"/>
          </a:xfrm>
          <a:prstGeom prst="rect">
            <a:avLst/>
          </a:prstGeom>
        </p:spPr>
        <p:txBody>
          <a:bodyPr wrap="none">
            <a:noAutofit/>
          </a:bodyPr>
          <a:lstStyle/>
          <a:p>
            <a:pPr algn="l" defTabSz="684213" rtl="0" eaLnBrk="1" fontAlgn="base" hangingPunct="1">
              <a:lnSpc>
                <a:spcPct val="85000"/>
              </a:lnSpc>
              <a:spcBef>
                <a:spcPct val="0"/>
              </a:spcBef>
              <a:spcAft>
                <a:spcPct val="0"/>
              </a:spcAft>
            </a:pPr>
            <a:r>
              <a:rPr lang="en-US" sz="4400" b="0" i="0" u="none" kern="1200" baseline="0">
                <a:solidFill>
                  <a:schemeClr val="bg1"/>
                </a:solidFill>
                <a:latin typeface="+mj-lt"/>
                <a:cs typeface="CiscoSansTT Thin" charset="0"/>
              </a:rPr>
              <a:t>Agenda</a:t>
            </a:r>
          </a:p>
        </p:txBody>
      </p:sp>
    </p:spTree>
    <p:extLst>
      <p:ext uri="{BB962C8B-B14F-4D97-AF65-F5344CB8AC3E}">
        <p14:creationId xmlns:p14="http://schemas.microsoft.com/office/powerpoint/2010/main" val="82203720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Agenda, Numbered">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37BE2A8-1232-7B42-A8FF-8C01F6C217FF}"/>
              </a:ext>
            </a:extLst>
          </p:cNvPr>
          <p:cNvSpPr>
            <a:spLocks noGrp="1"/>
          </p:cNvSpPr>
          <p:nvPr>
            <p:ph type="body" sz="quarter" idx="11" hasCustomPrompt="1"/>
          </p:nvPr>
        </p:nvSpPr>
        <p:spPr>
          <a:xfrm>
            <a:off x="4557556" y="762000"/>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one here</a:t>
            </a:r>
          </a:p>
        </p:txBody>
      </p:sp>
      <p:sp>
        <p:nvSpPr>
          <p:cNvPr id="8" name="Text Placeholder 2">
            <a:extLst>
              <a:ext uri="{FF2B5EF4-FFF2-40B4-BE49-F238E27FC236}">
                <a16:creationId xmlns:a16="http://schemas.microsoft.com/office/drawing/2014/main" id="{59CFFCD8-D895-2840-9936-4EC96F042079}"/>
              </a:ext>
            </a:extLst>
          </p:cNvPr>
          <p:cNvSpPr>
            <a:spLocks noGrp="1" noChangeAspect="1"/>
          </p:cNvSpPr>
          <p:nvPr>
            <p:ph type="body" sz="quarter" idx="12" hasCustomPrompt="1"/>
          </p:nvPr>
        </p:nvSpPr>
        <p:spPr>
          <a:xfrm>
            <a:off x="3967067" y="1550565"/>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2</a:t>
            </a:r>
          </a:p>
        </p:txBody>
      </p:sp>
      <p:sp>
        <p:nvSpPr>
          <p:cNvPr id="9" name="Text Placeholder 4">
            <a:extLst>
              <a:ext uri="{FF2B5EF4-FFF2-40B4-BE49-F238E27FC236}">
                <a16:creationId xmlns:a16="http://schemas.microsoft.com/office/drawing/2014/main" id="{0DAA98AF-256D-EB4F-8CD2-9F318B8F4F3A}"/>
              </a:ext>
            </a:extLst>
          </p:cNvPr>
          <p:cNvSpPr>
            <a:spLocks noGrp="1"/>
          </p:cNvSpPr>
          <p:nvPr>
            <p:ph type="body" sz="quarter" idx="13" hasCustomPrompt="1"/>
          </p:nvPr>
        </p:nvSpPr>
        <p:spPr>
          <a:xfrm>
            <a:off x="4557556" y="1518924"/>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two here</a:t>
            </a:r>
          </a:p>
        </p:txBody>
      </p:sp>
      <p:sp>
        <p:nvSpPr>
          <p:cNvPr id="10" name="Text Placeholder 2">
            <a:extLst>
              <a:ext uri="{FF2B5EF4-FFF2-40B4-BE49-F238E27FC236}">
                <a16:creationId xmlns:a16="http://schemas.microsoft.com/office/drawing/2014/main" id="{BF117D28-EE20-D346-B679-B380D9B9E3C2}"/>
              </a:ext>
            </a:extLst>
          </p:cNvPr>
          <p:cNvSpPr>
            <a:spLocks noGrp="1" noChangeAspect="1"/>
          </p:cNvSpPr>
          <p:nvPr>
            <p:ph type="body" sz="quarter" idx="14" hasCustomPrompt="1"/>
          </p:nvPr>
        </p:nvSpPr>
        <p:spPr>
          <a:xfrm>
            <a:off x="3975160" y="2307489"/>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3</a:t>
            </a:r>
          </a:p>
        </p:txBody>
      </p:sp>
      <p:sp>
        <p:nvSpPr>
          <p:cNvPr id="11" name="Text Placeholder 4">
            <a:extLst>
              <a:ext uri="{FF2B5EF4-FFF2-40B4-BE49-F238E27FC236}">
                <a16:creationId xmlns:a16="http://schemas.microsoft.com/office/drawing/2014/main" id="{CEAB2726-8CF0-0542-A39A-261B71A478C0}"/>
              </a:ext>
            </a:extLst>
          </p:cNvPr>
          <p:cNvSpPr>
            <a:spLocks noGrp="1"/>
          </p:cNvSpPr>
          <p:nvPr>
            <p:ph type="body" sz="quarter" idx="15" hasCustomPrompt="1"/>
          </p:nvPr>
        </p:nvSpPr>
        <p:spPr>
          <a:xfrm>
            <a:off x="4565649" y="2275848"/>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three here</a:t>
            </a:r>
          </a:p>
        </p:txBody>
      </p:sp>
      <p:sp>
        <p:nvSpPr>
          <p:cNvPr id="12" name="Text Placeholder 2">
            <a:extLst>
              <a:ext uri="{FF2B5EF4-FFF2-40B4-BE49-F238E27FC236}">
                <a16:creationId xmlns:a16="http://schemas.microsoft.com/office/drawing/2014/main" id="{C9D29933-A44D-5946-8923-9ADD691BDC19}"/>
              </a:ext>
            </a:extLst>
          </p:cNvPr>
          <p:cNvSpPr>
            <a:spLocks noGrp="1" noChangeAspect="1"/>
          </p:cNvSpPr>
          <p:nvPr>
            <p:ph type="body" sz="quarter" idx="16" hasCustomPrompt="1"/>
          </p:nvPr>
        </p:nvSpPr>
        <p:spPr>
          <a:xfrm>
            <a:off x="3975160" y="3064413"/>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4</a:t>
            </a:r>
          </a:p>
        </p:txBody>
      </p:sp>
      <p:sp>
        <p:nvSpPr>
          <p:cNvPr id="13" name="Text Placeholder 4">
            <a:extLst>
              <a:ext uri="{FF2B5EF4-FFF2-40B4-BE49-F238E27FC236}">
                <a16:creationId xmlns:a16="http://schemas.microsoft.com/office/drawing/2014/main" id="{B5205B15-675C-DC4D-B3A4-B878F48FA2E9}"/>
              </a:ext>
            </a:extLst>
          </p:cNvPr>
          <p:cNvSpPr>
            <a:spLocks noGrp="1"/>
          </p:cNvSpPr>
          <p:nvPr>
            <p:ph type="body" sz="quarter" idx="17" hasCustomPrompt="1"/>
          </p:nvPr>
        </p:nvSpPr>
        <p:spPr>
          <a:xfrm>
            <a:off x="4565649" y="3032772"/>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four here</a:t>
            </a:r>
          </a:p>
        </p:txBody>
      </p:sp>
      <p:sp>
        <p:nvSpPr>
          <p:cNvPr id="14" name="Text Placeholder 2">
            <a:extLst>
              <a:ext uri="{FF2B5EF4-FFF2-40B4-BE49-F238E27FC236}">
                <a16:creationId xmlns:a16="http://schemas.microsoft.com/office/drawing/2014/main" id="{5FE71A7A-C295-EE47-A81F-DADF384F94F0}"/>
              </a:ext>
            </a:extLst>
          </p:cNvPr>
          <p:cNvSpPr>
            <a:spLocks noGrp="1" noChangeAspect="1"/>
          </p:cNvSpPr>
          <p:nvPr>
            <p:ph type="body" sz="quarter" idx="18" hasCustomPrompt="1"/>
          </p:nvPr>
        </p:nvSpPr>
        <p:spPr>
          <a:xfrm>
            <a:off x="3975160" y="3821337"/>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5</a:t>
            </a:r>
          </a:p>
        </p:txBody>
      </p:sp>
      <p:sp>
        <p:nvSpPr>
          <p:cNvPr id="15" name="Text Placeholder 4">
            <a:extLst>
              <a:ext uri="{FF2B5EF4-FFF2-40B4-BE49-F238E27FC236}">
                <a16:creationId xmlns:a16="http://schemas.microsoft.com/office/drawing/2014/main" id="{0A1588BF-3282-6349-882A-3513E0EC56A9}"/>
              </a:ext>
            </a:extLst>
          </p:cNvPr>
          <p:cNvSpPr>
            <a:spLocks noGrp="1"/>
          </p:cNvSpPr>
          <p:nvPr>
            <p:ph type="body" sz="quarter" idx="19" hasCustomPrompt="1"/>
          </p:nvPr>
        </p:nvSpPr>
        <p:spPr>
          <a:xfrm>
            <a:off x="4565649" y="3789696"/>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five here</a:t>
            </a:r>
          </a:p>
        </p:txBody>
      </p:sp>
      <p:sp>
        <p:nvSpPr>
          <p:cNvPr id="16" name="Text Placeholder 2">
            <a:extLst>
              <a:ext uri="{FF2B5EF4-FFF2-40B4-BE49-F238E27FC236}">
                <a16:creationId xmlns:a16="http://schemas.microsoft.com/office/drawing/2014/main" id="{11B905EF-54DB-A54E-B9B5-BF39F47D01B6}"/>
              </a:ext>
            </a:extLst>
          </p:cNvPr>
          <p:cNvSpPr>
            <a:spLocks noGrp="1" noChangeAspect="1"/>
          </p:cNvSpPr>
          <p:nvPr>
            <p:ph type="body" sz="quarter" idx="20" hasCustomPrompt="1"/>
          </p:nvPr>
        </p:nvSpPr>
        <p:spPr>
          <a:xfrm>
            <a:off x="3967067" y="793641"/>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1</a:t>
            </a:r>
          </a:p>
        </p:txBody>
      </p:sp>
      <p:sp>
        <p:nvSpPr>
          <p:cNvPr id="17" name="Rectangle 16">
            <a:extLst>
              <a:ext uri="{FF2B5EF4-FFF2-40B4-BE49-F238E27FC236}">
                <a16:creationId xmlns:a16="http://schemas.microsoft.com/office/drawing/2014/main" id="{22BBA3CB-DC68-E148-9C76-14197C33FCCA}"/>
              </a:ext>
            </a:extLst>
          </p:cNvPr>
          <p:cNvSpPr/>
          <p:nvPr userDrawn="1"/>
        </p:nvSpPr>
        <p:spPr>
          <a:xfrm>
            <a:off x="461998" y="2109766"/>
            <a:ext cx="2145139" cy="667875"/>
          </a:xfrm>
          <a:prstGeom prst="rect">
            <a:avLst/>
          </a:prstGeom>
        </p:spPr>
        <p:txBody>
          <a:bodyPr wrap="none">
            <a:spAutoFit/>
          </a:bodyPr>
          <a:lstStyle/>
          <a:p>
            <a:pPr algn="l" defTabSz="684213" rtl="0" eaLnBrk="1" fontAlgn="base" hangingPunct="1">
              <a:lnSpc>
                <a:spcPct val="85000"/>
              </a:lnSpc>
              <a:spcBef>
                <a:spcPct val="0"/>
              </a:spcBef>
              <a:spcAft>
                <a:spcPct val="0"/>
              </a:spcAft>
            </a:pPr>
            <a:r>
              <a:rPr lang="en-US" sz="4400" b="0" i="0" u="none" kern="1200" baseline="0">
                <a:solidFill>
                  <a:schemeClr val="tx2"/>
                </a:solidFill>
                <a:latin typeface="+mj-lt"/>
                <a:cs typeface="CiscoSansTT Thin" charset="0"/>
              </a:rPr>
              <a:t>Agenda</a:t>
            </a:r>
          </a:p>
        </p:txBody>
      </p:sp>
    </p:spTree>
    <p:extLst>
      <p:ext uri="{BB962C8B-B14F-4D97-AF65-F5344CB8AC3E}">
        <p14:creationId xmlns:p14="http://schemas.microsoft.com/office/powerpoint/2010/main" val="338247318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grpSp>
        <p:nvGrpSpPr>
          <p:cNvPr id="5" name="Group 4">
            <a:extLst>
              <a:ext uri="{FF2B5EF4-FFF2-40B4-BE49-F238E27FC236}">
                <a16:creationId xmlns:a16="http://schemas.microsoft.com/office/drawing/2014/main" id="{E0C18C68-76F2-7B4F-A2E4-4A21D3224BA7}"/>
              </a:ext>
            </a:extLst>
          </p:cNvPr>
          <p:cNvGrpSpPr/>
          <p:nvPr userDrawn="1"/>
        </p:nvGrpSpPr>
        <p:grpSpPr>
          <a:xfrm>
            <a:off x="528763" y="4712481"/>
            <a:ext cx="921665" cy="191516"/>
            <a:chOff x="528763" y="4712481"/>
            <a:chExt cx="921665" cy="191516"/>
          </a:xfrm>
        </p:grpSpPr>
        <p:grpSp>
          <p:nvGrpSpPr>
            <p:cNvPr id="30" name="Graphic 2">
              <a:extLst>
                <a:ext uri="{FF2B5EF4-FFF2-40B4-BE49-F238E27FC236}">
                  <a16:creationId xmlns:a16="http://schemas.microsoft.com/office/drawing/2014/main" id="{39A79810-A55F-0242-B80D-20A5325D1DCE}"/>
                </a:ext>
              </a:extLst>
            </p:cNvPr>
            <p:cNvGrpSpPr/>
            <p:nvPr userDrawn="1"/>
          </p:nvGrpSpPr>
          <p:grpSpPr>
            <a:xfrm>
              <a:off x="943759" y="4781970"/>
              <a:ext cx="506669" cy="122027"/>
              <a:chOff x="4433187" y="1865375"/>
              <a:chExt cx="2298157" cy="553493"/>
            </a:xfrm>
            <a:solidFill>
              <a:schemeClr val="bg1"/>
            </a:solidFill>
          </p:grpSpPr>
          <p:sp>
            <p:nvSpPr>
              <p:cNvPr id="32" name="Freeform 31">
                <a:extLst>
                  <a:ext uri="{FF2B5EF4-FFF2-40B4-BE49-F238E27FC236}">
                    <a16:creationId xmlns:a16="http://schemas.microsoft.com/office/drawing/2014/main" id="{073254EC-FA26-9242-BAFF-6571659D733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3" name="Freeform 32">
                <a:extLst>
                  <a:ext uri="{FF2B5EF4-FFF2-40B4-BE49-F238E27FC236}">
                    <a16:creationId xmlns:a16="http://schemas.microsoft.com/office/drawing/2014/main" id="{6C4C6A03-7119-EF4C-9FDF-BDD0512926C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4" name="Freeform 33">
                <a:extLst>
                  <a:ext uri="{FF2B5EF4-FFF2-40B4-BE49-F238E27FC236}">
                    <a16:creationId xmlns:a16="http://schemas.microsoft.com/office/drawing/2014/main" id="{3CBDF11A-D892-5649-9F60-58340314A89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5" name="Freeform 34">
                <a:extLst>
                  <a:ext uri="{FF2B5EF4-FFF2-40B4-BE49-F238E27FC236}">
                    <a16:creationId xmlns:a16="http://schemas.microsoft.com/office/drawing/2014/main" id="{DB919C8A-1C58-7F4E-ABF7-731ABD5EC475}"/>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6" name="Freeform 35">
                <a:extLst>
                  <a:ext uri="{FF2B5EF4-FFF2-40B4-BE49-F238E27FC236}">
                    <a16:creationId xmlns:a16="http://schemas.microsoft.com/office/drawing/2014/main" id="{4E77FA71-6403-BB4F-90A0-C17BA329F08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7" name="Freeform 36">
                <a:extLst>
                  <a:ext uri="{FF2B5EF4-FFF2-40B4-BE49-F238E27FC236}">
                    <a16:creationId xmlns:a16="http://schemas.microsoft.com/office/drawing/2014/main" id="{3E14EF66-1B7F-F342-B02F-86A1A72198F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31" name="Freeform 6">
              <a:extLst>
                <a:ext uri="{FF2B5EF4-FFF2-40B4-BE49-F238E27FC236}">
                  <a16:creationId xmlns:a16="http://schemas.microsoft.com/office/drawing/2014/main" id="{9C6347D2-28AE-6248-BC23-EDE57B4A19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18283731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680636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394950967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8"/>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286378144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92203606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61870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67512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A191033-C6AD-7D41-94A8-7DA81521F0B2}"/>
              </a:ext>
            </a:extLst>
          </p:cNvPr>
          <p:cNvGrpSpPr/>
          <p:nvPr userDrawn="1"/>
        </p:nvGrpSpPr>
        <p:grpSpPr>
          <a:xfrm>
            <a:off x="6775137" y="2699871"/>
            <a:ext cx="2503325" cy="1246345"/>
            <a:chOff x="6775137" y="2699871"/>
            <a:chExt cx="2503325" cy="1246345"/>
          </a:xfrm>
        </p:grpSpPr>
        <p:sp>
          <p:nvSpPr>
            <p:cNvPr id="8" name="Freeform 2">
              <a:extLst>
                <a:ext uri="{FF2B5EF4-FFF2-40B4-BE49-F238E27FC236}">
                  <a16:creationId xmlns:a16="http://schemas.microsoft.com/office/drawing/2014/main" id="{4910B3A8-9E20-484E-B975-980C5FC275DC}"/>
                </a:ext>
              </a:extLst>
            </p:cNvPr>
            <p:cNvSpPr/>
            <p:nvPr userDrawn="1"/>
          </p:nvSpPr>
          <p:spPr>
            <a:xfrm>
              <a:off x="8148717"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grpSp>
          <p:nvGrpSpPr>
            <p:cNvPr id="9" name="Group 8">
              <a:extLst>
                <a:ext uri="{FF2B5EF4-FFF2-40B4-BE49-F238E27FC236}">
                  <a16:creationId xmlns:a16="http://schemas.microsoft.com/office/drawing/2014/main" id="{3CC08CF8-49FF-8845-AFD4-33321B68BDE2}"/>
                </a:ext>
              </a:extLst>
            </p:cNvPr>
            <p:cNvGrpSpPr/>
            <p:nvPr userDrawn="1"/>
          </p:nvGrpSpPr>
          <p:grpSpPr>
            <a:xfrm>
              <a:off x="6775137" y="2858206"/>
              <a:ext cx="2503325" cy="1088010"/>
              <a:chOff x="6775137" y="2858206"/>
              <a:chExt cx="2503325" cy="1088010"/>
            </a:xfrm>
          </p:grpSpPr>
          <p:sp>
            <p:nvSpPr>
              <p:cNvPr id="10" name="Rectangle 9">
                <a:extLst>
                  <a:ext uri="{FF2B5EF4-FFF2-40B4-BE49-F238E27FC236}">
                    <a16:creationId xmlns:a16="http://schemas.microsoft.com/office/drawing/2014/main" id="{D0E07E65-D562-994C-A646-6DC1F53EE5CE}"/>
                  </a:ext>
                </a:extLst>
              </p:cNvPr>
              <p:cNvSpPr/>
              <p:nvPr userDrawn="1"/>
            </p:nvSpPr>
            <p:spPr>
              <a:xfrm rot="18900000">
                <a:off x="7599626" y="3014198"/>
                <a:ext cx="776023" cy="776023"/>
              </a:xfrm>
              <a:prstGeom prst="rect">
                <a:avLst/>
              </a:prstGeom>
              <a:noFill/>
              <a:ln w="9525" cap="flat">
                <a:solidFill>
                  <a:schemeClr val="tx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1" name="Rectangle 10">
                <a:extLst>
                  <a:ext uri="{FF2B5EF4-FFF2-40B4-BE49-F238E27FC236}">
                    <a16:creationId xmlns:a16="http://schemas.microsoft.com/office/drawing/2014/main" id="{85348C5D-6C06-774E-BA10-9DFA4E198D63}"/>
                  </a:ext>
                </a:extLst>
              </p:cNvPr>
              <p:cNvSpPr/>
              <p:nvPr userDrawn="1"/>
            </p:nvSpPr>
            <p:spPr>
              <a:xfrm rot="18900000">
                <a:off x="8190452" y="2858206"/>
                <a:ext cx="1088010" cy="1088010"/>
              </a:xfrm>
              <a:prstGeom prst="rect">
                <a:avLst/>
              </a:prstGeom>
              <a:noFill/>
              <a:ln w="952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2" name="Oval 11">
                <a:extLst>
                  <a:ext uri="{FF2B5EF4-FFF2-40B4-BE49-F238E27FC236}">
                    <a16:creationId xmlns:a16="http://schemas.microsoft.com/office/drawing/2014/main" id="{E106A61C-4DE3-D946-93E9-0DFD637D8CC3}"/>
                  </a:ext>
                </a:extLst>
              </p:cNvPr>
              <p:cNvSpPr/>
              <p:nvPr userDrawn="1"/>
            </p:nvSpPr>
            <p:spPr>
              <a:xfrm>
                <a:off x="8099035" y="3252229"/>
                <a:ext cx="293298" cy="293298"/>
              </a:xfrm>
              <a:prstGeom prst="ellipse">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3" name="Oval 12">
                <a:extLst>
                  <a:ext uri="{FF2B5EF4-FFF2-40B4-BE49-F238E27FC236}">
                    <a16:creationId xmlns:a16="http://schemas.microsoft.com/office/drawing/2014/main" id="{9B31B57F-558A-D243-AACC-D218062A4ADA}"/>
                  </a:ext>
                </a:extLst>
              </p:cNvPr>
              <p:cNvSpPr/>
              <p:nvPr userDrawn="1"/>
            </p:nvSpPr>
            <p:spPr>
              <a:xfrm>
                <a:off x="6775137" y="3105509"/>
                <a:ext cx="599350" cy="599350"/>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grpSp>
      </p:grpSp>
    </p:spTree>
    <p:extLst>
      <p:ext uri="{BB962C8B-B14F-4D97-AF65-F5344CB8AC3E}">
        <p14:creationId xmlns:p14="http://schemas.microsoft.com/office/powerpoint/2010/main" val="82145689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6" y="1204180"/>
            <a:ext cx="577676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DF7EF750-8EA3-6642-A2DB-FD4BD9129B24}"/>
              </a:ext>
            </a:extLst>
          </p:cNvPr>
          <p:cNvGrpSpPr/>
          <p:nvPr userDrawn="1"/>
        </p:nvGrpSpPr>
        <p:grpSpPr>
          <a:xfrm>
            <a:off x="5909733" y="2217062"/>
            <a:ext cx="3234267" cy="2926438"/>
            <a:chOff x="5909733" y="2217062"/>
            <a:chExt cx="3234267" cy="2926438"/>
          </a:xfrm>
        </p:grpSpPr>
        <p:sp>
          <p:nvSpPr>
            <p:cNvPr id="3" name="Rectangle 2">
              <a:extLst>
                <a:ext uri="{FF2B5EF4-FFF2-40B4-BE49-F238E27FC236}">
                  <a16:creationId xmlns:a16="http://schemas.microsoft.com/office/drawing/2014/main" id="{BF4A979F-DFCD-244E-A909-2EF02D9F3A9F}"/>
                </a:ext>
              </a:extLst>
            </p:cNvPr>
            <p:cNvSpPr/>
            <p:nvPr userDrawn="1"/>
          </p:nvSpPr>
          <p:spPr>
            <a:xfrm>
              <a:off x="7484533" y="4360333"/>
              <a:ext cx="1659467" cy="7831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7678457C-68A1-D84C-8979-60A5B22AD826}"/>
                </a:ext>
              </a:extLst>
            </p:cNvPr>
            <p:cNvGrpSpPr/>
            <p:nvPr userDrawn="1"/>
          </p:nvGrpSpPr>
          <p:grpSpPr>
            <a:xfrm>
              <a:off x="5909733" y="2217062"/>
              <a:ext cx="3234267" cy="2926438"/>
              <a:chOff x="5909733" y="2217062"/>
              <a:chExt cx="3234267" cy="2926438"/>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tx2"/>
              </a:solidFill>
              <a:ln>
                <a:noFill/>
              </a:ln>
            </p:spPr>
          </p:sp>
          <p:pic>
            <p:nvPicPr>
              <p:cNvPr id="7" name="Cisco Security - Working File_2-21.png" descr="Cisco Security - Working File_2-21.png">
                <a:extLst>
                  <a:ext uri="{FF2B5EF4-FFF2-40B4-BE49-F238E27FC236}">
                    <a16:creationId xmlns:a16="http://schemas.microsoft.com/office/drawing/2014/main" id="{CC6633C6-2C08-924F-9942-BCFA79B1EA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09733" y="2258847"/>
                <a:ext cx="3234267" cy="2884653"/>
              </a:xfrm>
              <a:prstGeom prst="rect">
                <a:avLst/>
              </a:prstGeom>
              <a:ln w="12700">
                <a:miter lim="400000"/>
              </a:ln>
            </p:spPr>
          </p:pic>
        </p:grpSp>
      </p:grpSp>
    </p:spTree>
    <p:extLst>
      <p:ext uri="{BB962C8B-B14F-4D97-AF65-F5344CB8AC3E}">
        <p14:creationId xmlns:p14="http://schemas.microsoft.com/office/powerpoint/2010/main" val="399088357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117432" y="1211179"/>
            <a:ext cx="4026568" cy="3932321"/>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76789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032469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0"/>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0"/>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024890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270061434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36028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4442"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10602983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668475"/>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7"/>
            <a:ext cx="8115300" cy="2811379"/>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hasCustomPrompt="1"/>
          </p:nvPr>
        </p:nvSpPr>
        <p:spPr>
          <a:xfrm>
            <a:off x="437767" y="404394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343072765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8" name="Text Placeholder 9">
            <a:extLst>
              <a:ext uri="{FF2B5EF4-FFF2-40B4-BE49-F238E27FC236}">
                <a16:creationId xmlns:a16="http://schemas.microsoft.com/office/drawing/2014/main" id="{9AA8906B-835B-4B43-B3AA-275E7D90DF27}"/>
              </a:ext>
            </a:extLst>
          </p:cNvPr>
          <p:cNvSpPr>
            <a:spLocks noGrp="1"/>
          </p:cNvSpPr>
          <p:nvPr>
            <p:ph type="body" sz="quarter" idx="11" hasCustomPrompt="1"/>
          </p:nvPr>
        </p:nvSpPr>
        <p:spPr>
          <a:xfrm>
            <a:off x="437767" y="404394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Tree>
    <p:extLst>
      <p:ext uri="{BB962C8B-B14F-4D97-AF65-F5344CB8AC3E}">
        <p14:creationId xmlns:p14="http://schemas.microsoft.com/office/powerpoint/2010/main" val="86622937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Half Page Bullet + Image – Midnight">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37766" y="1665182"/>
            <a:ext cx="3662024" cy="2849668"/>
          </a:xfrm>
          <a:prstGeom prst="rect">
            <a:avLst/>
          </a:prstGeom>
        </p:spPr>
        <p:txBody>
          <a:bodyPr vert="horz" lIns="91440" tIns="45720" rIns="91440" bIns="45720" rtlCol="0" anchor="t">
            <a:no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vl4pPr>
              <a:defRPr lang="en-GB" dirty="0">
                <a:solidFill>
                  <a:schemeClr val="bg1"/>
                </a:solidFill>
              </a:defRPr>
            </a:lvl4pPr>
            <a:lvl5pPr>
              <a:defRPr lang="en-US" dirty="0">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hasCustomPrompt="1"/>
          </p:nvPr>
        </p:nvSpPr>
        <p:spPr bwMode="auto">
          <a:xfrm>
            <a:off x="437766"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grpSp>
        <p:nvGrpSpPr>
          <p:cNvPr id="2" name="Group 1">
            <a:extLst>
              <a:ext uri="{FF2B5EF4-FFF2-40B4-BE49-F238E27FC236}">
                <a16:creationId xmlns:a16="http://schemas.microsoft.com/office/drawing/2014/main" id="{BC0590C9-C249-A149-B267-D2B7C7F46852}"/>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68DF1D2F-9299-BB46-B894-F37AD7F711E4}"/>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2041ECEB-AB79-374E-9772-8883AA85469B}"/>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18C819C5-8302-DC43-8E8E-2826AA2892D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D5482B27-5DB1-FE47-A0F6-3BDDFEB6290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40D89BE-4E04-0C4B-BB99-64A272A7E0F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E911CF-A02A-E94E-A149-E597C845D19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57E7A3C-CF89-7E40-BFDE-51B0E046E6B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09040E0C-5639-7141-8809-39C923A3333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3339651428"/>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Half Page + Bullets">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32793" y="1657350"/>
            <a:ext cx="3813048"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0" name="Text Placeholder 4">
            <a:extLst>
              <a:ext uri="{FF2B5EF4-FFF2-40B4-BE49-F238E27FC236}">
                <a16:creationId xmlns:a16="http://schemas.microsoft.com/office/drawing/2014/main" id="{B9D862F6-90F3-164B-8F46-E1EB10E16895}"/>
              </a:ext>
            </a:extLst>
          </p:cNvPr>
          <p:cNvSpPr>
            <a:spLocks noGrp="1"/>
          </p:cNvSpPr>
          <p:nvPr>
            <p:ph type="body" sz="quarter" idx="11" hasCustomPrompt="1"/>
          </p:nvPr>
        </p:nvSpPr>
        <p:spPr>
          <a:xfrm>
            <a:off x="4992272" y="416820"/>
            <a:ext cx="3749040" cy="4206240"/>
          </a:xfrm>
        </p:spPr>
        <p:txBody>
          <a:bodyPr anchor="ct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6" name="Group 25">
            <a:extLst>
              <a:ext uri="{FF2B5EF4-FFF2-40B4-BE49-F238E27FC236}">
                <a16:creationId xmlns:a16="http://schemas.microsoft.com/office/drawing/2014/main" id="{1DAD06F8-25F8-6546-8D9A-4825B919A45D}"/>
              </a:ext>
            </a:extLst>
          </p:cNvPr>
          <p:cNvGrpSpPr/>
          <p:nvPr userDrawn="1"/>
        </p:nvGrpSpPr>
        <p:grpSpPr>
          <a:xfrm>
            <a:off x="528763" y="4712481"/>
            <a:ext cx="921665" cy="191516"/>
            <a:chOff x="528763" y="4712481"/>
            <a:chExt cx="921665" cy="191516"/>
          </a:xfrm>
        </p:grpSpPr>
        <p:grpSp>
          <p:nvGrpSpPr>
            <p:cNvPr id="27" name="Graphic 2">
              <a:extLst>
                <a:ext uri="{FF2B5EF4-FFF2-40B4-BE49-F238E27FC236}">
                  <a16:creationId xmlns:a16="http://schemas.microsoft.com/office/drawing/2014/main" id="{47AB4B06-0838-2B4A-B203-3855C1A0DF48}"/>
                </a:ext>
              </a:extLst>
            </p:cNvPr>
            <p:cNvGrpSpPr/>
            <p:nvPr userDrawn="1"/>
          </p:nvGrpSpPr>
          <p:grpSpPr>
            <a:xfrm>
              <a:off x="943759" y="4781970"/>
              <a:ext cx="506669" cy="122027"/>
              <a:chOff x="4433187" y="1865375"/>
              <a:chExt cx="2298157" cy="553493"/>
            </a:xfrm>
            <a:solidFill>
              <a:schemeClr val="accent2"/>
            </a:solidFill>
          </p:grpSpPr>
          <p:sp>
            <p:nvSpPr>
              <p:cNvPr id="29" name="Freeform 28">
                <a:extLst>
                  <a:ext uri="{FF2B5EF4-FFF2-40B4-BE49-F238E27FC236}">
                    <a16:creationId xmlns:a16="http://schemas.microsoft.com/office/drawing/2014/main" id="{8476C063-CE51-274D-854C-2ABB9F9E34B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DED165DC-9D74-2942-82C6-7A6FBA4ACA0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1" name="Freeform 30">
                <a:extLst>
                  <a:ext uri="{FF2B5EF4-FFF2-40B4-BE49-F238E27FC236}">
                    <a16:creationId xmlns:a16="http://schemas.microsoft.com/office/drawing/2014/main" id="{543A35BE-1472-3940-A5F1-96184E30E9FF}"/>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2" name="Freeform 31">
                <a:extLst>
                  <a:ext uri="{FF2B5EF4-FFF2-40B4-BE49-F238E27FC236}">
                    <a16:creationId xmlns:a16="http://schemas.microsoft.com/office/drawing/2014/main" id="{F3CA5FC1-89F6-1146-BC3E-2B2459E882C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3" name="Freeform 32">
                <a:extLst>
                  <a:ext uri="{FF2B5EF4-FFF2-40B4-BE49-F238E27FC236}">
                    <a16:creationId xmlns:a16="http://schemas.microsoft.com/office/drawing/2014/main" id="{50E7D5D7-B573-CC41-B9B6-368DA785B63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4" name="Freeform 33">
                <a:extLst>
                  <a:ext uri="{FF2B5EF4-FFF2-40B4-BE49-F238E27FC236}">
                    <a16:creationId xmlns:a16="http://schemas.microsoft.com/office/drawing/2014/main" id="{165715DD-41EE-484A-A4B7-3839BE500003}"/>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8" name="Freeform 6">
              <a:extLst>
                <a:ext uri="{FF2B5EF4-FFF2-40B4-BE49-F238E27FC236}">
                  <a16:creationId xmlns:a16="http://schemas.microsoft.com/office/drawing/2014/main" id="{47F8CF69-9B67-B347-B50E-29918D40CEF2}"/>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945532571"/>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89525" y="4062350"/>
            <a:ext cx="3559175" cy="525145"/>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1" name="Group 20">
            <a:extLst>
              <a:ext uri="{FF2B5EF4-FFF2-40B4-BE49-F238E27FC236}">
                <a16:creationId xmlns:a16="http://schemas.microsoft.com/office/drawing/2014/main" id="{DCBA97EC-DC87-8F43-8EAC-8682BB0AAC65}"/>
              </a:ext>
            </a:extLst>
          </p:cNvPr>
          <p:cNvGrpSpPr/>
          <p:nvPr userDrawn="1"/>
        </p:nvGrpSpPr>
        <p:grpSpPr>
          <a:xfrm>
            <a:off x="528763" y="4712481"/>
            <a:ext cx="921665" cy="191516"/>
            <a:chOff x="528763" y="4712481"/>
            <a:chExt cx="921665" cy="191516"/>
          </a:xfrm>
        </p:grpSpPr>
        <p:grpSp>
          <p:nvGrpSpPr>
            <p:cNvPr id="22" name="Graphic 2">
              <a:extLst>
                <a:ext uri="{FF2B5EF4-FFF2-40B4-BE49-F238E27FC236}">
                  <a16:creationId xmlns:a16="http://schemas.microsoft.com/office/drawing/2014/main" id="{0A868ED3-D8D2-5148-8602-57D85BD6C763}"/>
                </a:ext>
              </a:extLst>
            </p:cNvPr>
            <p:cNvGrpSpPr/>
            <p:nvPr userDrawn="1"/>
          </p:nvGrpSpPr>
          <p:grpSpPr>
            <a:xfrm>
              <a:off x="943759" y="4781970"/>
              <a:ext cx="506669" cy="122027"/>
              <a:chOff x="4433187" y="1865375"/>
              <a:chExt cx="2298157" cy="553493"/>
            </a:xfrm>
            <a:solidFill>
              <a:schemeClr val="accent2"/>
            </a:solidFill>
          </p:grpSpPr>
          <p:sp>
            <p:nvSpPr>
              <p:cNvPr id="24" name="Freeform 23">
                <a:extLst>
                  <a:ext uri="{FF2B5EF4-FFF2-40B4-BE49-F238E27FC236}">
                    <a16:creationId xmlns:a16="http://schemas.microsoft.com/office/drawing/2014/main" id="{42207790-DE20-024A-91A0-5CB16F2FCDF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4CD29DC9-C0A4-6E45-B41F-454464C332A9}"/>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B8D22142-4BAD-734E-B82B-3CA87EDCF153}"/>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53A38F9E-2717-5743-9AD4-A12C0F685AE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A519DDBC-35AB-414F-BFA3-9B6AA451638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94F96208-9366-1A4A-9D95-02B65A9226DB}"/>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3" name="Freeform 6">
              <a:extLst>
                <a:ext uri="{FF2B5EF4-FFF2-40B4-BE49-F238E27FC236}">
                  <a16:creationId xmlns:a16="http://schemas.microsoft.com/office/drawing/2014/main" id="{199B466D-BCF1-1B45-851B-5253D47BCA1B}"/>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269401757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7" name="Group 16">
            <a:extLst>
              <a:ext uri="{FF2B5EF4-FFF2-40B4-BE49-F238E27FC236}">
                <a16:creationId xmlns:a16="http://schemas.microsoft.com/office/drawing/2014/main" id="{507F7347-F465-3C4B-BF6D-CDABE1E16978}"/>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33DA2E5D-B662-F044-8CCB-B3A36AA9D832}"/>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C4FD3886-99D7-5C49-8296-0E3B89BE6C0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12115675-CCB1-A541-B856-D08C84D58407}"/>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795C995-3418-064F-980D-EB8A6147F9E2}"/>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A6B01082-7C6C-EF4C-B97D-5DA222F1C68D}"/>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14C1779E-96ED-BD4E-ACAE-6AFF818F341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B4E986-3B04-4749-8B5B-5C8BE61A135C}"/>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7A57E6B4-EC5B-BC49-A2FC-E1358D2FC490}"/>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00892945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E3004A4-BEFF-624C-AD44-0BC80F87CDD5}"/>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1C555E82-DEF0-5545-AA4C-194B39F76960}"/>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7E5E1398-4477-154B-BFA9-65D38AF68FD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E2FE2F0F-2535-AC4A-AE56-0FD6486EB62F}"/>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006715C-7CA3-A94E-A293-4091A665A111}"/>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F86F0BC-3CC7-E848-85D2-922F6D4B4C7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CFFC9762-B888-E04D-977A-1038FFDDCFA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7EC6E64B-0A56-2949-8811-57F0285505F2}"/>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ABAADAB7-B8AA-9A48-9ABF-8849D61C60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324118231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Half Page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1166EBE-88FA-EB4E-B319-6D80EAE1EAD6}"/>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2A92F6DF-DB02-1944-A9E9-38FB8220E54C}"/>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881867B4-EC46-994B-800F-45749C25DB4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C6666E4-CCC5-C64F-A737-861EF5FBB6C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A7A82050-4629-6646-952D-AB22F1DD54F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EFBF3BB4-10A9-CE47-99BF-B4E61ACF4A2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2133A13-3E58-5443-BD8E-EE653827C87E}"/>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B727C51C-C1CD-8C45-A8F3-6512070CD05F}"/>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D2DD5BF5-0ADA-3D4C-B1EF-0E06A1C85621}"/>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924237046"/>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Half Page 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8" name="Group 17">
            <a:extLst>
              <a:ext uri="{FF2B5EF4-FFF2-40B4-BE49-F238E27FC236}">
                <a16:creationId xmlns:a16="http://schemas.microsoft.com/office/drawing/2014/main" id="{AA502BB4-D8B0-2E4E-892D-9EABB7FE0BD9}"/>
              </a:ext>
            </a:extLst>
          </p:cNvPr>
          <p:cNvGrpSpPr/>
          <p:nvPr userDrawn="1"/>
        </p:nvGrpSpPr>
        <p:grpSpPr>
          <a:xfrm>
            <a:off x="528763" y="4712481"/>
            <a:ext cx="921665" cy="191516"/>
            <a:chOff x="528763" y="4712481"/>
            <a:chExt cx="921665" cy="191516"/>
          </a:xfrm>
        </p:grpSpPr>
        <p:grpSp>
          <p:nvGrpSpPr>
            <p:cNvPr id="19" name="Graphic 2">
              <a:extLst>
                <a:ext uri="{FF2B5EF4-FFF2-40B4-BE49-F238E27FC236}">
                  <a16:creationId xmlns:a16="http://schemas.microsoft.com/office/drawing/2014/main" id="{33DDCFA9-7225-DC4A-9DC3-2DA31BF5BC21}"/>
                </a:ext>
              </a:extLst>
            </p:cNvPr>
            <p:cNvGrpSpPr/>
            <p:nvPr userDrawn="1"/>
          </p:nvGrpSpPr>
          <p:grpSpPr>
            <a:xfrm>
              <a:off x="943759" y="4781970"/>
              <a:ext cx="506669" cy="122027"/>
              <a:chOff x="4433187" y="1865375"/>
              <a:chExt cx="2298157" cy="553493"/>
            </a:xfrm>
            <a:solidFill>
              <a:schemeClr val="accent2"/>
            </a:solidFill>
          </p:grpSpPr>
          <p:sp>
            <p:nvSpPr>
              <p:cNvPr id="21" name="Freeform 20">
                <a:extLst>
                  <a:ext uri="{FF2B5EF4-FFF2-40B4-BE49-F238E27FC236}">
                    <a16:creationId xmlns:a16="http://schemas.microsoft.com/office/drawing/2014/main" id="{EB413082-537F-8145-A37F-82C03318DD6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4678165-065A-DC4F-ACBE-6C2714C4895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95B8E60-C316-3B48-A8AE-DAA3D5B481C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241A648D-1490-DD41-8489-3B1EACB076E1}"/>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5383BD0-093A-6949-A81E-9A67F18E1196}"/>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DD1755B-DD79-2B4A-BAF6-767182E7F3A6}"/>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0" name="Freeform 6">
              <a:extLst>
                <a:ext uri="{FF2B5EF4-FFF2-40B4-BE49-F238E27FC236}">
                  <a16:creationId xmlns:a16="http://schemas.microsoft.com/office/drawing/2014/main" id="{A6E71D06-856D-1D41-8E6F-15C356085B39}"/>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198121636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8999363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D8C6793-7535-A74F-A95E-EDAF265D9F12}"/>
              </a:ext>
            </a:extLst>
          </p:cNvPr>
          <p:cNvGrpSpPr/>
          <p:nvPr userDrawn="1"/>
        </p:nvGrpSpPr>
        <p:grpSpPr>
          <a:xfrm>
            <a:off x="2502974"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2047575624"/>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2"/>
        </a:solidFill>
        <a:effectLst/>
      </p:bgPr>
    </p:bg>
    <p:spTree>
      <p:nvGrpSpPr>
        <p:cNvPr id="1" name=""/>
        <p:cNvGrpSpPr/>
        <p:nvPr/>
      </p:nvGrpSpPr>
      <p:grpSpPr>
        <a:xfrm>
          <a:off x="0" y="0"/>
          <a:ext cx="0" cy="0"/>
          <a:chOff x="0" y="0"/>
          <a:chExt cx="0" cy="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rgbClr val="FFFFFF"/>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solidFill>
              <a:schemeClr val="bg1"/>
            </a:solid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solidFill>
              <a:schemeClr val="bg1"/>
            </a:solid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solidFill>
              <a:schemeClr val="bg1"/>
            </a:solid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solidFill>
              <a:schemeClr val="bg1"/>
            </a:solid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solidFill>
              <a:schemeClr val="bg1"/>
            </a:solid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solidFill>
              <a:schemeClr val="bg1"/>
            </a:solid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63376514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Closing – White (PRINT ONLY)">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B0E75D-41E2-A44B-AAB4-2AA7F84DA851}"/>
              </a:ext>
            </a:extLst>
          </p:cNvPr>
          <p:cNvGrpSpPr/>
          <p:nvPr userDrawn="1"/>
        </p:nvGrpSpPr>
        <p:grpSpPr>
          <a:xfrm>
            <a:off x="2502974"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4" name="Text Placeholder 3">
            <a:extLst>
              <a:ext uri="{FF2B5EF4-FFF2-40B4-BE49-F238E27FC236}">
                <a16:creationId xmlns:a16="http://schemas.microsoft.com/office/drawing/2014/main" id="{C6DC9EFB-77A4-054B-A73E-9D7FDD54DA07}"/>
              </a:ext>
            </a:extLst>
          </p:cNvPr>
          <p:cNvSpPr>
            <a:spLocks noGrp="1"/>
          </p:cNvSpPr>
          <p:nvPr>
            <p:ph type="body" sz="quarter" idx="10" hasCustomPrompt="1"/>
          </p:nvPr>
        </p:nvSpPr>
        <p:spPr>
          <a:xfrm>
            <a:off x="2811003" y="352174"/>
            <a:ext cx="3521995" cy="498475"/>
          </a:xfrm>
        </p:spPr>
        <p:txBody>
          <a:bodyPr/>
          <a:lstStyle>
            <a:lvl1pPr marL="0" indent="0" algn="ctr">
              <a:buFontTx/>
              <a:buNone/>
              <a:defRPr sz="1600">
                <a:solidFill>
                  <a:schemeClr val="bg1">
                    <a:lumMod val="75000"/>
                  </a:schemeClr>
                </a:solidFill>
              </a:defRPr>
            </a:lvl1pPr>
            <a:lvl2pPr marL="171450" indent="0">
              <a:buFontTx/>
              <a:buNone/>
              <a:defRPr>
                <a:solidFill>
                  <a:schemeClr val="bg1">
                    <a:lumMod val="75000"/>
                  </a:schemeClr>
                </a:solidFill>
              </a:defRPr>
            </a:lvl2pPr>
            <a:lvl3pPr marL="400050" indent="0">
              <a:buFontTx/>
              <a:buNone/>
              <a:defRPr>
                <a:solidFill>
                  <a:schemeClr val="bg1">
                    <a:lumMod val="75000"/>
                  </a:schemeClr>
                </a:solidFill>
              </a:defRPr>
            </a:lvl3pPr>
            <a:lvl4pPr marL="571500" indent="0">
              <a:buFontTx/>
              <a:buNone/>
              <a:defRPr>
                <a:solidFill>
                  <a:schemeClr val="bg1">
                    <a:lumMod val="75000"/>
                  </a:schemeClr>
                </a:solidFill>
              </a:defRPr>
            </a:lvl4pPr>
            <a:lvl5pPr marL="687388" indent="0">
              <a:buFontTx/>
              <a:buNone/>
              <a:defRPr>
                <a:solidFill>
                  <a:schemeClr val="bg1">
                    <a:lumMod val="75000"/>
                  </a:schemeClr>
                </a:solidFill>
              </a:defRPr>
            </a:lvl5pPr>
          </a:lstStyle>
          <a:p>
            <a:pPr lvl="0"/>
            <a:r>
              <a:rPr lang="en-US"/>
              <a:t>FOR PRINT ONLY</a:t>
            </a:r>
          </a:p>
        </p:txBody>
      </p:sp>
    </p:spTree>
    <p:extLst>
      <p:ext uri="{BB962C8B-B14F-4D97-AF65-F5344CB8AC3E}">
        <p14:creationId xmlns:p14="http://schemas.microsoft.com/office/powerpoint/2010/main" val="250596170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80726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244485865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0520195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7514"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2646015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109365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7407198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0355909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273639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40489186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67129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087884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9001518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950097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851989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07888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651128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699838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Illustration Slid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bg2"/>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chemeClr val="tx2"/>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8070426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4789539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579945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tx1"/>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65527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72824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220970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980883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7680889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674396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192927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572638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0089604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853440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2835762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376111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48213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725980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922241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2502474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White Title Only">
    <p:bg>
      <p:bgPr>
        <a:solidFill>
          <a:schemeClr val="tx2"/>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1616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White 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tx1"/>
                </a:solidFill>
              </a:defRPr>
            </a:lvl1pPr>
          </a:lstStyle>
          <a:p>
            <a:pPr lvl="0"/>
            <a:r>
              <a:rPr lang="en-GB"/>
              <a:t>Click to edit Master title style</a:t>
            </a:r>
          </a:p>
        </p:txBody>
      </p:sp>
    </p:spTree>
    <p:extLst>
      <p:ext uri="{BB962C8B-B14F-4D97-AF65-F5344CB8AC3E}">
        <p14:creationId xmlns:p14="http://schemas.microsoft.com/office/powerpoint/2010/main" val="16827082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3_White Title Only">
    <p:bg>
      <p:bgPr>
        <a:solidFill>
          <a:schemeClr val="tx1"/>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bg2"/>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363B6AB7-61E7-406A-9E98-1BE886EF78F1}"/>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8360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00050" y="3751761"/>
            <a:ext cx="8343900" cy="355482"/>
          </a:xfrm>
          <a:prstGeom prst="rect">
            <a:avLst/>
          </a:prstGeom>
        </p:spPr>
        <p:txBody>
          <a:bodyPr wrap="square" lIns="182880" tIns="45720" rIns="0" bIns="45720" anchor="b" anchorCtr="0">
            <a:spAutoFit/>
          </a:bodyPr>
          <a:lstStyle>
            <a:lvl1pPr marL="0" indent="0" algn="l">
              <a:buNone/>
              <a:defRPr sz="1800" b="0" i="0">
                <a:solidFill>
                  <a:srgbClr val="0D274D"/>
                </a:solidFill>
                <a:latin typeface="+mn-lt"/>
                <a:cs typeface="CiscoSansTT ExtraLight"/>
              </a:defRPr>
            </a:lvl1pPr>
            <a:lvl2pPr marL="342839" indent="0" algn="ctr">
              <a:buNone/>
              <a:defRPr>
                <a:solidFill>
                  <a:schemeClr val="tx1">
                    <a:tint val="75000"/>
                  </a:schemeClr>
                </a:solidFill>
              </a:defRPr>
            </a:lvl2pPr>
            <a:lvl3pPr marL="685686" indent="0" algn="ctr">
              <a:buNone/>
              <a:defRPr>
                <a:solidFill>
                  <a:schemeClr val="tx1">
                    <a:tint val="75000"/>
                  </a:schemeClr>
                </a:solidFill>
              </a:defRPr>
            </a:lvl3pPr>
            <a:lvl4pPr marL="1028528" indent="0" algn="ctr">
              <a:buNone/>
              <a:defRPr>
                <a:solidFill>
                  <a:schemeClr val="tx1">
                    <a:tint val="75000"/>
                  </a:schemeClr>
                </a:solidFill>
              </a:defRPr>
            </a:lvl4pPr>
            <a:lvl5pPr marL="1371373" indent="0" algn="ctr">
              <a:buNone/>
              <a:defRPr>
                <a:solidFill>
                  <a:schemeClr val="tx1">
                    <a:tint val="75000"/>
                  </a:schemeClr>
                </a:solidFill>
              </a:defRPr>
            </a:lvl5pPr>
            <a:lvl6pPr marL="1714211" indent="0" algn="ctr">
              <a:buNone/>
              <a:defRPr>
                <a:solidFill>
                  <a:schemeClr val="tx1">
                    <a:tint val="75000"/>
                  </a:schemeClr>
                </a:solidFill>
              </a:defRPr>
            </a:lvl6pPr>
            <a:lvl7pPr marL="2057059" indent="0" algn="ctr">
              <a:buNone/>
              <a:defRPr>
                <a:solidFill>
                  <a:schemeClr val="tx1">
                    <a:tint val="75000"/>
                  </a:schemeClr>
                </a:solidFill>
              </a:defRPr>
            </a:lvl7pPr>
            <a:lvl8pPr marL="2399900" indent="0" algn="ctr">
              <a:buNone/>
              <a:defRPr>
                <a:solidFill>
                  <a:schemeClr val="tx1">
                    <a:tint val="75000"/>
                  </a:schemeClr>
                </a:solidFill>
              </a:defRPr>
            </a:lvl8pPr>
            <a:lvl9pPr marL="27427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00050" y="4107243"/>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00050" y="4439626"/>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00050" y="3238791"/>
            <a:ext cx="8343900" cy="353174"/>
          </a:xfrm>
          <a:prstGeom prst="rect">
            <a:avLst/>
          </a:prstGeom>
        </p:spPr>
        <p:txBody>
          <a:bodyPr wrap="square" lIns="182880" tIns="45720" rIns="0" bIns="0">
            <a:spAutoFit/>
          </a:bodyPr>
          <a:lstStyle>
            <a:lvl1pPr marL="0" indent="0">
              <a:buFont typeface="Arial" panose="020B0604020202020204" pitchFamily="34" charset="0"/>
              <a:buNone/>
              <a:defRPr sz="2100" b="0" i="0" baseline="0">
                <a:solidFill>
                  <a:srgbClr val="0D274D"/>
                </a:solidFill>
                <a:latin typeface="+mj-lt"/>
                <a:cs typeface="CiscoSansTT ExtraLight"/>
              </a:defRPr>
            </a:lvl1pPr>
            <a:lvl2pPr marL="304766" indent="0">
              <a:buNone/>
              <a:defRPr/>
            </a:lvl2pPr>
            <a:lvl3pPr marL="427380" indent="0">
              <a:buNone/>
              <a:defRPr/>
            </a:lvl3pPr>
            <a:lvl4pPr marL="516668" indent="0">
              <a:buNone/>
              <a:defRPr/>
            </a:lvl4pPr>
            <a:lvl5pPr marL="601191" indent="0">
              <a:buNone/>
              <a:defRPr/>
            </a:lvl5pPr>
          </a:lstStyle>
          <a:p>
            <a:pPr lvl="0"/>
            <a:r>
              <a:rPr lang="en-GB"/>
              <a:t>Subtitle Goes Here</a:t>
            </a:r>
          </a:p>
        </p:txBody>
      </p:sp>
      <p:sp>
        <p:nvSpPr>
          <p:cNvPr id="20" name="Title 1"/>
          <p:cNvSpPr>
            <a:spLocks noGrp="1"/>
          </p:cNvSpPr>
          <p:nvPr>
            <p:ph type="ctrTitle" hasCustomPrompt="1"/>
          </p:nvPr>
        </p:nvSpPr>
        <p:spPr>
          <a:xfrm>
            <a:off x="400051" y="2674126"/>
            <a:ext cx="8340152" cy="560923"/>
          </a:xfrm>
          <a:prstGeom prst="rect">
            <a:avLst/>
          </a:prstGeom>
        </p:spPr>
        <p:txBody>
          <a:bodyPr anchor="b"/>
          <a:lstStyle>
            <a:lvl1pPr marL="0" indent="0" algn="l">
              <a:lnSpc>
                <a:spcPct val="90000"/>
              </a:lnSpc>
              <a:buFont typeface="Arial" panose="020B0604020202020204" pitchFamily="34" charset="0"/>
              <a:buNone/>
              <a:defRPr sz="4050" b="0" i="0" spc="0" baseline="0">
                <a:solidFill>
                  <a:srgbClr val="0D274D"/>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D27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005244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4914626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500" b="0" i="0" spc="0" baseline="0">
                <a:solidFill>
                  <a:srgbClr val="0D274D"/>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2797277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rgbClr val="1E447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50293942"/>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6806799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65308881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3359"/>
            <a:ext cx="8139112"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Edit Master text styles</a:t>
            </a:r>
          </a:p>
        </p:txBody>
      </p:sp>
    </p:spTree>
    <p:extLst>
      <p:ext uri="{BB962C8B-B14F-4D97-AF65-F5344CB8AC3E}">
        <p14:creationId xmlns:p14="http://schemas.microsoft.com/office/powerpoint/2010/main" val="167191031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3"/>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9"/>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Edit Master text styles</a:t>
            </a:r>
          </a:p>
        </p:txBody>
      </p:sp>
      <p:sp>
        <p:nvSpPr>
          <p:cNvPr id="5" name="Footer Placeholder 1">
            <a:extLst>
              <a:ext uri="{FF2B5EF4-FFF2-40B4-BE49-F238E27FC236}">
                <a16:creationId xmlns:a16="http://schemas.microsoft.com/office/drawing/2014/main" id="{40D33F0A-2E7A-4113-B6A1-A66C5AD9DCF3}"/>
              </a:ext>
            </a:extLst>
          </p:cNvPr>
          <p:cNvSpPr>
            <a:spLocks noGrp="1"/>
          </p:cNvSpPr>
          <p:nvPr>
            <p:ph type="ftr" sz="quarter" idx="3"/>
          </p:nvPr>
        </p:nvSpPr>
        <p:spPr>
          <a:xfrm>
            <a:off x="400050" y="4774354"/>
            <a:ext cx="2676214" cy="92333"/>
          </a:xfrm>
          <a:prstGeom prst="rect">
            <a:avLst/>
          </a:prstGeom>
        </p:spPr>
        <p:txBody>
          <a:bodyPr vert="horz" wrap="none" lIns="0" tIns="0" rIns="0" bIns="0" rtlCol="0" anchor="ctr">
            <a:spAutoFit/>
          </a:bodyPr>
          <a:lstStyle>
            <a:lvl1pPr marL="0" marR="0" indent="0" algn="l" defTabSz="685800" rtl="0" eaLnBrk="1" fontAlgn="auto" latinLnBrk="0" hangingPunct="1">
              <a:lnSpc>
                <a:spcPct val="100000"/>
              </a:lnSpc>
              <a:spcBef>
                <a:spcPts val="0"/>
              </a:spcBef>
              <a:spcAft>
                <a:spcPts val="0"/>
              </a:spcAft>
              <a:buClrTx/>
              <a:buSzTx/>
              <a:buFontTx/>
              <a:buNone/>
              <a:tabLst/>
              <a:defRPr lang="en-US" sz="600" kern="1200" spc="20" smtClean="0">
                <a:solidFill>
                  <a:srgbClr val="FFFFFF">
                    <a:lumMod val="65000"/>
                  </a:srgbClr>
                </a:solidFill>
                <a:latin typeface="+mn-lt"/>
                <a:ea typeface="+mn-ea"/>
                <a:cs typeface="CiscoSans Thin"/>
              </a:defRPr>
            </a:lvl1pPr>
          </a:lstStyle>
          <a:p>
            <a:pPr>
              <a:defRPr/>
            </a:pPr>
            <a:r>
              <a:rPr lang="en-US"/>
              <a:t>© 2020 Cisco and/or its affiliates. All rights reserved. Cisco Confidential</a:t>
            </a:r>
          </a:p>
        </p:txBody>
      </p:sp>
    </p:spTree>
    <p:extLst>
      <p:ext uri="{BB962C8B-B14F-4D97-AF65-F5344CB8AC3E}">
        <p14:creationId xmlns:p14="http://schemas.microsoft.com/office/powerpoint/2010/main" val="3888002987"/>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300288221"/>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Picture Placeholder 2"/>
          <p:cNvSpPr>
            <a:spLocks noGrp="1"/>
          </p:cNvSpPr>
          <p:nvPr>
            <p:ph type="pic" sz="quarter" idx="10"/>
          </p:nvPr>
        </p:nvSpPr>
        <p:spPr>
          <a:xfrm>
            <a:off x="308012" y="240633"/>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92312D10-86E6-4B1C-9AF0-A8AD12BEA7EB}"/>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400446450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88" indent="-171442">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78" indent="-165092">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66" indent="-109532">
              <a:buClr>
                <a:schemeClr val="tx1"/>
              </a:buClr>
              <a:buSzPct val="80000"/>
              <a:buFont typeface="Arial"/>
              <a:buChar char="•"/>
              <a:defRPr sz="1600" b="0" i="0">
                <a:solidFill>
                  <a:schemeClr val="tx1"/>
                </a:solidFill>
                <a:latin typeface="+mn-lt"/>
                <a:ea typeface="CiscoSansTT Thin" charset="0"/>
                <a:cs typeface="CiscoSansTT Thin" charset="0"/>
              </a:defRPr>
            </a:lvl3pPr>
            <a:lvl4pPr marL="910989" indent="-171407">
              <a:buClr>
                <a:schemeClr val="tx1"/>
              </a:buClr>
              <a:buSzPct val="80000"/>
              <a:buFont typeface="Arial"/>
              <a:buChar char="•"/>
              <a:defRPr sz="1400" b="0" i="0">
                <a:solidFill>
                  <a:schemeClr val="tx1"/>
                </a:solidFill>
                <a:latin typeface="+mn-lt"/>
                <a:ea typeface="CiscoSansTT Thin" charset="0"/>
                <a:cs typeface="CiscoSansTT Thin" charset="0"/>
              </a:defRPr>
            </a:lvl4pPr>
            <a:lvl5pPr marL="1082396" indent="-168232">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486571"/>
            <a:ext cx="8345488" cy="4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94F77B74-AD51-49C0-B276-14B89E140BE7}"/>
              </a:ext>
            </a:extLst>
          </p:cNvPr>
          <p:cNvSpPr>
            <a:spLocks noGrp="1"/>
          </p:cNvSpPr>
          <p:nvPr>
            <p:ph type="ftr" sz="quarter" idx="11"/>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372563025"/>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3490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FE357A98-4CCE-4FBF-8812-E46653F70CA7}"/>
              </a:ext>
            </a:extLst>
          </p:cNvPr>
          <p:cNvSpPr>
            <a:spLocks noGrp="1"/>
          </p:cNvSpPr>
          <p:nvPr>
            <p:ph type="ftr" sz="quarter" idx="12"/>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24638184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
        <p:nvSpPr>
          <p:cNvPr id="5" name="Rectangle 4">
            <a:extLst>
              <a:ext uri="{FF2B5EF4-FFF2-40B4-BE49-F238E27FC236}">
                <a16:creationId xmlns:a16="http://schemas.microsoft.com/office/drawing/2014/main" id="{0FEF15F2-DA50-4414-B235-779557BAF714}"/>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631243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57C0-DC2A-4F12-A868-1B62BC4395F6}"/>
              </a:ext>
            </a:extLst>
          </p:cNvPr>
          <p:cNvSpPr>
            <a:spLocks noGrp="1"/>
          </p:cNvSpPr>
          <p:nvPr>
            <p:ph type="ftr" sz="quarter" idx="10"/>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
        <p:nvSpPr>
          <p:cNvPr id="4" name="Title 3">
            <a:extLst>
              <a:ext uri="{FF2B5EF4-FFF2-40B4-BE49-F238E27FC236}">
                <a16:creationId xmlns:a16="http://schemas.microsoft.com/office/drawing/2014/main" id="{313C144C-3A90-43DE-9A36-647D661AC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343920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71643A0-1715-4F24-AA94-96628FC8088D}"/>
              </a:ext>
            </a:extLst>
          </p:cNvPr>
          <p:cNvSpPr>
            <a:spLocks noGrp="1"/>
          </p:cNvSpPr>
          <p:nvPr>
            <p:ph type="ftr" sz="quarter" idx="10"/>
          </p:nvPr>
        </p:nvSpPr>
        <p:spPr/>
        <p:txBody>
          <a:bodyPr/>
          <a:lstStyle/>
          <a:p>
            <a:pPr>
              <a:defRPr/>
            </a:pPr>
            <a:r>
              <a:rPr lang="en-US"/>
              <a:t>© 2020 Cisco and/or its affiliates. All rights reserved. Cisco Confidential</a:t>
            </a:r>
          </a:p>
        </p:txBody>
      </p:sp>
    </p:spTree>
    <p:extLst>
      <p:ext uri="{BB962C8B-B14F-4D97-AF65-F5344CB8AC3E}">
        <p14:creationId xmlns:p14="http://schemas.microsoft.com/office/powerpoint/2010/main" val="155906688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90"/>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490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DED42CA0-52CF-4340-8E73-37D0492411C3}"/>
              </a:ext>
            </a:extLst>
          </p:cNvPr>
          <p:cNvSpPr>
            <a:spLocks noGrp="1"/>
          </p:cNvSpPr>
          <p:nvPr>
            <p:ph type="ftr" sz="quarter" idx="13"/>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325775680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40"/>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36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8714D72-2888-49D4-A1D4-27996961A0F8}"/>
              </a:ext>
            </a:extLst>
          </p:cNvPr>
          <p:cNvSpPr>
            <a:spLocks noGrp="1"/>
          </p:cNvSpPr>
          <p:nvPr>
            <p:ph type="ftr" sz="quarter" idx="12"/>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135096058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90"/>
            <a:ext cx="8280057" cy="3073946"/>
          </a:xfrm>
          <a:prstGeom prst="rect">
            <a:avLst/>
          </a:prstGeom>
        </p:spPr>
        <p:txBody>
          <a:bodyPr lIns="91420" tIns="45710" rIns="91420" bIns="45710">
            <a:noAutofit/>
          </a:bodyPr>
          <a:lstStyle>
            <a:lvl1pPr marL="285676" marR="0" indent="-285676" algn="ctr" defTabSz="45708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4"/>
            <a:ext cx="8345488" cy="336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6E4F79F4-4D8D-4391-82B5-21BB47DB8D49}"/>
              </a:ext>
            </a:extLst>
          </p:cNvPr>
          <p:cNvSpPr>
            <a:spLocks noGrp="1"/>
          </p:cNvSpPr>
          <p:nvPr>
            <p:ph type="ftr" sz="quarter" idx="10"/>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Tree>
    <p:extLst>
      <p:ext uri="{BB962C8B-B14F-4D97-AF65-F5344CB8AC3E}">
        <p14:creationId xmlns:p14="http://schemas.microsoft.com/office/powerpoint/2010/main" val="289350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4"/>
            <a:ext cx="3662024" cy="2925868"/>
          </a:xfrm>
          <a:prstGeom prst="rect">
            <a:avLst/>
          </a:prstGeom>
        </p:spPr>
        <p:txBody>
          <a:bodyPr lIns="91420" tIns="45710" rIns="91420" bIns="45710">
            <a:noAutofit/>
          </a:bodyPr>
          <a:lstStyle>
            <a:lvl1pPr marL="174617" indent="-117469">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1" indent="-114294">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05" indent="-114294">
              <a:buClr>
                <a:schemeClr val="tx2"/>
              </a:buClr>
              <a:buSzPct val="60000"/>
              <a:buFont typeface="Arial"/>
              <a:buChar char="•"/>
              <a:defRPr sz="1600" b="0" i="0">
                <a:solidFill>
                  <a:schemeClr val="bg1"/>
                </a:solidFill>
                <a:latin typeface="+mn-lt"/>
                <a:ea typeface="CiscoSansTT Thin" charset="0"/>
                <a:cs typeface="CiscoSansTT Thin" charset="0"/>
              </a:defRPr>
            </a:lvl3pPr>
            <a:lvl4pPr marL="517499" indent="-114294">
              <a:buClr>
                <a:schemeClr val="tx2"/>
              </a:buClr>
              <a:buSzPct val="60000"/>
              <a:buFont typeface="Arial"/>
              <a:buChar char="•"/>
              <a:defRPr sz="1400" b="0" i="0">
                <a:solidFill>
                  <a:schemeClr val="bg1"/>
                </a:solidFill>
                <a:latin typeface="+mn-lt"/>
                <a:ea typeface="CiscoSansTT Thin" charset="0"/>
                <a:cs typeface="CiscoSansTT Thin" charset="0"/>
              </a:defRPr>
            </a:lvl4pPr>
            <a:lvl5pPr marL="631793" indent="-114294">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8" y="264651"/>
            <a:ext cx="3686559" cy="88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a:p>
        </p:txBody>
      </p:sp>
      <p:sp>
        <p:nvSpPr>
          <p:cNvPr id="3" name="Footer Placeholder 2">
            <a:extLst>
              <a:ext uri="{FF2B5EF4-FFF2-40B4-BE49-F238E27FC236}">
                <a16:creationId xmlns:a16="http://schemas.microsoft.com/office/drawing/2014/main" id="{6097DDEE-9620-4617-B031-DB204774EE6F}"/>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859118020"/>
      </p:ext>
    </p:extLst>
  </p:cSld>
  <p:clrMapOvr>
    <a:masterClrMapping/>
  </p:clrMapOvr>
  <p:extLst>
    <p:ext uri="{DCECCB84-F9BA-43D5-87BE-67443E8EF086}">
      <p15:sldGuideLst xmlns:p15="http://schemas.microsoft.com/office/powerpoint/2012/main">
        <p15:guide id="2" pos="288">
          <p15:clr>
            <a:srgbClr val="FBAE40"/>
          </p15:clr>
        </p15:guide>
        <p15:guide id="3" pos="2599">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2" y="2107015"/>
            <a:ext cx="3827463"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31812"/>
            <a:ext cx="3551237" cy="4059237"/>
          </a:xfrm>
          <a:prstGeom prst="rect">
            <a:avLst/>
          </a:prstGeom>
        </p:spPr>
        <p:txBody>
          <a:bodyPr lIns="0" rIns="0" anchor="ctr" anchorCtr="0"/>
          <a:lstStyle>
            <a:lvl1pPr marL="169855" indent="-169855">
              <a:lnSpc>
                <a:spcPct val="100000"/>
              </a:lnSpc>
              <a:buClr>
                <a:schemeClr val="tx1"/>
              </a:buClr>
              <a:buSzPct val="60000"/>
              <a:buFont typeface="Arial" panose="020B0604020202020204" pitchFamily="34" charset="0"/>
              <a:buChar char="•"/>
              <a:tabLst>
                <a:tab pos="228588" algn="l"/>
              </a:tabLst>
              <a:defRPr sz="2400"/>
            </a:lvl1pPr>
            <a:lvl2pPr marL="346058" indent="-171442">
              <a:lnSpc>
                <a:spcPct val="100000"/>
              </a:lnSpc>
              <a:buClr>
                <a:schemeClr val="tx1"/>
              </a:buClr>
              <a:buSzPct val="60000"/>
              <a:buFont typeface="Arial" panose="020B0604020202020204" pitchFamily="34" charset="0"/>
              <a:buChar char="•"/>
              <a:defRPr sz="2400"/>
            </a:lvl2pPr>
            <a:lvl3pPr marL="457178" indent="-117469">
              <a:lnSpc>
                <a:spcPct val="100000"/>
              </a:lnSpc>
              <a:buClr>
                <a:schemeClr val="tx1"/>
              </a:buClr>
              <a:buSzPct val="60000"/>
              <a:buFont typeface="Arial" panose="020B0604020202020204" pitchFamily="34" charset="0"/>
              <a:buChar char="•"/>
              <a:defRPr sz="2000"/>
            </a:lvl3pPr>
            <a:lvl4pPr marL="574647" indent="-117469">
              <a:lnSpc>
                <a:spcPct val="100000"/>
              </a:lnSpc>
              <a:buClr>
                <a:schemeClr val="tx1"/>
              </a:buClr>
              <a:buSzPct val="60000"/>
              <a:buFont typeface="Arial" panose="020B0604020202020204" pitchFamily="34" charset="0"/>
              <a:buChar char="•"/>
              <a:tabLst/>
              <a:defRPr sz="1800"/>
            </a:lvl4pPr>
            <a:lvl5pPr marL="744502" indent="-112707">
              <a:lnSpc>
                <a:spcPct val="100000"/>
              </a:lnSpc>
              <a:buClr>
                <a:schemeClr val="tx1"/>
              </a:buClr>
              <a:buSzPct val="6000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31FFA3F-4EA7-4250-90C7-B81DE432023D}"/>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123825945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8" y="510540"/>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10540"/>
            <a:ext cx="3551237" cy="4080510"/>
          </a:xfrm>
          <a:prstGeom prst="rect">
            <a:avLst/>
          </a:prstGeom>
        </p:spPr>
        <p:txBody>
          <a:bodyPr lIns="0" rIns="0"/>
          <a:lstStyle>
            <a:lvl1pPr marL="114294" indent="-114294">
              <a:lnSpc>
                <a:spcPct val="100000"/>
              </a:lnSpc>
              <a:buClr>
                <a:schemeClr val="tx1"/>
              </a:buClr>
              <a:buSzPct val="60000"/>
              <a:defRPr sz="2000"/>
            </a:lvl1pPr>
            <a:lvl2pPr marL="228588" indent="-114294">
              <a:lnSpc>
                <a:spcPct val="100000"/>
              </a:lnSpc>
              <a:buClr>
                <a:schemeClr val="tx1"/>
              </a:buClr>
              <a:buSzPct val="60000"/>
              <a:defRPr sz="2000"/>
            </a:lvl2pPr>
            <a:lvl3pPr marL="342884" indent="-114294">
              <a:lnSpc>
                <a:spcPct val="100000"/>
              </a:lnSpc>
              <a:buClr>
                <a:schemeClr val="tx1"/>
              </a:buClr>
              <a:buSzPct val="60000"/>
              <a:defRPr sz="1800"/>
            </a:lvl3pPr>
            <a:lvl4pPr marL="457178" indent="-123819">
              <a:lnSpc>
                <a:spcPct val="100000"/>
              </a:lnSpc>
              <a:buClr>
                <a:schemeClr val="tx1"/>
              </a:buClr>
              <a:buSzPct val="60000"/>
              <a:defRPr sz="1600"/>
            </a:lvl4pPr>
            <a:lvl5pPr marL="574647" indent="-117469">
              <a:lnSpc>
                <a:spcPct val="100000"/>
              </a:lnSpc>
              <a:buClr>
                <a:schemeClr val="tx1"/>
              </a:buClr>
              <a:buSzPct val="60000"/>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8" y="1659844"/>
            <a:ext cx="3808797" cy="2931208"/>
          </a:xfrm>
          <a:prstGeom prst="rect">
            <a:avLst/>
          </a:prstGeom>
        </p:spPr>
        <p:txBody>
          <a:bodyPr/>
          <a:lstStyle>
            <a:lvl1pPr marL="114294" indent="-114294">
              <a:buClr>
                <a:schemeClr val="tx2"/>
              </a:buClr>
              <a:buSzPct val="60000"/>
              <a:defRPr lang="en-US" sz="2000" kern="1200" dirty="0" smtClean="0">
                <a:solidFill>
                  <a:schemeClr val="bg1"/>
                </a:solidFill>
                <a:latin typeface="+mn-lt"/>
                <a:ea typeface="ＭＳ Ｐゴシック" charset="0"/>
                <a:cs typeface="CiscoSans"/>
              </a:defRPr>
            </a:lvl1pPr>
            <a:lvl2pPr marL="228588" indent="-114294">
              <a:buClr>
                <a:schemeClr val="tx2"/>
              </a:buClr>
              <a:buSzPct val="60000"/>
              <a:defRPr sz="2000">
                <a:solidFill>
                  <a:schemeClr val="bg1"/>
                </a:solidFill>
              </a:defRPr>
            </a:lvl2pPr>
            <a:lvl3pPr marL="342884" indent="-114294">
              <a:buClr>
                <a:schemeClr val="tx2"/>
              </a:buClr>
              <a:buSzPct val="60000"/>
              <a:defRPr sz="1800">
                <a:solidFill>
                  <a:schemeClr val="bg1"/>
                </a:solidFill>
              </a:defRPr>
            </a:lvl3pPr>
            <a:lvl4pPr marL="457178" indent="-123819">
              <a:buClr>
                <a:schemeClr val="tx2"/>
              </a:buClr>
              <a:buSzPct val="60000"/>
              <a:defRPr sz="1600">
                <a:solidFill>
                  <a:schemeClr val="bg1"/>
                </a:solidFill>
              </a:defRPr>
            </a:lvl4pPr>
            <a:lvl5pPr marL="574647" indent="-117469">
              <a:buClr>
                <a:schemeClr val="tx2"/>
              </a:buClr>
              <a:buSzPct val="60000"/>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200BB06-6AC6-4364-8D66-58A3F47E9625}"/>
              </a:ext>
            </a:extLst>
          </p:cNvPr>
          <p:cNvSpPr>
            <a:spLocks noGrp="1"/>
          </p:cNvSpPr>
          <p:nvPr>
            <p:ph type="ftr" sz="quarter" idx="12"/>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014804911"/>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7" y="4062353"/>
            <a:ext cx="3559175" cy="525145"/>
          </a:xfrm>
          <a:prstGeom prst="rect">
            <a:avLst/>
          </a:prstGeom>
        </p:spPr>
        <p:txBody>
          <a:bodyPr lIns="0" tIns="0" rIns="0" bIns="0"/>
          <a:lstStyle>
            <a:lvl1pPr marL="0" indent="0">
              <a:buNone/>
              <a:defRPr sz="1400"/>
            </a:lvl1pPr>
          </a:lstStyle>
          <a:p>
            <a:pPr lvl="0"/>
            <a:r>
              <a:rPr lang="en-US"/>
              <a:t>Edit Master text styles</a:t>
            </a:r>
          </a:p>
        </p:txBody>
      </p:sp>
      <p:sp>
        <p:nvSpPr>
          <p:cNvPr id="2" name="Footer Placeholder 1">
            <a:extLst>
              <a:ext uri="{FF2B5EF4-FFF2-40B4-BE49-F238E27FC236}">
                <a16:creationId xmlns:a16="http://schemas.microsoft.com/office/drawing/2014/main" id="{B6B616C0-5F13-4D17-A9CC-FDDCE3FFB641}"/>
              </a:ext>
            </a:extLst>
          </p:cNvPr>
          <p:cNvSpPr>
            <a:spLocks noGrp="1"/>
          </p:cNvSpPr>
          <p:nvPr>
            <p:ph type="ftr" sz="quarter" idx="12"/>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65186270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4059236"/>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0BF548A4-D401-4A88-8D71-3D86F4BDC8E9}"/>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411645935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2653925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651833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27ED3FE-6B56-4BB1-B685-53DA83033CA7}"/>
              </a:ext>
            </a:extLst>
          </p:cNvPr>
          <p:cNvSpPr>
            <a:spLocks noGrp="1"/>
          </p:cNvSpPr>
          <p:nvPr>
            <p:ph type="ftr" sz="quarter" idx="10"/>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3575665929"/>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4" y="0"/>
            <a:ext cx="4563907" cy="5143500"/>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EC2256C1-1088-4BF1-9F35-7892DC0A2266}"/>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46518744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2" name="Footer Placeholder 1">
            <a:extLst>
              <a:ext uri="{FF2B5EF4-FFF2-40B4-BE49-F238E27FC236}">
                <a16:creationId xmlns:a16="http://schemas.microsoft.com/office/drawing/2014/main" id="{45277B53-227D-4A3F-A03A-074F288090C1}"/>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3415955980"/>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2" name="Footer Placeholder 1">
            <a:extLst>
              <a:ext uri="{FF2B5EF4-FFF2-40B4-BE49-F238E27FC236}">
                <a16:creationId xmlns:a16="http://schemas.microsoft.com/office/drawing/2014/main" id="{871FF866-9C4D-418C-B685-2006049353C3}"/>
              </a:ext>
            </a:extLst>
          </p:cNvPr>
          <p:cNvSpPr>
            <a:spLocks noGrp="1"/>
          </p:cNvSpPr>
          <p:nvPr>
            <p:ph type="ftr" sz="quarter" idx="11"/>
          </p:nvPr>
        </p:nvSpPr>
        <p:spPr>
          <a:xfrm>
            <a:off x="400050" y="4774355"/>
            <a:ext cx="2673809" cy="92333"/>
          </a:xfrm>
        </p:spPr>
        <p:txBody>
          <a:bodyPr/>
          <a:lstStyle>
            <a:lvl1pPr>
              <a:defRPr>
                <a:solidFill>
                  <a:schemeClr val="accent1">
                    <a:lumMod val="75000"/>
                  </a:schemeClr>
                </a:solidFill>
              </a:defRPr>
            </a:lvl1pPr>
          </a:lstStyle>
          <a:p>
            <a:pPr>
              <a:defRPr/>
            </a:pPr>
            <a:r>
              <a:rPr lang="en-US" sz="600" spc="20"/>
              <a:t>© 2020 Cisco and/or its affiliates. All rights reserved. Cisco Confidential</a:t>
            </a:r>
          </a:p>
        </p:txBody>
      </p:sp>
    </p:spTree>
    <p:extLst>
      <p:ext uri="{BB962C8B-B14F-4D97-AF65-F5344CB8AC3E}">
        <p14:creationId xmlns:p14="http://schemas.microsoft.com/office/powerpoint/2010/main" val="274147794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6" y="2129079"/>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1E44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414112299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showMasterSp="0" type="tx">
  <p:cSld name="Blank - logo">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31040C10-28B0-EA44-95D1-6BFE4063E4F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7" name="Google Shape;106;p19">
            <a:extLst>
              <a:ext uri="{FF2B5EF4-FFF2-40B4-BE49-F238E27FC236}">
                <a16:creationId xmlns:a16="http://schemas.microsoft.com/office/drawing/2014/main" id="{9F81B95D-E924-F045-BADD-463E0CE92FE9}"/>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8" name="Picture 7">
            <a:extLst>
              <a:ext uri="{FF2B5EF4-FFF2-40B4-BE49-F238E27FC236}">
                <a16:creationId xmlns:a16="http://schemas.microsoft.com/office/drawing/2014/main" id="{90939C9A-F4F5-0540-B5E9-65686C2123EA}"/>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8315" y="4764755"/>
            <a:ext cx="1420071" cy="219181"/>
          </a:xfrm>
          <a:prstGeom prst="rect">
            <a:avLst/>
          </a:prstGeom>
        </p:spPr>
      </p:pic>
    </p:spTree>
    <p:extLst>
      <p:ext uri="{BB962C8B-B14F-4D97-AF65-F5344CB8AC3E}">
        <p14:creationId xmlns:p14="http://schemas.microsoft.com/office/powerpoint/2010/main" val="2184527438"/>
      </p:ext>
    </p:extLst>
  </p:cSld>
  <p:clrMapOvr>
    <a:masterClrMapping/>
  </p:clrMapOvr>
  <p:transition spd="med"/>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8" y="3856738"/>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39" indent="0" algn="ctr">
              <a:buNone/>
              <a:defRPr>
                <a:solidFill>
                  <a:schemeClr val="tx1">
                    <a:tint val="75000"/>
                  </a:schemeClr>
                </a:solidFill>
              </a:defRPr>
            </a:lvl2pPr>
            <a:lvl3pPr marL="685686" indent="0" algn="ctr">
              <a:buNone/>
              <a:defRPr>
                <a:solidFill>
                  <a:schemeClr val="tx1">
                    <a:tint val="75000"/>
                  </a:schemeClr>
                </a:solidFill>
              </a:defRPr>
            </a:lvl3pPr>
            <a:lvl4pPr marL="1028528" indent="0" algn="ctr">
              <a:buNone/>
              <a:defRPr>
                <a:solidFill>
                  <a:schemeClr val="tx1">
                    <a:tint val="75000"/>
                  </a:schemeClr>
                </a:solidFill>
              </a:defRPr>
            </a:lvl4pPr>
            <a:lvl5pPr marL="1371373" indent="0" algn="ctr">
              <a:buNone/>
              <a:defRPr>
                <a:solidFill>
                  <a:schemeClr val="tx1">
                    <a:tint val="75000"/>
                  </a:schemeClr>
                </a:solidFill>
              </a:defRPr>
            </a:lvl5pPr>
            <a:lvl6pPr marL="1714211" indent="0" algn="ctr">
              <a:buNone/>
              <a:defRPr>
                <a:solidFill>
                  <a:schemeClr val="tx1">
                    <a:tint val="75000"/>
                  </a:schemeClr>
                </a:solidFill>
              </a:defRPr>
            </a:lvl6pPr>
            <a:lvl7pPr marL="2057059" indent="0" algn="ctr">
              <a:buNone/>
              <a:defRPr>
                <a:solidFill>
                  <a:schemeClr val="tx1">
                    <a:tint val="75000"/>
                  </a:schemeClr>
                </a:solidFill>
              </a:defRPr>
            </a:lvl7pPr>
            <a:lvl8pPr marL="2399900" indent="0" algn="ctr">
              <a:buNone/>
              <a:defRPr>
                <a:solidFill>
                  <a:schemeClr val="tx1">
                    <a:tint val="75000"/>
                  </a:schemeClr>
                </a:solidFill>
              </a:defRPr>
            </a:lvl8pPr>
            <a:lvl9pPr marL="27427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8" y="4072671"/>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8" y="4348764"/>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4" y="3043655"/>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66" indent="0">
              <a:buNone/>
              <a:defRPr/>
            </a:lvl2pPr>
            <a:lvl3pPr marL="427380" indent="0">
              <a:buNone/>
              <a:defRPr/>
            </a:lvl3pPr>
            <a:lvl4pPr marL="516668" indent="0">
              <a:buNone/>
              <a:defRPr/>
            </a:lvl4pPr>
            <a:lvl5pPr marL="601191" indent="0">
              <a:buNone/>
              <a:defRPr/>
            </a:lvl5pPr>
          </a:lstStyle>
          <a:p>
            <a:pPr lvl="0"/>
            <a:r>
              <a:rPr lang="en-GB"/>
              <a:t>Subtitle Goes Here</a:t>
            </a:r>
          </a:p>
        </p:txBody>
      </p:sp>
      <p:sp>
        <p:nvSpPr>
          <p:cNvPr id="20" name="Title 1"/>
          <p:cNvSpPr>
            <a:spLocks noGrp="1"/>
          </p:cNvSpPr>
          <p:nvPr>
            <p:ph type="ctrTitle" hasCustomPrompt="1"/>
          </p:nvPr>
        </p:nvSpPr>
        <p:spPr>
          <a:xfrm>
            <a:off x="425767"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10"/>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96472721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66326615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4640358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3"/>
            <a:ext cx="7972248" cy="2278837"/>
          </a:xfrm>
          <a:prstGeom prst="rect">
            <a:avLst/>
          </a:prstGeom>
        </p:spPr>
        <p:txBody>
          <a:bodyPr>
            <a:noAutofit/>
          </a:bodyPr>
          <a:lstStyle>
            <a:lvl1pPr marL="183592" indent="-39994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8634261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4287497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3"/>
            <a:ext cx="7972248" cy="2278837"/>
          </a:xfrm>
          <a:prstGeom prst="rect">
            <a:avLst/>
          </a:prstGeom>
        </p:spPr>
        <p:txBody>
          <a:bodyPr>
            <a:noAutofit/>
          </a:bodyPr>
          <a:lstStyle>
            <a:lvl1pPr marL="183592" indent="-39994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39437269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3357"/>
            <a:ext cx="8139112"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36795944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3"/>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03792095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51475392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1" y="4741656"/>
            <a:ext cx="3466792"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3"/>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56962630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88" indent="-171442">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78" indent="-165092">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66" indent="-109532">
              <a:buClr>
                <a:schemeClr val="tx1"/>
              </a:buClr>
              <a:buSzPct val="80000"/>
              <a:buFont typeface="Arial"/>
              <a:buChar char="•"/>
              <a:defRPr sz="1600" b="0" i="0">
                <a:solidFill>
                  <a:schemeClr val="tx1"/>
                </a:solidFill>
                <a:latin typeface="+mn-lt"/>
                <a:ea typeface="CiscoSansTT Thin" charset="0"/>
                <a:cs typeface="CiscoSansTT Thin" charset="0"/>
              </a:defRPr>
            </a:lvl3pPr>
            <a:lvl4pPr marL="910989" indent="-171407">
              <a:buClr>
                <a:schemeClr val="tx1"/>
              </a:buClr>
              <a:buSzPct val="80000"/>
              <a:buFont typeface="Arial"/>
              <a:buChar char="•"/>
              <a:defRPr sz="1400" b="0" i="0">
                <a:solidFill>
                  <a:schemeClr val="tx1"/>
                </a:solidFill>
                <a:latin typeface="+mn-lt"/>
                <a:ea typeface="CiscoSansTT Thin" charset="0"/>
                <a:cs typeface="CiscoSansTT Thin" charset="0"/>
              </a:defRPr>
            </a:lvl4pPr>
            <a:lvl5pPr marL="1082396" indent="-168232">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6988760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73425894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761388845"/>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18623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8" y="1062757"/>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9" y="924561"/>
            <a:ext cx="2595562" cy="3558538"/>
          </a:xfrm>
          <a:prstGeom prst="rect">
            <a:avLst/>
          </a:prstGeom>
        </p:spPr>
        <p:txBody>
          <a:bodyPr lIns="0" rIns="0" anchor="ctr"/>
          <a:lstStyle>
            <a:lvl1pPr marL="0" indent="0">
              <a:buNone/>
              <a:defRPr sz="2800">
                <a:solidFill>
                  <a:schemeClr val="bg1"/>
                </a:solidFill>
              </a:defRPr>
            </a:lvl1pPr>
            <a:lvl2pPr marL="142868" indent="0">
              <a:buNone/>
              <a:defRPr/>
            </a:lvl2pPr>
            <a:lvl3pPr marL="261923" indent="0">
              <a:buNone/>
              <a:defRPr/>
            </a:lvl3pPr>
            <a:lvl4pPr marL="333358" indent="0">
              <a:buNone/>
              <a:defRPr/>
            </a:lvl4pPr>
            <a:lvl5pPr marL="40479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54218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
        <p:nvSpPr>
          <p:cNvPr id="5" name="Rectangle 4">
            <a:extLst>
              <a:ext uri="{FF2B5EF4-FFF2-40B4-BE49-F238E27FC236}">
                <a16:creationId xmlns:a16="http://schemas.microsoft.com/office/drawing/2014/main" id="{ED2D946C-8394-4DB3-A1F0-BC54DDDA7AA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465530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8" y="1223662"/>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6"/>
            <a:ext cx="2596896" cy="3576578"/>
          </a:xfrm>
          <a:prstGeom prst="rect">
            <a:avLst/>
          </a:prstGeom>
        </p:spPr>
        <p:txBody>
          <a:bodyPr lIns="0" rIns="0" anchor="ctr"/>
          <a:lstStyle>
            <a:lvl1pPr marL="0" indent="0">
              <a:buNone/>
              <a:defRPr sz="2800">
                <a:solidFill>
                  <a:schemeClr val="bg1"/>
                </a:solidFill>
              </a:defRPr>
            </a:lvl1pPr>
            <a:lvl2pPr marL="142868" indent="0">
              <a:buNone/>
              <a:defRPr/>
            </a:lvl2pPr>
            <a:lvl3pPr marL="261923" indent="0">
              <a:buNone/>
              <a:defRPr/>
            </a:lvl3pPr>
            <a:lvl4pPr marL="333358" indent="0">
              <a:buNone/>
              <a:defRPr/>
            </a:lvl4pPr>
            <a:lvl5pPr marL="40479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76637991"/>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90"/>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9" y="4148222"/>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02693709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40"/>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9" y="4148222"/>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04064755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90"/>
            <a:ext cx="8280057" cy="3073946"/>
          </a:xfrm>
          <a:prstGeom prst="rect">
            <a:avLst/>
          </a:prstGeom>
        </p:spPr>
        <p:txBody>
          <a:bodyPr lIns="91420" tIns="45710" rIns="91420" bIns="45710">
            <a:noAutofit/>
          </a:bodyPr>
          <a:lstStyle>
            <a:lvl1pPr marL="285676" marR="0" indent="-285676" algn="ctr" defTabSz="45708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51776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17" indent="-117469">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1" indent="-114294">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05" indent="-114294">
              <a:buClr>
                <a:schemeClr val="tx2"/>
              </a:buClr>
              <a:buSzPct val="60000"/>
              <a:buFont typeface="Arial"/>
              <a:buChar char="•"/>
              <a:defRPr sz="1600" b="0" i="0">
                <a:solidFill>
                  <a:schemeClr val="tx2"/>
                </a:solidFill>
                <a:latin typeface="+mn-lt"/>
                <a:ea typeface="CiscoSansTT Thin" charset="0"/>
                <a:cs typeface="CiscoSansTT Thin" charset="0"/>
              </a:defRPr>
            </a:lvl3pPr>
            <a:lvl4pPr marL="517499" indent="-114294">
              <a:buClr>
                <a:schemeClr val="tx2"/>
              </a:buClr>
              <a:buSzPct val="60000"/>
              <a:buFont typeface="Arial"/>
              <a:buChar char="•"/>
              <a:defRPr sz="1400" b="0" i="0">
                <a:solidFill>
                  <a:schemeClr val="tx2"/>
                </a:solidFill>
                <a:latin typeface="+mn-lt"/>
                <a:ea typeface="CiscoSansTT Thin" charset="0"/>
                <a:cs typeface="CiscoSansTT Thin" charset="0"/>
              </a:defRPr>
            </a:lvl4pPr>
            <a:lvl5pPr marL="631793" indent="-114294">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8" y="341315"/>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6"/>
            <a:ext cx="3568392"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596221636"/>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2"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31812"/>
            <a:ext cx="3551237" cy="4059237"/>
          </a:xfrm>
          <a:prstGeom prst="rect">
            <a:avLst/>
          </a:prstGeom>
        </p:spPr>
        <p:txBody>
          <a:bodyPr lIns="0" rIns="0" anchor="ctr" anchorCtr="0"/>
          <a:lstStyle>
            <a:lvl1pPr marL="169855" indent="-169855">
              <a:lnSpc>
                <a:spcPct val="100000"/>
              </a:lnSpc>
              <a:buClr>
                <a:schemeClr val="tx1"/>
              </a:buClr>
              <a:buSzPct val="60000"/>
              <a:buFont typeface="Arial" panose="020B0604020202020204" pitchFamily="34" charset="0"/>
              <a:buChar char="•"/>
              <a:tabLst>
                <a:tab pos="228588" algn="l"/>
              </a:tabLst>
              <a:defRPr sz="2400"/>
            </a:lvl1pPr>
            <a:lvl2pPr marL="346058" indent="-171442">
              <a:lnSpc>
                <a:spcPct val="100000"/>
              </a:lnSpc>
              <a:buClr>
                <a:schemeClr val="tx1"/>
              </a:buClr>
              <a:buSzPct val="60000"/>
              <a:buFont typeface="Arial" panose="020B0604020202020204" pitchFamily="34" charset="0"/>
              <a:buChar char="•"/>
              <a:defRPr sz="2400"/>
            </a:lvl2pPr>
            <a:lvl3pPr marL="457178" indent="-117469">
              <a:lnSpc>
                <a:spcPct val="100000"/>
              </a:lnSpc>
              <a:buClr>
                <a:schemeClr val="tx1"/>
              </a:buClr>
              <a:buSzPct val="60000"/>
              <a:buFont typeface="Arial" panose="020B0604020202020204" pitchFamily="34" charset="0"/>
              <a:buChar char="•"/>
              <a:defRPr sz="2000"/>
            </a:lvl3pPr>
            <a:lvl4pPr marL="574647" indent="-117469">
              <a:lnSpc>
                <a:spcPct val="100000"/>
              </a:lnSpc>
              <a:buClr>
                <a:schemeClr val="tx1"/>
              </a:buClr>
              <a:buSzPct val="60000"/>
              <a:buFont typeface="Arial" panose="020B0604020202020204" pitchFamily="34" charset="0"/>
              <a:buChar char="•"/>
              <a:tabLst/>
              <a:defRPr sz="1800"/>
            </a:lvl4pPr>
            <a:lvl5pPr marL="744502" indent="-112707">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1" y="4741656"/>
            <a:ext cx="3466792"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132439084"/>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8"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10540"/>
            <a:ext cx="3551237" cy="4080510"/>
          </a:xfrm>
          <a:prstGeom prst="rect">
            <a:avLst/>
          </a:prstGeom>
        </p:spPr>
        <p:txBody>
          <a:bodyPr lIns="0" rIns="0"/>
          <a:lstStyle>
            <a:lvl1pPr marL="114294" indent="-114294">
              <a:lnSpc>
                <a:spcPct val="100000"/>
              </a:lnSpc>
              <a:buClr>
                <a:schemeClr val="tx1"/>
              </a:buClr>
              <a:buSzPct val="60000"/>
              <a:defRPr sz="2000"/>
            </a:lvl1pPr>
            <a:lvl2pPr marL="228588" indent="-114294">
              <a:lnSpc>
                <a:spcPct val="100000"/>
              </a:lnSpc>
              <a:buClr>
                <a:schemeClr val="tx1"/>
              </a:buClr>
              <a:buSzPct val="60000"/>
              <a:defRPr sz="2000"/>
            </a:lvl2pPr>
            <a:lvl3pPr marL="342884" indent="-114294">
              <a:lnSpc>
                <a:spcPct val="100000"/>
              </a:lnSpc>
              <a:buClr>
                <a:schemeClr val="tx1"/>
              </a:buClr>
              <a:buSzPct val="60000"/>
              <a:defRPr sz="1800"/>
            </a:lvl3pPr>
            <a:lvl4pPr marL="457178" indent="-123819">
              <a:lnSpc>
                <a:spcPct val="100000"/>
              </a:lnSpc>
              <a:buClr>
                <a:schemeClr val="tx1"/>
              </a:buClr>
              <a:buSzPct val="60000"/>
              <a:defRPr sz="1600"/>
            </a:lvl4pPr>
            <a:lvl5pPr marL="574647" indent="-117469">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8" y="1659843"/>
            <a:ext cx="3808797" cy="2931208"/>
          </a:xfrm>
          <a:prstGeom prst="rect">
            <a:avLst/>
          </a:prstGeom>
        </p:spPr>
        <p:txBody>
          <a:bodyPr/>
          <a:lstStyle>
            <a:lvl1pPr marL="114294" indent="-114294">
              <a:buClr>
                <a:schemeClr val="tx2"/>
              </a:buClr>
              <a:buSzPct val="60000"/>
              <a:defRPr lang="en-US" sz="2000" kern="1200" dirty="0" smtClean="0">
                <a:solidFill>
                  <a:schemeClr val="tx2"/>
                </a:solidFill>
                <a:latin typeface="+mn-lt"/>
                <a:ea typeface="ＭＳ Ｐゴシック" charset="0"/>
                <a:cs typeface="CiscoSans"/>
              </a:defRPr>
            </a:lvl1pPr>
            <a:lvl2pPr marL="228588" indent="-114294">
              <a:buClr>
                <a:schemeClr val="tx2"/>
              </a:buClr>
              <a:buSzPct val="60000"/>
              <a:defRPr sz="2000">
                <a:solidFill>
                  <a:schemeClr val="tx2"/>
                </a:solidFill>
              </a:defRPr>
            </a:lvl2pPr>
            <a:lvl3pPr marL="342884" indent="-114294">
              <a:buClr>
                <a:schemeClr val="tx2"/>
              </a:buClr>
              <a:buSzPct val="60000"/>
              <a:defRPr sz="1800">
                <a:solidFill>
                  <a:schemeClr val="tx2"/>
                </a:solidFill>
              </a:defRPr>
            </a:lvl3pPr>
            <a:lvl4pPr marL="457178" indent="-123819">
              <a:buClr>
                <a:schemeClr val="tx2"/>
              </a:buClr>
              <a:buSzPct val="60000"/>
              <a:defRPr sz="1600">
                <a:solidFill>
                  <a:schemeClr val="tx2"/>
                </a:solidFill>
              </a:defRPr>
            </a:lvl4pPr>
            <a:lvl5pPr marL="574647" indent="-117469">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80" y="4741656"/>
            <a:ext cx="3359215"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004498566"/>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3"/>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7" y="4062352"/>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1" y="4741656"/>
            <a:ext cx="2863168"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300197192"/>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6"/>
            <a:ext cx="3263592"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85492575"/>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1659733"/>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80" y="4741656"/>
            <a:ext cx="2946839"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26746333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36ABA4FE-A8E0-42F9-84EF-9C56817CDB86}"/>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994735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3"/>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4"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6"/>
            <a:ext cx="3299450"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557236818"/>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3"/>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80" y="4741656"/>
            <a:ext cx="3179921"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685255487"/>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1659733"/>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80" y="4741656"/>
            <a:ext cx="3407027" cy="154518"/>
          </a:xfrm>
          <a:prstGeom prst="rect">
            <a:avLst/>
          </a:prstGeom>
          <a:noFill/>
          <a:ln w="9525">
            <a:noFill/>
            <a:miter lim="800000"/>
            <a:headEnd/>
            <a:tailEnd/>
          </a:ln>
          <a:effectLst/>
        </p:spPr>
        <p:txBody>
          <a:bodyPr wrap="square" lIns="61586" tIns="30792" rIns="61586" bIns="30792" anchor="b">
            <a:spAutoFit/>
          </a:bodyPr>
          <a:lstStyle/>
          <a:p>
            <a:pPr algn="l" defTabSz="61071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21067948"/>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6" y="2129078"/>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4560976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8977-0C03-453D-BCF2-D4BE13749D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423339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108766"/>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396851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656722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6"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345480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97907576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2434891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D2DA2F50-B0FD-48F0-9FE7-B9C8C5A60778}"/>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504806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70522175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380678031"/>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37341256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72894555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11270377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9272891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1155074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278759421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80474244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0680476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llustration Slide">
    <p:bg>
      <p:bgPr>
        <a:solidFill>
          <a:schemeClr val="bg2"/>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tx1"/>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rgbClr val="1E4471"/>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8125062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36678"/>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29992533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935241724"/>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85684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380222307"/>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51250476"/>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8315874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46990634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422101040"/>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8" name="Rectangle 4"/>
          <p:cNvSpPr>
            <a:spLocks noChangeArrowheads="1"/>
          </p:cNvSpPr>
          <p:nvPr userDrawn="1"/>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98773915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llustration Slid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AA45D00-2CFF-47C6-AFB8-D998BE0BC287}"/>
              </a:ext>
            </a:extLst>
          </p:cNvPr>
          <p:cNvSpPr>
            <a:spLocks noGrp="1"/>
          </p:cNvSpPr>
          <p:nvPr>
            <p:ph type="body" sz="quarter" idx="11" hasCustomPrompt="1"/>
          </p:nvPr>
        </p:nvSpPr>
        <p:spPr>
          <a:xfrm>
            <a:off x="533400" y="660401"/>
            <a:ext cx="2638425" cy="3822700"/>
          </a:xfrm>
          <a:prstGeom prst="rect">
            <a:avLst/>
          </a:prstGeom>
        </p:spPr>
        <p:txBody>
          <a:bodyPr lIns="0" tIns="0" rIns="0" bIns="0" anchor="ctr">
            <a:noAutofit/>
          </a:bodyPr>
          <a:lstStyle>
            <a:lvl1pPr marL="0" indent="0">
              <a:lnSpc>
                <a:spcPct val="100000"/>
              </a:lnSpc>
              <a:spcBef>
                <a:spcPts val="0"/>
              </a:spcBef>
              <a:buNone/>
              <a:defRPr sz="3200">
                <a:solidFill>
                  <a:schemeClr val="bg2"/>
                </a:solidFill>
                <a:latin typeface="+mj-lt"/>
              </a:defRPr>
            </a:lvl1pPr>
          </a:lstStyle>
          <a:p>
            <a:pPr lvl="0"/>
            <a:r>
              <a:rPr lang="en-US"/>
              <a:t>Title</a:t>
            </a:r>
          </a:p>
        </p:txBody>
      </p:sp>
      <p:sp>
        <p:nvSpPr>
          <p:cNvPr id="5" name="Text Placeholder 3">
            <a:extLst>
              <a:ext uri="{FF2B5EF4-FFF2-40B4-BE49-F238E27FC236}">
                <a16:creationId xmlns:a16="http://schemas.microsoft.com/office/drawing/2014/main" id="{4B26C853-AE34-41DD-A94A-C91B2D2437A9}"/>
              </a:ext>
            </a:extLst>
          </p:cNvPr>
          <p:cNvSpPr>
            <a:spLocks noGrp="1"/>
          </p:cNvSpPr>
          <p:nvPr>
            <p:ph type="body" sz="quarter" idx="10" hasCustomPrompt="1"/>
          </p:nvPr>
        </p:nvSpPr>
        <p:spPr>
          <a:xfrm>
            <a:off x="3295650" y="0"/>
            <a:ext cx="5848350" cy="5143500"/>
          </a:xfrm>
          <a:prstGeom prst="rect">
            <a:avLst/>
          </a:prstGeom>
          <a:solidFill>
            <a:schemeClr val="tx2"/>
          </a:solidFill>
          <a:ln w="3175">
            <a:noFill/>
          </a:ln>
        </p:spPr>
        <p:txBody>
          <a:bodyPr/>
          <a:lstStyle>
            <a:lvl1pPr marL="0" indent="0">
              <a:lnSpc>
                <a:spcPct val="100000"/>
              </a:lnSpc>
              <a:buNone/>
              <a:defRPr/>
            </a:lvl1pPr>
          </a:lstStyle>
          <a:p>
            <a:pPr lvl="0"/>
            <a:r>
              <a:rPr lang="en-US"/>
              <a:t>  </a:t>
            </a:r>
          </a:p>
        </p:txBody>
      </p:sp>
      <p:sp>
        <p:nvSpPr>
          <p:cNvPr id="7" name="Rectangle 4">
            <a:extLst>
              <a:ext uri="{FF2B5EF4-FFF2-40B4-BE49-F238E27FC236}">
                <a16:creationId xmlns:a16="http://schemas.microsoft.com/office/drawing/2014/main" id="{7D875EB2-426F-4C8E-95EB-E6B567611FA1}"/>
              </a:ext>
            </a:extLst>
          </p:cNvPr>
          <p:cNvSpPr>
            <a:spLocks noChangeArrowheads="1"/>
          </p:cNvSpPr>
          <p:nvPr userDrawn="1"/>
        </p:nvSpPr>
        <p:spPr bwMode="ltGray">
          <a:xfrm>
            <a:off x="476250" y="4741653"/>
            <a:ext cx="284734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638521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119944292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677644711"/>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80500970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324807045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04121409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278791218"/>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4906682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425653223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17700920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0842188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42740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404907607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54322607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414795592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688268989"/>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63713330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99139106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0726340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191687" y="930677"/>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Tree>
    <p:extLst>
      <p:ext uri="{BB962C8B-B14F-4D97-AF65-F5344CB8AC3E}">
        <p14:creationId xmlns:p14="http://schemas.microsoft.com/office/powerpoint/2010/main" val="207653740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70386886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4850187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Slide">
    <p:bg>
      <p:bgPr>
        <a:solidFill>
          <a:schemeClr val="tx1"/>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027828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95158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531766996"/>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935095273"/>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16831634"/>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897352663"/>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27659397"/>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304453551"/>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72849124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150771712"/>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28375175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 Slide">
    <p:bg>
      <p:bgPr>
        <a:solidFill>
          <a:schemeClr val="tx2"/>
        </a:solidFill>
        <a:effectLst/>
      </p:bgPr>
    </p:bg>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B587D8E-2DDD-4F12-9200-E97DAE9ADC8D}"/>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8495184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1912724693"/>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827259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6826078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22327704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1_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9749679"/>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tx">
  <p:cSld name="Big text + blank - white">
    <p:spTree>
      <p:nvGrpSpPr>
        <p:cNvPr id="1" name=""/>
        <p:cNvGrpSpPr/>
        <p:nvPr/>
      </p:nvGrpSpPr>
      <p:grpSpPr>
        <a:xfrm>
          <a:off x="0" y="0"/>
          <a:ext cx="0" cy="0"/>
          <a:chOff x="0" y="0"/>
          <a:chExt cx="0" cy="0"/>
        </a:xfrm>
      </p:grpSpPr>
      <p:sp>
        <p:nvSpPr>
          <p:cNvPr id="123" name="Title Text"/>
          <p:cNvSpPr txBox="1">
            <a:spLocks noGrp="1"/>
          </p:cNvSpPr>
          <p:nvPr>
            <p:ph type="title"/>
          </p:nvPr>
        </p:nvSpPr>
        <p:spPr>
          <a:xfrm>
            <a:off x="437766" y="341313"/>
            <a:ext cx="8345489" cy="731838"/>
          </a:xfrm>
          <a:prstGeom prst="rect">
            <a:avLst/>
          </a:prstGeom>
        </p:spPr>
        <p:txBody>
          <a:bodyPr anchor="ctr"/>
          <a:lstStyle>
            <a:lvl1pPr>
              <a:lnSpc>
                <a:spcPct val="80000"/>
              </a:lnSpc>
              <a:defRPr sz="2800"/>
            </a:lvl1pPr>
          </a:lstStyle>
          <a:p>
            <a:r>
              <a:rPr lang="en-US"/>
              <a:t>Click to edit Master title style</a:t>
            </a:r>
            <a:endParaRPr/>
          </a:p>
        </p:txBody>
      </p:sp>
      <p:pic>
        <p:nvPicPr>
          <p:cNvPr id="4" name="Picture 3" descr="A picture containing drawing&#10;&#10;Description automatically generated">
            <a:extLst>
              <a:ext uri="{FF2B5EF4-FFF2-40B4-BE49-F238E27FC236}">
                <a16:creationId xmlns:a16="http://schemas.microsoft.com/office/drawing/2014/main" id="{23F46119-DAE1-CD49-B210-227B571D96FA}"/>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490375" y="4662685"/>
            <a:ext cx="1461955" cy="302000"/>
          </a:xfrm>
          <a:prstGeom prst="rect">
            <a:avLst/>
          </a:prstGeom>
        </p:spPr>
      </p:pic>
      <p:sp>
        <p:nvSpPr>
          <p:cNvPr id="8" name="Google Shape;106;p19">
            <a:extLst>
              <a:ext uri="{FF2B5EF4-FFF2-40B4-BE49-F238E27FC236}">
                <a16:creationId xmlns:a16="http://schemas.microsoft.com/office/drawing/2014/main" id="{7BE228A1-3B8C-F445-8C7A-C2110D65904B}"/>
              </a:ext>
            </a:extLst>
          </p:cNvPr>
          <p:cNvSpPr txBox="1"/>
          <p:nvPr userDrawn="1"/>
        </p:nvSpPr>
        <p:spPr>
          <a:xfrm>
            <a:off x="2212324" y="4824054"/>
            <a:ext cx="3339501" cy="154480"/>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73" tIns="30773" rIns="30773" bIns="30773" anchor="b">
            <a:spAutoFit/>
          </a:bodyPr>
          <a:lstStyle>
            <a:lvl1pPr>
              <a:defRPr sz="600">
                <a:solidFill>
                  <a:srgbClr val="A5A5A5"/>
                </a:solidFill>
                <a:latin typeface="Arial"/>
                <a:ea typeface="Arial"/>
                <a:cs typeface="Arial"/>
                <a:sym typeface="Arial"/>
              </a:defRPr>
            </a:lvl1pPr>
          </a:lstStyle>
          <a:p>
            <a:r>
              <a:rPr lang="en-US" b="0" i="0">
                <a:solidFill>
                  <a:schemeClr val="accent3"/>
                </a:solidFill>
                <a:latin typeface="CiscoSansTT ExtraLight" panose="020B0303020201020303" pitchFamily="34" charset="0"/>
              </a:rPr>
              <a:t>© 2020  Cisco and/or its affiliates. All rights reserved.  </a:t>
            </a:r>
          </a:p>
        </p:txBody>
      </p:sp>
      <p:pic>
        <p:nvPicPr>
          <p:cNvPr id="9" name="Picture 8">
            <a:extLst>
              <a:ext uri="{FF2B5EF4-FFF2-40B4-BE49-F238E27FC236}">
                <a16:creationId xmlns:a16="http://schemas.microsoft.com/office/drawing/2014/main" id="{FDEA99EA-7133-944B-BCBF-7560C9D7EA3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468315" y="4764755"/>
            <a:ext cx="1420071" cy="219181"/>
          </a:xfrm>
          <a:prstGeom prst="rect">
            <a:avLst/>
          </a:prstGeom>
        </p:spPr>
      </p:pic>
    </p:spTree>
    <p:extLst>
      <p:ext uri="{BB962C8B-B14F-4D97-AF65-F5344CB8AC3E}">
        <p14:creationId xmlns:p14="http://schemas.microsoft.com/office/powerpoint/2010/main" val="986921809"/>
      </p:ext>
    </p:extLst>
  </p:cSld>
  <p:clrMapOvr>
    <a:masterClrMapping/>
  </p:clrMapOvr>
  <p:transition spd="med"/>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00050" y="3751761"/>
            <a:ext cx="8343900" cy="355482"/>
          </a:xfrm>
          <a:prstGeom prst="rect">
            <a:avLst/>
          </a:prstGeom>
        </p:spPr>
        <p:txBody>
          <a:bodyPr wrap="square" lIns="182880" tIns="45720" rIns="0" bIns="45720" anchor="b" anchorCtr="0">
            <a:spAutoFit/>
          </a:bodyPr>
          <a:lstStyle>
            <a:lvl1pPr marL="0" indent="0" algn="l">
              <a:buNone/>
              <a:defRPr sz="1800" b="0" i="0">
                <a:solidFill>
                  <a:srgbClr val="0D274D"/>
                </a:solidFill>
                <a:latin typeface="+mn-lt"/>
                <a:cs typeface="CiscoSansTT ExtraLight"/>
              </a:defRPr>
            </a:lvl1pPr>
            <a:lvl2pPr marL="342839" indent="0" algn="ctr">
              <a:buNone/>
              <a:defRPr>
                <a:solidFill>
                  <a:schemeClr val="tx1">
                    <a:tint val="75000"/>
                  </a:schemeClr>
                </a:solidFill>
              </a:defRPr>
            </a:lvl2pPr>
            <a:lvl3pPr marL="685686" indent="0" algn="ctr">
              <a:buNone/>
              <a:defRPr>
                <a:solidFill>
                  <a:schemeClr val="tx1">
                    <a:tint val="75000"/>
                  </a:schemeClr>
                </a:solidFill>
              </a:defRPr>
            </a:lvl3pPr>
            <a:lvl4pPr marL="1028528" indent="0" algn="ctr">
              <a:buNone/>
              <a:defRPr>
                <a:solidFill>
                  <a:schemeClr val="tx1">
                    <a:tint val="75000"/>
                  </a:schemeClr>
                </a:solidFill>
              </a:defRPr>
            </a:lvl4pPr>
            <a:lvl5pPr marL="1371373" indent="0" algn="ctr">
              <a:buNone/>
              <a:defRPr>
                <a:solidFill>
                  <a:schemeClr val="tx1">
                    <a:tint val="75000"/>
                  </a:schemeClr>
                </a:solidFill>
              </a:defRPr>
            </a:lvl5pPr>
            <a:lvl6pPr marL="1714211" indent="0" algn="ctr">
              <a:buNone/>
              <a:defRPr>
                <a:solidFill>
                  <a:schemeClr val="tx1">
                    <a:tint val="75000"/>
                  </a:schemeClr>
                </a:solidFill>
              </a:defRPr>
            </a:lvl6pPr>
            <a:lvl7pPr marL="2057059" indent="0" algn="ctr">
              <a:buNone/>
              <a:defRPr>
                <a:solidFill>
                  <a:schemeClr val="tx1">
                    <a:tint val="75000"/>
                  </a:schemeClr>
                </a:solidFill>
              </a:defRPr>
            </a:lvl7pPr>
            <a:lvl8pPr marL="2399900" indent="0" algn="ctr">
              <a:buNone/>
              <a:defRPr>
                <a:solidFill>
                  <a:schemeClr val="tx1">
                    <a:tint val="75000"/>
                  </a:schemeClr>
                </a:solidFill>
              </a:defRPr>
            </a:lvl8pPr>
            <a:lvl9pPr marL="2742746"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00050" y="4107243"/>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00050" y="4439626"/>
            <a:ext cx="8343900" cy="355482"/>
          </a:xfrm>
          <a:prstGeom prst="rect">
            <a:avLst/>
          </a:prstGeom>
        </p:spPr>
        <p:txBody>
          <a:bodyPr wrap="square" lIns="182880" tIns="45720" rIns="0" bIns="45720">
            <a:spAutoFit/>
          </a:bodyPr>
          <a:lstStyle>
            <a:lvl1pPr marL="0" indent="0" algn="l">
              <a:buFontTx/>
              <a:buNone/>
              <a:defRPr lang="en-US" sz="1800" b="0" i="0" kern="1200" dirty="0" smtClean="0">
                <a:solidFill>
                  <a:srgbClr val="0D274D"/>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00050" y="3238791"/>
            <a:ext cx="8343900" cy="353174"/>
          </a:xfrm>
          <a:prstGeom prst="rect">
            <a:avLst/>
          </a:prstGeom>
        </p:spPr>
        <p:txBody>
          <a:bodyPr wrap="square" lIns="182880" tIns="45720" rIns="0" bIns="0">
            <a:spAutoFit/>
          </a:bodyPr>
          <a:lstStyle>
            <a:lvl1pPr marL="0" indent="0">
              <a:buFont typeface="Arial" panose="020B0604020202020204" pitchFamily="34" charset="0"/>
              <a:buNone/>
              <a:defRPr sz="2100" b="0" i="0" baseline="0">
                <a:solidFill>
                  <a:srgbClr val="0D274D"/>
                </a:solidFill>
                <a:latin typeface="+mj-lt"/>
                <a:cs typeface="CiscoSansTT ExtraLight"/>
              </a:defRPr>
            </a:lvl1pPr>
            <a:lvl2pPr marL="304766" indent="0">
              <a:buNone/>
              <a:defRPr/>
            </a:lvl2pPr>
            <a:lvl3pPr marL="427380" indent="0">
              <a:buNone/>
              <a:defRPr/>
            </a:lvl3pPr>
            <a:lvl4pPr marL="516668" indent="0">
              <a:buNone/>
              <a:defRPr/>
            </a:lvl4pPr>
            <a:lvl5pPr marL="601191" indent="0">
              <a:buNone/>
              <a:defRPr/>
            </a:lvl5pPr>
          </a:lstStyle>
          <a:p>
            <a:pPr lvl="0"/>
            <a:r>
              <a:rPr lang="en-GB"/>
              <a:t>Subtitle Goes Here</a:t>
            </a:r>
          </a:p>
        </p:txBody>
      </p:sp>
      <p:sp>
        <p:nvSpPr>
          <p:cNvPr id="20" name="Title 1"/>
          <p:cNvSpPr>
            <a:spLocks noGrp="1"/>
          </p:cNvSpPr>
          <p:nvPr>
            <p:ph type="ctrTitle" hasCustomPrompt="1"/>
          </p:nvPr>
        </p:nvSpPr>
        <p:spPr>
          <a:xfrm>
            <a:off x="400051" y="2674126"/>
            <a:ext cx="8340152" cy="560923"/>
          </a:xfrm>
          <a:prstGeom prst="rect">
            <a:avLst/>
          </a:prstGeom>
        </p:spPr>
        <p:txBody>
          <a:bodyPr anchor="b"/>
          <a:lstStyle>
            <a:lvl1pPr marL="0" indent="0" algn="l">
              <a:lnSpc>
                <a:spcPct val="90000"/>
              </a:lnSpc>
              <a:buFont typeface="Arial" panose="020B0604020202020204" pitchFamily="34" charset="0"/>
              <a:buNone/>
              <a:defRPr sz="4050" b="0" i="0" spc="0" baseline="0">
                <a:solidFill>
                  <a:srgbClr val="0D274D"/>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0D274D"/>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37586101"/>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500" b="0" i="0" spc="0" baseline="0">
                <a:solidFill>
                  <a:srgbClr val="0D274D"/>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77933465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Title 1"/>
          <p:cNvSpPr>
            <a:spLocks noGrp="1"/>
          </p:cNvSpPr>
          <p:nvPr>
            <p:ph type="ctrTitle" hasCustomPrompt="1"/>
          </p:nvPr>
        </p:nvSpPr>
        <p:spPr>
          <a:xfrm>
            <a:off x="416425" y="915411"/>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rgbClr val="1E447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88732980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C4AA656-9944-4E93-833F-D07278F21B1C}"/>
              </a:ext>
            </a:extLst>
          </p:cNvPr>
          <p:cNvSpPr>
            <a:spLocks noGrp="1"/>
          </p:cNvSpPr>
          <p:nvPr>
            <p:ph type="title"/>
          </p:nvPr>
        </p:nvSpPr>
        <p:spPr bwMode="auto">
          <a:xfrm>
            <a:off x="400050" y="361640"/>
            <a:ext cx="8343900" cy="33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defRPr sz="2700">
                <a:solidFill>
                  <a:srgbClr val="1E4471"/>
                </a:solidFill>
              </a:defRPr>
            </a:lvl1pPr>
          </a:lstStyle>
          <a:p>
            <a:pPr lvl="0"/>
            <a:r>
              <a:rPr lang="en-GB"/>
              <a:t>Click to edit Master title style</a:t>
            </a:r>
          </a:p>
        </p:txBody>
      </p:sp>
      <p:sp>
        <p:nvSpPr>
          <p:cNvPr id="2" name="Footer Placeholder 1">
            <a:extLst>
              <a:ext uri="{FF2B5EF4-FFF2-40B4-BE49-F238E27FC236}">
                <a16:creationId xmlns:a16="http://schemas.microsoft.com/office/drawing/2014/main" id="{219C5932-4133-4E52-944A-2194D7528E52}"/>
              </a:ext>
            </a:extLst>
          </p:cNvPr>
          <p:cNvSpPr>
            <a:spLocks noGrp="1"/>
          </p:cNvSpPr>
          <p:nvPr>
            <p:ph type="ftr" sz="quarter" idx="10"/>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
        <p:nvSpPr>
          <p:cNvPr id="6" name="Subtitle Placeholder 1">
            <a:extLst>
              <a:ext uri="{FF2B5EF4-FFF2-40B4-BE49-F238E27FC236}">
                <a16:creationId xmlns:a16="http://schemas.microsoft.com/office/drawing/2014/main" id="{8C94CEB6-F39E-4636-BDBD-CCE4D1A4B8F0}"/>
              </a:ext>
            </a:extLst>
          </p:cNvPr>
          <p:cNvSpPr>
            <a:spLocks noGrp="1"/>
          </p:cNvSpPr>
          <p:nvPr>
            <p:ph type="body" sz="quarter" idx="11"/>
          </p:nvPr>
        </p:nvSpPr>
        <p:spPr>
          <a:xfrm>
            <a:off x="400050" y="864108"/>
            <a:ext cx="8343899" cy="164592"/>
          </a:xfrm>
          <a:prstGeom prst="rect">
            <a:avLst/>
          </a:prstGeom>
          <a:noFill/>
        </p:spPr>
        <p:txBody>
          <a:bodyPr wrap="square" lIns="0" tIns="0" rIns="0" bIns="0" rtlCol="0">
            <a:noAutofit/>
          </a:bodyPr>
          <a:lstStyle>
            <a:lvl1pPr marL="0" indent="0">
              <a:buNone/>
              <a:defRPr lang="en-US" sz="1050" smtClean="0">
                <a:solidFill>
                  <a:schemeClr val="accent1"/>
                </a:solidFill>
                <a:ea typeface="+mn-ea"/>
                <a:cs typeface="+mn-cs"/>
              </a:defRPr>
            </a:lvl1pPr>
            <a:lvl2pPr marL="127012" indent="0">
              <a:buNone/>
              <a:defRPr lang="en-US" sz="1350" smtClean="0">
                <a:ea typeface="+mn-ea"/>
                <a:cs typeface="+mn-cs"/>
              </a:defRPr>
            </a:lvl2pPr>
            <a:lvl3pPr>
              <a:defRPr lang="en-US" sz="1350" smtClean="0">
                <a:ea typeface="+mn-ea"/>
                <a:cs typeface="+mn-cs"/>
              </a:defRPr>
            </a:lvl3pPr>
            <a:lvl4pPr>
              <a:defRPr lang="en-US" sz="1350" smtClean="0">
                <a:ea typeface="+mn-ea"/>
                <a:cs typeface="+mn-cs"/>
              </a:defRPr>
            </a:lvl4pPr>
            <a:lvl5pPr>
              <a:defRPr lang="en-US" sz="1350">
                <a:ea typeface="+mn-ea"/>
                <a:cs typeface="+mn-cs"/>
              </a:defRPr>
            </a:lvl5pPr>
          </a:lstStyle>
          <a:p>
            <a:pPr marL="0" lvl="0" defTabSz="342892" latinLnBrk="0"/>
            <a:r>
              <a:rPr lang="en-US"/>
              <a:t>Click to edit Master text styles</a:t>
            </a:r>
          </a:p>
        </p:txBody>
      </p:sp>
    </p:spTree>
    <p:extLst>
      <p:ext uri="{BB962C8B-B14F-4D97-AF65-F5344CB8AC3E}">
        <p14:creationId xmlns:p14="http://schemas.microsoft.com/office/powerpoint/2010/main" val="3828004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8102396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7" name="Rectangle 4">
            <a:extLst>
              <a:ext uri="{FF2B5EF4-FFF2-40B4-BE49-F238E27FC236}">
                <a16:creationId xmlns:a16="http://schemas.microsoft.com/office/drawing/2014/main" id="{01840A64-D0F9-41A1-A207-B587F04F780C}"/>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543454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34387636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4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4"/>
            <a:ext cx="7972248" cy="2278837"/>
          </a:xfrm>
          <a:prstGeom prst="rect">
            <a:avLst/>
          </a:prstGeom>
        </p:spPr>
        <p:txBody>
          <a:bodyPr>
            <a:noAutofit/>
          </a:bodyPr>
          <a:lstStyle>
            <a:lvl1pPr marL="183592" indent="-39994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4123552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3359"/>
            <a:ext cx="8139112"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Edit Master text styles</a:t>
            </a:r>
          </a:p>
        </p:txBody>
      </p:sp>
    </p:spTree>
    <p:extLst>
      <p:ext uri="{BB962C8B-B14F-4D97-AF65-F5344CB8AC3E}">
        <p14:creationId xmlns:p14="http://schemas.microsoft.com/office/powerpoint/2010/main" val="222875619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2" y="3"/>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9"/>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Edit Master text styles</a:t>
            </a:r>
          </a:p>
        </p:txBody>
      </p:sp>
      <p:sp>
        <p:nvSpPr>
          <p:cNvPr id="2" name="Footer Placeholder 1">
            <a:extLst>
              <a:ext uri="{FF2B5EF4-FFF2-40B4-BE49-F238E27FC236}">
                <a16:creationId xmlns:a16="http://schemas.microsoft.com/office/drawing/2014/main" id="{B3AB4ED2-4188-4242-8D36-D30AFE940B22}"/>
              </a:ext>
            </a:extLst>
          </p:cNvPr>
          <p:cNvSpPr>
            <a:spLocks noGrp="1"/>
          </p:cNvSpPr>
          <p:nvPr>
            <p:ph type="ftr" sz="quarter" idx="12"/>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1180041466"/>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629671951"/>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Picture Placeholder 2"/>
          <p:cNvSpPr>
            <a:spLocks noGrp="1"/>
          </p:cNvSpPr>
          <p:nvPr>
            <p:ph type="pic" sz="quarter" idx="10"/>
          </p:nvPr>
        </p:nvSpPr>
        <p:spPr>
          <a:xfrm>
            <a:off x="308012" y="240633"/>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
        <p:nvSpPr>
          <p:cNvPr id="2" name="Footer Placeholder 1">
            <a:extLst>
              <a:ext uri="{FF2B5EF4-FFF2-40B4-BE49-F238E27FC236}">
                <a16:creationId xmlns:a16="http://schemas.microsoft.com/office/drawing/2014/main" id="{92312D10-86E6-4B1C-9AF0-A8AD12BEA7EB}"/>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3154862625"/>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88" indent="-171442">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78" indent="-165092">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66" indent="-109532">
              <a:buClr>
                <a:schemeClr val="tx1"/>
              </a:buClr>
              <a:buSzPct val="80000"/>
              <a:buFont typeface="Arial"/>
              <a:buChar char="•"/>
              <a:defRPr sz="1600" b="0" i="0">
                <a:solidFill>
                  <a:schemeClr val="tx1"/>
                </a:solidFill>
                <a:latin typeface="+mn-lt"/>
                <a:ea typeface="CiscoSansTT Thin" charset="0"/>
                <a:cs typeface="CiscoSansTT Thin" charset="0"/>
              </a:defRPr>
            </a:lvl3pPr>
            <a:lvl4pPr marL="910989" indent="-171407">
              <a:buClr>
                <a:schemeClr val="tx1"/>
              </a:buClr>
              <a:buSzPct val="80000"/>
              <a:buFont typeface="Arial"/>
              <a:buChar char="•"/>
              <a:defRPr sz="1400" b="0" i="0">
                <a:solidFill>
                  <a:schemeClr val="tx1"/>
                </a:solidFill>
                <a:latin typeface="+mn-lt"/>
                <a:ea typeface="CiscoSansTT Thin" charset="0"/>
                <a:cs typeface="CiscoSansTT Thin" charset="0"/>
              </a:defRPr>
            </a:lvl4pPr>
            <a:lvl5pPr marL="1082396" indent="-168232">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486571"/>
            <a:ext cx="8345488" cy="441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94F77B74-AD51-49C0-B276-14B89E140BE7}"/>
              </a:ext>
            </a:extLst>
          </p:cNvPr>
          <p:cNvSpPr>
            <a:spLocks noGrp="1"/>
          </p:cNvSpPr>
          <p:nvPr>
            <p:ph type="ftr" sz="quarter" idx="11"/>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35561980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3490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FE357A98-4CCE-4FBF-8812-E46653F70CA7}"/>
              </a:ext>
            </a:extLst>
          </p:cNvPr>
          <p:cNvSpPr>
            <a:spLocks noGrp="1"/>
          </p:cNvSpPr>
          <p:nvPr>
            <p:ph type="ftr" sz="quarter" idx="12"/>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221305397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57C0-DC2A-4F12-A868-1B62BC4395F6}"/>
              </a:ext>
            </a:extLst>
          </p:cNvPr>
          <p:cNvSpPr>
            <a:spLocks noGrp="1"/>
          </p:cNvSpPr>
          <p:nvPr>
            <p:ph type="ftr" sz="quarter" idx="10"/>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
        <p:nvSpPr>
          <p:cNvPr id="4" name="Title 3">
            <a:extLst>
              <a:ext uri="{FF2B5EF4-FFF2-40B4-BE49-F238E27FC236}">
                <a16:creationId xmlns:a16="http://schemas.microsoft.com/office/drawing/2014/main" id="{313C144C-3A90-43DE-9A36-647D661AC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2612999"/>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90"/>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4900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DED42CA0-52CF-4340-8E73-37D0492411C3}"/>
              </a:ext>
            </a:extLst>
          </p:cNvPr>
          <p:cNvSpPr>
            <a:spLocks noGrp="1"/>
          </p:cNvSpPr>
          <p:nvPr>
            <p:ph type="ftr" sz="quarter" idx="13"/>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25536511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8" name="Rectangle 4">
            <a:extLst>
              <a:ext uri="{FF2B5EF4-FFF2-40B4-BE49-F238E27FC236}">
                <a16:creationId xmlns:a16="http://schemas.microsoft.com/office/drawing/2014/main" id="{3E07930A-5E92-4820-BB3E-7D89EAB195D5}"/>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8141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40"/>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9" y="4148223"/>
            <a:ext cx="7180312" cy="326233"/>
          </a:xfrm>
          <a:prstGeom prst="rect">
            <a:avLst/>
          </a:prstGeom>
        </p:spPr>
        <p:txBody>
          <a:bodyPr wrap="square" lIns="91420" tIns="45710" rIns="91420" bIns="45710" anchor="b" anchorCtr="0">
            <a:noAutofit/>
          </a:bodyPr>
          <a:lstStyle>
            <a:lvl1pPr algn="l" defTabSz="60354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336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8714D72-2888-49D4-A1D4-27996961A0F8}"/>
              </a:ext>
            </a:extLst>
          </p:cNvPr>
          <p:cNvSpPr>
            <a:spLocks noGrp="1"/>
          </p:cNvSpPr>
          <p:nvPr>
            <p:ph type="ftr" sz="quarter" idx="12"/>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3804095636"/>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90"/>
            <a:ext cx="8280057" cy="3073946"/>
          </a:xfrm>
          <a:prstGeom prst="rect">
            <a:avLst/>
          </a:prstGeom>
        </p:spPr>
        <p:txBody>
          <a:bodyPr lIns="91420" tIns="45710" rIns="91420" bIns="45710">
            <a:noAutofit/>
          </a:bodyPr>
          <a:lstStyle>
            <a:lvl1pPr marL="285676" marR="0" indent="-285676" algn="ctr" defTabSz="45708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4"/>
            <a:ext cx="8345488" cy="336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6E4F79F4-4D8D-4391-82B5-21BB47DB8D49}"/>
              </a:ext>
            </a:extLst>
          </p:cNvPr>
          <p:cNvSpPr>
            <a:spLocks noGrp="1"/>
          </p:cNvSpPr>
          <p:nvPr>
            <p:ph type="ftr" sz="quarter" idx="10"/>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33346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4"/>
            <a:ext cx="3662024" cy="2925868"/>
          </a:xfrm>
          <a:prstGeom prst="rect">
            <a:avLst/>
          </a:prstGeom>
        </p:spPr>
        <p:txBody>
          <a:bodyPr lIns="91420" tIns="45710" rIns="91420" bIns="45710">
            <a:noAutofit/>
          </a:bodyPr>
          <a:lstStyle>
            <a:lvl1pPr marL="174617" indent="-117469">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11" indent="-114294">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05" indent="-114294">
              <a:buClr>
                <a:schemeClr val="tx2"/>
              </a:buClr>
              <a:buSzPct val="60000"/>
              <a:buFont typeface="Arial"/>
              <a:buChar char="•"/>
              <a:defRPr sz="1600" b="0" i="0">
                <a:solidFill>
                  <a:schemeClr val="bg1"/>
                </a:solidFill>
                <a:latin typeface="+mn-lt"/>
                <a:ea typeface="CiscoSansTT Thin" charset="0"/>
                <a:cs typeface="CiscoSansTT Thin" charset="0"/>
              </a:defRPr>
            </a:lvl3pPr>
            <a:lvl4pPr marL="517499" indent="-114294">
              <a:buClr>
                <a:schemeClr val="tx2"/>
              </a:buClr>
              <a:buSzPct val="60000"/>
              <a:buFont typeface="Arial"/>
              <a:buChar char="•"/>
              <a:defRPr sz="1400" b="0" i="0">
                <a:solidFill>
                  <a:schemeClr val="bg1"/>
                </a:solidFill>
                <a:latin typeface="+mn-lt"/>
                <a:ea typeface="CiscoSansTT Thin" charset="0"/>
                <a:cs typeface="CiscoSansTT Thin" charset="0"/>
              </a:defRPr>
            </a:lvl4pPr>
            <a:lvl5pPr marL="631793" indent="-114294">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8" y="264651"/>
            <a:ext cx="3686559" cy="88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US"/>
              <a:t>Click to edit Master title style</a:t>
            </a:r>
            <a:endParaRPr lang="en-GB"/>
          </a:p>
        </p:txBody>
      </p:sp>
      <p:sp>
        <p:nvSpPr>
          <p:cNvPr id="3" name="Footer Placeholder 2">
            <a:extLst>
              <a:ext uri="{FF2B5EF4-FFF2-40B4-BE49-F238E27FC236}">
                <a16:creationId xmlns:a16="http://schemas.microsoft.com/office/drawing/2014/main" id="{6097DDEE-9620-4617-B031-DB204774EE6F}"/>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2870351548"/>
      </p:ext>
    </p:extLst>
  </p:cSld>
  <p:clrMapOvr>
    <a:masterClrMapping/>
  </p:clrMapOvr>
  <p:extLst>
    <p:ext uri="{DCECCB84-F9BA-43D5-87BE-67443E8EF086}">
      <p15:sldGuideLst xmlns:p15="http://schemas.microsoft.com/office/powerpoint/2012/main">
        <p15:guide id="2" pos="288">
          <p15:clr>
            <a:srgbClr val="FBAE40"/>
          </p15:clr>
        </p15:guide>
        <p15:guide id="3" pos="2599">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2" y="2107015"/>
            <a:ext cx="3827463"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31812"/>
            <a:ext cx="3551237" cy="4059237"/>
          </a:xfrm>
          <a:prstGeom prst="rect">
            <a:avLst/>
          </a:prstGeom>
        </p:spPr>
        <p:txBody>
          <a:bodyPr lIns="0" rIns="0" anchor="ctr" anchorCtr="0"/>
          <a:lstStyle>
            <a:lvl1pPr marL="169855" indent="-169855">
              <a:lnSpc>
                <a:spcPct val="100000"/>
              </a:lnSpc>
              <a:buClr>
                <a:schemeClr val="tx1"/>
              </a:buClr>
              <a:buSzPct val="60000"/>
              <a:buFont typeface="Arial" panose="020B0604020202020204" pitchFamily="34" charset="0"/>
              <a:buChar char="•"/>
              <a:tabLst>
                <a:tab pos="228588" algn="l"/>
              </a:tabLst>
              <a:defRPr sz="2400"/>
            </a:lvl1pPr>
            <a:lvl2pPr marL="346058" indent="-171442">
              <a:lnSpc>
                <a:spcPct val="100000"/>
              </a:lnSpc>
              <a:buClr>
                <a:schemeClr val="tx1"/>
              </a:buClr>
              <a:buSzPct val="60000"/>
              <a:buFont typeface="Arial" panose="020B0604020202020204" pitchFamily="34" charset="0"/>
              <a:buChar char="•"/>
              <a:defRPr sz="2400"/>
            </a:lvl2pPr>
            <a:lvl3pPr marL="457178" indent="-117469">
              <a:lnSpc>
                <a:spcPct val="100000"/>
              </a:lnSpc>
              <a:buClr>
                <a:schemeClr val="tx1"/>
              </a:buClr>
              <a:buSzPct val="60000"/>
              <a:buFont typeface="Arial" panose="020B0604020202020204" pitchFamily="34" charset="0"/>
              <a:buChar char="•"/>
              <a:defRPr sz="2000"/>
            </a:lvl3pPr>
            <a:lvl4pPr marL="574647" indent="-117469">
              <a:lnSpc>
                <a:spcPct val="100000"/>
              </a:lnSpc>
              <a:buClr>
                <a:schemeClr val="tx1"/>
              </a:buClr>
              <a:buSzPct val="60000"/>
              <a:buFont typeface="Arial" panose="020B0604020202020204" pitchFamily="34" charset="0"/>
              <a:buChar char="•"/>
              <a:tabLst/>
              <a:defRPr sz="1800"/>
            </a:lvl4pPr>
            <a:lvl5pPr marL="744502" indent="-112707">
              <a:lnSpc>
                <a:spcPct val="100000"/>
              </a:lnSpc>
              <a:buClr>
                <a:schemeClr val="tx1"/>
              </a:buClr>
              <a:buSzPct val="60000"/>
              <a:buFont typeface="Arial" panose="020B0604020202020204" pitchFamily="34" charset="0"/>
              <a:buChar cha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31FFA3F-4EA7-4250-90C7-B81DE432023D}"/>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142815960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8" y="510540"/>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5" y="510540"/>
            <a:ext cx="3551237" cy="4080510"/>
          </a:xfrm>
          <a:prstGeom prst="rect">
            <a:avLst/>
          </a:prstGeom>
        </p:spPr>
        <p:txBody>
          <a:bodyPr lIns="0" rIns="0"/>
          <a:lstStyle>
            <a:lvl1pPr marL="114294" indent="-114294">
              <a:lnSpc>
                <a:spcPct val="100000"/>
              </a:lnSpc>
              <a:buClr>
                <a:schemeClr val="tx1"/>
              </a:buClr>
              <a:buSzPct val="60000"/>
              <a:defRPr sz="2000"/>
            </a:lvl1pPr>
            <a:lvl2pPr marL="228588" indent="-114294">
              <a:lnSpc>
                <a:spcPct val="100000"/>
              </a:lnSpc>
              <a:buClr>
                <a:schemeClr val="tx1"/>
              </a:buClr>
              <a:buSzPct val="60000"/>
              <a:defRPr sz="2000"/>
            </a:lvl2pPr>
            <a:lvl3pPr marL="342884" indent="-114294">
              <a:lnSpc>
                <a:spcPct val="100000"/>
              </a:lnSpc>
              <a:buClr>
                <a:schemeClr val="tx1"/>
              </a:buClr>
              <a:buSzPct val="60000"/>
              <a:defRPr sz="1800"/>
            </a:lvl3pPr>
            <a:lvl4pPr marL="457178" indent="-123819">
              <a:lnSpc>
                <a:spcPct val="100000"/>
              </a:lnSpc>
              <a:buClr>
                <a:schemeClr val="tx1"/>
              </a:buClr>
              <a:buSzPct val="60000"/>
              <a:defRPr sz="1600"/>
            </a:lvl4pPr>
            <a:lvl5pPr marL="574647" indent="-117469">
              <a:lnSpc>
                <a:spcPct val="100000"/>
              </a:lnSpc>
              <a:buClr>
                <a:schemeClr val="tx1"/>
              </a:buClr>
              <a:buSzPct val="60000"/>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8" y="1659844"/>
            <a:ext cx="3808797" cy="2931208"/>
          </a:xfrm>
          <a:prstGeom prst="rect">
            <a:avLst/>
          </a:prstGeom>
        </p:spPr>
        <p:txBody>
          <a:bodyPr/>
          <a:lstStyle>
            <a:lvl1pPr marL="114294" indent="-114294">
              <a:buClr>
                <a:schemeClr val="tx2"/>
              </a:buClr>
              <a:buSzPct val="60000"/>
              <a:defRPr lang="en-US" sz="2000" kern="1200" dirty="0" smtClean="0">
                <a:solidFill>
                  <a:schemeClr val="bg1"/>
                </a:solidFill>
                <a:latin typeface="+mn-lt"/>
                <a:ea typeface="ＭＳ Ｐゴシック" charset="0"/>
                <a:cs typeface="CiscoSans"/>
              </a:defRPr>
            </a:lvl1pPr>
            <a:lvl2pPr marL="228588" indent="-114294">
              <a:buClr>
                <a:schemeClr val="tx2"/>
              </a:buClr>
              <a:buSzPct val="60000"/>
              <a:defRPr sz="2000">
                <a:solidFill>
                  <a:schemeClr val="bg1"/>
                </a:solidFill>
              </a:defRPr>
            </a:lvl2pPr>
            <a:lvl3pPr marL="342884" indent="-114294">
              <a:buClr>
                <a:schemeClr val="tx2"/>
              </a:buClr>
              <a:buSzPct val="60000"/>
              <a:defRPr sz="1800">
                <a:solidFill>
                  <a:schemeClr val="bg1"/>
                </a:solidFill>
              </a:defRPr>
            </a:lvl3pPr>
            <a:lvl4pPr marL="457178" indent="-123819">
              <a:buClr>
                <a:schemeClr val="tx2"/>
              </a:buClr>
              <a:buSzPct val="60000"/>
              <a:defRPr sz="1600">
                <a:solidFill>
                  <a:schemeClr val="bg1"/>
                </a:solidFill>
              </a:defRPr>
            </a:lvl4pPr>
            <a:lvl5pPr marL="574647" indent="-117469">
              <a:buClr>
                <a:schemeClr val="tx2"/>
              </a:buClr>
              <a:buSzPct val="60000"/>
              <a:defRPr sz="16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200BB06-6AC6-4364-8D66-58A3F47E9625}"/>
              </a:ext>
            </a:extLst>
          </p:cNvPr>
          <p:cNvSpPr>
            <a:spLocks noGrp="1"/>
          </p:cNvSpPr>
          <p:nvPr>
            <p:ph type="ftr" sz="quarter" idx="12"/>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224556173"/>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7" y="4062353"/>
            <a:ext cx="3559175" cy="525145"/>
          </a:xfrm>
          <a:prstGeom prst="rect">
            <a:avLst/>
          </a:prstGeom>
        </p:spPr>
        <p:txBody>
          <a:bodyPr lIns="0" tIns="0" rIns="0" bIns="0"/>
          <a:lstStyle>
            <a:lvl1pPr marL="0" indent="0">
              <a:buNone/>
              <a:defRPr sz="1400"/>
            </a:lvl1pPr>
          </a:lstStyle>
          <a:p>
            <a:pPr lvl="0"/>
            <a:r>
              <a:rPr lang="en-US"/>
              <a:t>Edit Master text styles</a:t>
            </a:r>
          </a:p>
        </p:txBody>
      </p:sp>
      <p:sp>
        <p:nvSpPr>
          <p:cNvPr id="2" name="Footer Placeholder 1">
            <a:extLst>
              <a:ext uri="{FF2B5EF4-FFF2-40B4-BE49-F238E27FC236}">
                <a16:creationId xmlns:a16="http://schemas.microsoft.com/office/drawing/2014/main" id="{B6B616C0-5F13-4D17-A9CC-FDDCE3FFB641}"/>
              </a:ext>
            </a:extLst>
          </p:cNvPr>
          <p:cNvSpPr>
            <a:spLocks noGrp="1"/>
          </p:cNvSpPr>
          <p:nvPr>
            <p:ph type="ftr" sz="quarter" idx="12"/>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380686832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7" y="531815"/>
            <a:ext cx="3559175" cy="4059236"/>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0BF548A4-D401-4A88-8D71-3D86F4BDC8E9}"/>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80440866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 name="Footer Placeholder 1">
            <a:extLst>
              <a:ext uri="{FF2B5EF4-FFF2-40B4-BE49-F238E27FC236}">
                <a16:creationId xmlns:a16="http://schemas.microsoft.com/office/drawing/2014/main" id="{527ED3FE-6B56-4BB1-B685-53DA83033CA7}"/>
              </a:ext>
            </a:extLst>
          </p:cNvPr>
          <p:cNvSpPr>
            <a:spLocks noGrp="1"/>
          </p:cNvSpPr>
          <p:nvPr>
            <p:ph type="ftr" sz="quarter" idx="10"/>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336503396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4" y="0"/>
            <a:ext cx="4563907" cy="5143500"/>
          </a:xfrm>
          <a:prstGeom prst="rect">
            <a:avLst/>
          </a:prstGeom>
        </p:spPr>
        <p:txBody>
          <a:bodyPr anchor="ctr" anchorCtr="0"/>
          <a:lstStyle>
            <a:lvl1pPr marL="0" indent="0" algn="ctr">
              <a:buNone/>
              <a:defRPr/>
            </a:lvl1pPr>
          </a:lstStyle>
          <a:p>
            <a:r>
              <a:rPr lang="en-US"/>
              <a:t>Click icon to add picture</a:t>
            </a:r>
          </a:p>
        </p:txBody>
      </p:sp>
      <p:sp>
        <p:nvSpPr>
          <p:cNvPr id="2" name="Footer Placeholder 1">
            <a:extLst>
              <a:ext uri="{FF2B5EF4-FFF2-40B4-BE49-F238E27FC236}">
                <a16:creationId xmlns:a16="http://schemas.microsoft.com/office/drawing/2014/main" id="{EC2256C1-1088-4BF1-9F35-7892DC0A2266}"/>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232624978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7">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2" name="Footer Placeholder 1">
            <a:extLst>
              <a:ext uri="{FF2B5EF4-FFF2-40B4-BE49-F238E27FC236}">
                <a16:creationId xmlns:a16="http://schemas.microsoft.com/office/drawing/2014/main" id="{45277B53-227D-4A3F-A03A-074F288090C1}"/>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635869981"/>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
        <p:nvSpPr>
          <p:cNvPr id="6" name="Rectangle 4">
            <a:extLst>
              <a:ext uri="{FF2B5EF4-FFF2-40B4-BE49-F238E27FC236}">
                <a16:creationId xmlns:a16="http://schemas.microsoft.com/office/drawing/2014/main" id="{91307307-D73D-4F8F-A403-D94A22A7C51F}"/>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0357124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8" y="2107017"/>
            <a:ext cx="3808797" cy="92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79"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7"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2" name="Footer Placeholder 1">
            <a:extLst>
              <a:ext uri="{FF2B5EF4-FFF2-40B4-BE49-F238E27FC236}">
                <a16:creationId xmlns:a16="http://schemas.microsoft.com/office/drawing/2014/main" id="{871FF866-9C4D-418C-B685-2006049353C3}"/>
              </a:ext>
            </a:extLst>
          </p:cNvPr>
          <p:cNvSpPr>
            <a:spLocks noGrp="1"/>
          </p:cNvSpPr>
          <p:nvPr>
            <p:ph type="ftr" sz="quarter" idx="11"/>
          </p:nvPr>
        </p:nvSpPr>
        <p:spPr>
          <a:xfrm>
            <a:off x="400050" y="4774355"/>
            <a:ext cx="1974258" cy="92333"/>
          </a:xfrm>
        </p:spPr>
        <p:txBody>
          <a:bodyPr/>
          <a:lstStyle>
            <a:lvl1pPr>
              <a:defRPr>
                <a:solidFill>
                  <a:schemeClr val="accent1">
                    <a:lumMod val="75000"/>
                  </a:schemeClr>
                </a:solidFill>
              </a:defRPr>
            </a:lvl1pPr>
          </a:lstStyle>
          <a:p>
            <a:pPr>
              <a:defRPr/>
            </a:pPr>
            <a:r>
              <a:rPr lang="en-US" sz="600" spc="20">
                <a:cs typeface="CiscoSans Thin"/>
              </a:rPr>
              <a:t>© 2020 Cisco and/or its affiliates. All rights reserved.</a:t>
            </a:r>
          </a:p>
        </p:txBody>
      </p:sp>
    </p:spTree>
    <p:extLst>
      <p:ext uri="{BB962C8B-B14F-4D97-AF65-F5344CB8AC3E}">
        <p14:creationId xmlns:p14="http://schemas.microsoft.com/office/powerpoint/2010/main" val="110725003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7">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6" y="2129079"/>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1E447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144100211"/>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B4E8F-AF2D-4013-AA14-04971FB4EA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6DBAEBB-21C9-4724-9BD9-CCEB0BFAA0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8E458AF-DB97-454B-BE07-77563E045224}"/>
              </a:ext>
            </a:extLst>
          </p:cNvPr>
          <p:cNvSpPr>
            <a:spLocks noGrp="1"/>
          </p:cNvSpPr>
          <p:nvPr>
            <p:ph type="ftr" sz="quarter" idx="10"/>
          </p:nvPr>
        </p:nvSpPr>
        <p:spPr>
          <a:xfrm>
            <a:off x="400050" y="4774355"/>
            <a:ext cx="1974258" cy="92333"/>
          </a:xfrm>
        </p:spPr>
        <p:txBody>
          <a:bodyPr/>
          <a:lstStyle/>
          <a:p>
            <a:pPr>
              <a:defRPr/>
            </a:pPr>
            <a:r>
              <a:rPr lang="en-US" sz="600" spc="20">
                <a:solidFill>
                  <a:srgbClr val="FFFFFF">
                    <a:lumMod val="65000"/>
                  </a:srgbClr>
                </a:solidFill>
                <a:cs typeface="CiscoSans Thin"/>
              </a:rPr>
              <a:t>© 2020 Cisco and/or its affiliates. All rights reserved.</a:t>
            </a:r>
          </a:p>
        </p:txBody>
      </p:sp>
    </p:spTree>
    <p:extLst>
      <p:ext uri="{BB962C8B-B14F-4D97-AF65-F5344CB8AC3E}">
        <p14:creationId xmlns:p14="http://schemas.microsoft.com/office/powerpoint/2010/main" val="712689417"/>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8" y="1223662"/>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6"/>
            <a:ext cx="2596896" cy="3576578"/>
          </a:xfrm>
          <a:prstGeom prst="rect">
            <a:avLst/>
          </a:prstGeom>
        </p:spPr>
        <p:txBody>
          <a:bodyPr lIns="0" rIns="0" anchor="ctr"/>
          <a:lstStyle>
            <a:lvl1pPr marL="0" indent="0">
              <a:buNone/>
              <a:defRPr sz="2800">
                <a:solidFill>
                  <a:schemeClr val="bg1"/>
                </a:solidFill>
              </a:defRPr>
            </a:lvl1pPr>
            <a:lvl2pPr marL="142868" indent="0">
              <a:buNone/>
              <a:defRPr/>
            </a:lvl2pPr>
            <a:lvl3pPr marL="261923" indent="0">
              <a:buNone/>
              <a:defRPr/>
            </a:lvl3pPr>
            <a:lvl4pPr marL="333358" indent="0">
              <a:buNone/>
              <a:defRPr/>
            </a:lvl4pPr>
            <a:lvl5pPr marL="40479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40649"/>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nchor="t"/>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3" name="Group 2">
            <a:extLst>
              <a:ext uri="{FF2B5EF4-FFF2-40B4-BE49-F238E27FC236}">
                <a16:creationId xmlns:a16="http://schemas.microsoft.com/office/drawing/2014/main" id="{1991F690-C79C-E542-ADE5-B98B5C21D54E}"/>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251227411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21" name="Freeform 20">
            <a:extLst>
              <a:ext uri="{FF2B5EF4-FFF2-40B4-BE49-F238E27FC236}">
                <a16:creationId xmlns:a16="http://schemas.microsoft.com/office/drawing/2014/main" id="{DE133895-CF0C-8D48-B4A3-4C94D525E188}"/>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2" y="391308"/>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1541537977"/>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6"/>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49"/>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2"/>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2" y="391308"/>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spTree>
    <p:extLst>
      <p:ext uri="{BB962C8B-B14F-4D97-AF65-F5344CB8AC3E}">
        <p14:creationId xmlns:p14="http://schemas.microsoft.com/office/powerpoint/2010/main" val="124688113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6"/>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49"/>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2"/>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1"/>
            <a:ext cx="8339328"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2815271151"/>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6" y="1653702"/>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66" name="Freeform 65">
            <a:extLst>
              <a:ext uri="{FF2B5EF4-FFF2-40B4-BE49-F238E27FC236}">
                <a16:creationId xmlns:a16="http://schemas.microsoft.com/office/drawing/2014/main" id="{DDAEF4F6-E358-4249-AAEE-917895E8A324}"/>
              </a:ext>
            </a:extLst>
          </p:cNvPr>
          <p:cNvSpPr/>
          <p:nvPr userDrawn="1"/>
        </p:nvSpPr>
        <p:spPr>
          <a:xfrm>
            <a:off x="6551149"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a:p>
        </p:txBody>
      </p:sp>
    </p:spTree>
    <p:extLst>
      <p:ext uri="{BB962C8B-B14F-4D97-AF65-F5344CB8AC3E}">
        <p14:creationId xmlns:p14="http://schemas.microsoft.com/office/powerpoint/2010/main" val="265001931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6"/>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49"/>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2"/>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1"/>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userDrawn="1">
            <p:ph type="ctrTitle" hasCustomPrompt="1"/>
          </p:nvPr>
        </p:nvSpPr>
        <p:spPr>
          <a:xfrm>
            <a:off x="425766" y="1653702"/>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2" y="391308"/>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3"/>
            <a:ext cx="3561494" cy="4070648"/>
          </a:xfrm>
          <a:prstGeom prst="rect">
            <a:avLst/>
          </a:prstGeom>
        </p:spPr>
      </p:pic>
    </p:spTree>
    <p:extLst>
      <p:ext uri="{BB962C8B-B14F-4D97-AF65-F5344CB8AC3E}">
        <p14:creationId xmlns:p14="http://schemas.microsoft.com/office/powerpoint/2010/main" val="24796746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219542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347643020"/>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2"/>
          </a:solidFill>
          <a:ln w="29898" cap="flat">
            <a:noFill/>
            <a:prstDash val="solid"/>
            <a:miter/>
          </a:ln>
        </p:spPr>
        <p:txBody>
          <a:bodyPr rtlCol="0" anchor="ctr"/>
          <a:lstStyle/>
          <a:p>
            <a:endParaRPr lang="en-US"/>
          </a:p>
        </p:txBody>
      </p:sp>
    </p:spTree>
    <p:extLst>
      <p:ext uri="{BB962C8B-B14F-4D97-AF65-F5344CB8AC3E}">
        <p14:creationId xmlns:p14="http://schemas.microsoft.com/office/powerpoint/2010/main" val="1539441516"/>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2"/>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p:spPr>
        <p:txBody>
          <a:bodyPr anchor="ctr">
            <a:noAutofit/>
          </a:bodyPr>
          <a:lstStyle>
            <a:lvl1pPr marL="238125" indent="-238125">
              <a:spcBef>
                <a:spcPts val="2400"/>
              </a:spcBef>
              <a:buClr>
                <a:schemeClr val="tx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907694968"/>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tx2"/>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4" y="341313"/>
            <a:ext cx="4204117" cy="3931920"/>
          </a:xfrm>
        </p:spPr>
        <p:txBody>
          <a:bodyPr anchor="ctr">
            <a:noAutofit/>
          </a:bodyPr>
          <a:lstStyle>
            <a:lvl1pPr marL="238125" indent="-238125">
              <a:spcBef>
                <a:spcPts val="2400"/>
              </a:spcBef>
              <a:buClr>
                <a:schemeClr val="tx1"/>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8"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34596461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5"/>
            <a:ext cx="2576512" cy="731839"/>
          </a:xfrm>
          <a:prstGeom prst="rect">
            <a:avLst/>
          </a:prstGeom>
        </p:spPr>
        <p:txBody>
          <a:bodyPr anchor="ctr">
            <a:normAutofit/>
          </a:bodyPr>
          <a:lstStyle>
            <a:lvl1pPr>
              <a:lnSpc>
                <a:spcPct val="80000"/>
              </a:lnSpc>
              <a:defRPr sz="4000" baseline="0">
                <a:solidFill>
                  <a:schemeClr val="tx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8" y="2051050"/>
            <a:ext cx="2695575" cy="731838"/>
          </a:xfrm>
          <a:prstGeom prst="rect">
            <a:avLst/>
          </a:prstGeom>
        </p:spPr>
        <p:txBody>
          <a:bodyPr/>
          <a:lstStyle>
            <a:lvl1pPr marL="0" indent="0">
              <a:buNone/>
              <a:defRPr sz="4000" baseline="0">
                <a:solidFill>
                  <a:schemeClr val="tx1"/>
                </a:solidFill>
              </a:defRPr>
            </a:lvl1pPr>
          </a:lstStyle>
          <a:p>
            <a:pPr lvl="0"/>
            <a:r>
              <a:rPr lang="en-US"/>
              <a:t>##</a:t>
            </a:r>
          </a:p>
        </p:txBody>
      </p:sp>
      <p:sp>
        <p:nvSpPr>
          <p:cNvPr id="8" name="Text Placeholder 14">
            <a:extLst>
              <a:ext uri="{FF2B5EF4-FFF2-40B4-BE49-F238E27FC236}">
                <a16:creationId xmlns:a16="http://schemas.microsoft.com/office/drawing/2014/main" id="{D1FCB566-ADF6-AB48-8D05-7BE4EFEEAAC8}"/>
              </a:ext>
            </a:extLst>
          </p:cNvPr>
          <p:cNvSpPr>
            <a:spLocks noGrp="1"/>
          </p:cNvSpPr>
          <p:nvPr>
            <p:ph type="body" sz="quarter" idx="12" hasCustomPrompt="1"/>
          </p:nvPr>
        </p:nvSpPr>
        <p:spPr>
          <a:xfrm>
            <a:off x="542925" y="2905125"/>
            <a:ext cx="2576513" cy="1679575"/>
          </a:xfrm>
          <a:prstGeom prst="rect">
            <a:avLst/>
          </a:prstGeo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16">
            <a:extLst>
              <a:ext uri="{FF2B5EF4-FFF2-40B4-BE49-F238E27FC236}">
                <a16:creationId xmlns:a16="http://schemas.microsoft.com/office/drawing/2014/main" id="{F8F22DCF-40AA-BB45-967D-D84D73528A5D}"/>
              </a:ext>
            </a:extLst>
          </p:cNvPr>
          <p:cNvSpPr>
            <a:spLocks noGrp="1"/>
          </p:cNvSpPr>
          <p:nvPr>
            <p:ph type="body" sz="quarter" idx="13" hasCustomPrompt="1"/>
          </p:nvPr>
        </p:nvSpPr>
        <p:spPr>
          <a:xfrm>
            <a:off x="3414713" y="2905125"/>
            <a:ext cx="2576512" cy="1679575"/>
          </a:xfrm>
          <a:prstGeom prst="rect">
            <a:avLst/>
          </a:prstGeom>
        </p:spPr>
        <p:txBody>
          <a:bodyPr/>
          <a:lstStyle>
            <a:lvl1pPr marL="169863" indent="-169863">
              <a:buClr>
                <a:schemeClr val="accent2"/>
              </a:buClr>
              <a:defRPr lang="en-US" sz="1800" kern="1200" dirty="0">
                <a:solidFill>
                  <a:schemeClr val="tx1"/>
                </a:solidFill>
                <a:latin typeface="+mn-lt"/>
                <a:ea typeface="ＭＳ Ｐゴシック" charset="0"/>
                <a:cs typeface="CiscoSans"/>
              </a:defRPr>
            </a:lvl1pPr>
            <a:lvl2pPr marL="358775" indent="-187325">
              <a:buClr>
                <a:schemeClr val="accent2"/>
              </a:buClr>
              <a:defRPr lang="en-US" sz="1600" kern="1200" dirty="0">
                <a:solidFill>
                  <a:schemeClr val="tx1"/>
                </a:solidFill>
                <a:latin typeface="+mn-lt"/>
                <a:ea typeface="ＭＳ Ｐゴシック" charset="0"/>
                <a:cs typeface="CiscoSans"/>
              </a:defRPr>
            </a:lvl2pPr>
            <a:lvl3pPr marL="573087" indent="-285750">
              <a:buClr>
                <a:schemeClr val="accent2"/>
              </a:buClr>
              <a:defRPr lang="en-US" sz="1400" kern="1200" dirty="0">
                <a:solidFill>
                  <a:schemeClr val="tx1"/>
                </a:solidFill>
                <a:latin typeface="+mn-lt"/>
                <a:ea typeface="ＭＳ Ｐゴシック" charset="0"/>
                <a:cs typeface="CiscoSans"/>
              </a:defRPr>
            </a:lvl3pPr>
            <a:lvl4pPr marL="573088" indent="-171450">
              <a:buClr>
                <a:schemeClr val="accent2"/>
              </a:buClr>
              <a:defRPr lang="en-US" sz="1200" kern="1200" dirty="0">
                <a:solidFill>
                  <a:schemeClr val="tx1"/>
                </a:solidFill>
                <a:latin typeface="+mn-lt"/>
                <a:ea typeface="ＭＳ Ｐゴシック" charset="0"/>
                <a:cs typeface="CiscoSans"/>
              </a:defRPr>
            </a:lvl4pPr>
            <a:lvl5pPr marL="687387" indent="-171450">
              <a:buClr>
                <a:schemeClr val="accent2"/>
              </a:buClr>
              <a:defRPr lang="en-US" sz="1100" kern="1200" dirty="0">
                <a:solidFill>
                  <a:schemeClr val="tx1"/>
                </a:solidFill>
                <a:latin typeface="+mn-lt"/>
                <a:ea typeface="ＭＳ Ｐゴシック" charset="0"/>
                <a:cs typeface="CiscoSans"/>
              </a:defRPr>
            </a:lvl5pPr>
          </a:lstStyle>
          <a:p>
            <a:pPr marL="169863" lvl="0" indent="-169863" algn="l" defTabSz="684213"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8" lvl="1" indent="-115888" algn="l" defTabSz="684213" rtl="0" eaLnBrk="1" fontAlgn="base" hangingPunct="1">
              <a:lnSpc>
                <a:spcPct val="95000"/>
              </a:lnSpc>
              <a:spcBef>
                <a:spcPts val="600"/>
              </a:spcBef>
              <a:spcAft>
                <a:spcPct val="0"/>
              </a:spcAft>
              <a:buClr>
                <a:schemeClr val="accent2"/>
              </a:buClr>
              <a:buSzPct val="80000"/>
              <a:buFont typeface="System Font Regular"/>
              <a:buChar char="-"/>
              <a:tabLst>
                <a:tab pos="339725" algn="l"/>
              </a:tabLst>
            </a:pPr>
            <a:r>
              <a:rPr lang="en-US"/>
              <a:t>Second level</a:t>
            </a:r>
          </a:p>
          <a:p>
            <a:pPr marL="400050" lvl="2" indent="-112713"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38" lvl="3" indent="-114300" algn="l" defTabSz="684213"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25" lvl="4" indent="-115888"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10" name="Text Placeholder 18">
            <a:extLst>
              <a:ext uri="{FF2B5EF4-FFF2-40B4-BE49-F238E27FC236}">
                <a16:creationId xmlns:a16="http://schemas.microsoft.com/office/drawing/2014/main" id="{365CB7F7-C8B7-E647-A291-1E817E77E173}"/>
              </a:ext>
            </a:extLst>
          </p:cNvPr>
          <p:cNvSpPr>
            <a:spLocks noGrp="1"/>
          </p:cNvSpPr>
          <p:nvPr>
            <p:ph type="body" sz="quarter" idx="14" hasCustomPrompt="1"/>
          </p:nvPr>
        </p:nvSpPr>
        <p:spPr>
          <a:xfrm>
            <a:off x="6256338" y="2905125"/>
            <a:ext cx="2695575" cy="1679574"/>
          </a:xfrm>
          <a:prstGeom prst="rect">
            <a:avLst/>
          </a:prstGeom>
        </p:spPr>
        <p:txBody>
          <a:bodyPr/>
          <a:lstStyle>
            <a:lvl1pPr marL="169863" indent="-169863">
              <a:buClr>
                <a:schemeClr val="accent2"/>
              </a:buClr>
              <a:defRPr lang="en-US" sz="1800" kern="1200" dirty="0">
                <a:solidFill>
                  <a:schemeClr val="tx1"/>
                </a:solidFill>
                <a:latin typeface="+mn-lt"/>
                <a:ea typeface="ＭＳ Ｐゴシック" charset="0"/>
                <a:cs typeface="CiscoSans"/>
              </a:defRPr>
            </a:lvl1pPr>
            <a:lvl2pPr marL="358775" indent="-187325">
              <a:buClr>
                <a:schemeClr val="accent2"/>
              </a:buClr>
              <a:defRPr lang="en-US" sz="1600" kern="1200" dirty="0">
                <a:solidFill>
                  <a:schemeClr val="tx1"/>
                </a:solidFill>
                <a:latin typeface="+mn-lt"/>
                <a:ea typeface="ＭＳ Ｐゴシック" charset="0"/>
                <a:cs typeface="CiscoSans"/>
              </a:defRPr>
            </a:lvl2pPr>
            <a:lvl3pPr marL="573087" indent="-285750">
              <a:buClr>
                <a:schemeClr val="accent2"/>
              </a:buClr>
              <a:defRPr lang="en-US" sz="1400" kern="1200" dirty="0">
                <a:solidFill>
                  <a:schemeClr val="tx1"/>
                </a:solidFill>
                <a:latin typeface="+mn-lt"/>
                <a:ea typeface="ＭＳ Ｐゴシック" charset="0"/>
                <a:cs typeface="CiscoSans"/>
              </a:defRPr>
            </a:lvl3pPr>
            <a:lvl4pPr marL="573088" indent="-171450">
              <a:buClr>
                <a:schemeClr val="accent2"/>
              </a:buClr>
              <a:defRPr lang="en-US" sz="1200" kern="1200" dirty="0">
                <a:solidFill>
                  <a:schemeClr val="tx1"/>
                </a:solidFill>
                <a:latin typeface="+mn-lt"/>
                <a:ea typeface="ＭＳ Ｐゴシック" charset="0"/>
                <a:cs typeface="CiscoSans"/>
              </a:defRPr>
            </a:lvl4pPr>
            <a:lvl5pPr marL="687387" indent="-171450">
              <a:buClr>
                <a:schemeClr val="accent2"/>
              </a:buClr>
              <a:defRPr lang="en-US" sz="1100" kern="1200" dirty="0">
                <a:solidFill>
                  <a:schemeClr val="tx1"/>
                </a:solidFill>
                <a:latin typeface="+mn-lt"/>
                <a:ea typeface="ＭＳ Ｐゴシック" charset="0"/>
                <a:cs typeface="CiscoSans"/>
              </a:defRPr>
            </a:lvl5pPr>
          </a:lstStyle>
          <a:p>
            <a:pPr marL="169863" lvl="0" indent="-169863" algn="l" defTabSz="684213"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8" lvl="1" indent="-115888" algn="l" defTabSz="684213" rtl="0" eaLnBrk="1" fontAlgn="base" hangingPunct="1">
              <a:lnSpc>
                <a:spcPct val="95000"/>
              </a:lnSpc>
              <a:spcBef>
                <a:spcPts val="600"/>
              </a:spcBef>
              <a:spcAft>
                <a:spcPct val="0"/>
              </a:spcAft>
              <a:buClr>
                <a:schemeClr val="accent2"/>
              </a:buClr>
              <a:buSzPct val="80000"/>
              <a:buFont typeface="System Font Regular"/>
              <a:buChar char="-"/>
              <a:tabLst>
                <a:tab pos="339725" algn="l"/>
              </a:tabLst>
            </a:pPr>
            <a:r>
              <a:rPr lang="en-US"/>
              <a:t>Second level</a:t>
            </a:r>
          </a:p>
          <a:p>
            <a:pPr marL="400050" lvl="2" indent="-112713"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38" lvl="3" indent="-114300" algn="l" defTabSz="684213"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25" lvl="4" indent="-115888" algn="l" defTabSz="684213"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tx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Tree>
    <p:extLst>
      <p:ext uri="{BB962C8B-B14F-4D97-AF65-F5344CB8AC3E}">
        <p14:creationId xmlns:p14="http://schemas.microsoft.com/office/powerpoint/2010/main" val="151055977"/>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tx2"/>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5"/>
            <a:ext cx="2576512" cy="731839"/>
          </a:xfrm>
          <a:prstGeom prst="rect">
            <a:avLst/>
          </a:prstGeom>
        </p:spPr>
        <p:txBody>
          <a:bodyPr anchor="ctr">
            <a:norm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8" y="2051050"/>
            <a:ext cx="2695575" cy="731838"/>
          </a:xfrm>
          <a:prstGeom prst="rect">
            <a:avLst/>
          </a:prstGeom>
        </p:spPr>
        <p:txBody>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19" name="Rectangle 7">
            <a:extLst>
              <a:ext uri="{FF2B5EF4-FFF2-40B4-BE49-F238E27FC236}">
                <a16:creationId xmlns:a16="http://schemas.microsoft.com/office/drawing/2014/main" id="{FC36E454-11A2-D048-9654-66169FE73D5F}"/>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grpSp>
        <p:nvGrpSpPr>
          <p:cNvPr id="20" name="Group 19">
            <a:extLst>
              <a:ext uri="{FF2B5EF4-FFF2-40B4-BE49-F238E27FC236}">
                <a16:creationId xmlns:a16="http://schemas.microsoft.com/office/drawing/2014/main" id="{16640192-158F-F347-A27E-083FE16CB367}"/>
              </a:ext>
            </a:extLst>
          </p:cNvPr>
          <p:cNvGrpSpPr/>
          <p:nvPr userDrawn="1"/>
        </p:nvGrpSpPr>
        <p:grpSpPr>
          <a:xfrm>
            <a:off x="528763" y="4712481"/>
            <a:ext cx="921665" cy="191516"/>
            <a:chOff x="528763" y="4734321"/>
            <a:chExt cx="816561" cy="169676"/>
          </a:xfrm>
          <a:solidFill>
            <a:schemeClr val="bg1"/>
          </a:solidFill>
        </p:grpSpPr>
        <p:grpSp>
          <p:nvGrpSpPr>
            <p:cNvPr id="21" name="Graphic 2">
              <a:extLst>
                <a:ext uri="{FF2B5EF4-FFF2-40B4-BE49-F238E27FC236}">
                  <a16:creationId xmlns:a16="http://schemas.microsoft.com/office/drawing/2014/main" id="{608A3145-0BBF-2346-AEE8-B68BCDAACD04}"/>
                </a:ext>
              </a:extLst>
            </p:cNvPr>
            <p:cNvGrpSpPr/>
            <p:nvPr userDrawn="1"/>
          </p:nvGrpSpPr>
          <p:grpSpPr>
            <a:xfrm>
              <a:off x="896434" y="4795886"/>
              <a:ext cx="448890" cy="108111"/>
              <a:chOff x="4433187" y="1865375"/>
              <a:chExt cx="2298157" cy="553493"/>
            </a:xfrm>
            <a:grpFill/>
          </p:grpSpPr>
          <p:sp>
            <p:nvSpPr>
              <p:cNvPr id="23" name="Freeform 22">
                <a:extLst>
                  <a:ext uri="{FF2B5EF4-FFF2-40B4-BE49-F238E27FC236}">
                    <a16:creationId xmlns:a16="http://schemas.microsoft.com/office/drawing/2014/main" id="{F5DA23B2-074C-1D4F-9423-41E7D8533CCD}"/>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C89BB6E3-68B4-F74D-9660-AB5A26D4E391}"/>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5" name="Freeform 34">
                <a:extLst>
                  <a:ext uri="{FF2B5EF4-FFF2-40B4-BE49-F238E27FC236}">
                    <a16:creationId xmlns:a16="http://schemas.microsoft.com/office/drawing/2014/main" id="{E90E2323-5F45-A44A-AD72-AC92C87313BB}"/>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7" name="Freeform 36">
                <a:extLst>
                  <a:ext uri="{FF2B5EF4-FFF2-40B4-BE49-F238E27FC236}">
                    <a16:creationId xmlns:a16="http://schemas.microsoft.com/office/drawing/2014/main" id="{3E1005AF-D46E-2545-9FEF-16AA507425C8}"/>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8" name="Freeform 37">
                <a:extLst>
                  <a:ext uri="{FF2B5EF4-FFF2-40B4-BE49-F238E27FC236}">
                    <a16:creationId xmlns:a16="http://schemas.microsoft.com/office/drawing/2014/main" id="{80EC794F-06E5-C440-B28E-06EFCF42AC73}"/>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9" name="Freeform 38">
                <a:extLst>
                  <a:ext uri="{FF2B5EF4-FFF2-40B4-BE49-F238E27FC236}">
                    <a16:creationId xmlns:a16="http://schemas.microsoft.com/office/drawing/2014/main" id="{615B9127-EF05-FB47-8969-414A1766378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2" name="Freeform 6">
              <a:extLst>
                <a:ext uri="{FF2B5EF4-FFF2-40B4-BE49-F238E27FC236}">
                  <a16:creationId xmlns:a16="http://schemas.microsoft.com/office/drawing/2014/main" id="{4E043034-EC43-2241-8896-2BA86CD7995D}"/>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40" name="Rectangle 4">
            <a:extLst>
              <a:ext uri="{FF2B5EF4-FFF2-40B4-BE49-F238E27FC236}">
                <a16:creationId xmlns:a16="http://schemas.microsoft.com/office/drawing/2014/main" id="{A424C76B-B20A-BF40-BBAC-285AD907AC9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42" name="Text Placeholder 16">
            <a:extLst>
              <a:ext uri="{FF2B5EF4-FFF2-40B4-BE49-F238E27FC236}">
                <a16:creationId xmlns:a16="http://schemas.microsoft.com/office/drawing/2014/main" id="{E2AD7E11-94E1-984F-8CCD-770A102CD3C6}"/>
              </a:ext>
            </a:extLst>
          </p:cNvPr>
          <p:cNvSpPr>
            <a:spLocks noGrp="1"/>
          </p:cNvSpPr>
          <p:nvPr>
            <p:ph type="body" sz="quarter" idx="13" hasCustomPrompt="1"/>
          </p:nvPr>
        </p:nvSpPr>
        <p:spPr>
          <a:xfrm>
            <a:off x="3414713" y="2905125"/>
            <a:ext cx="2576512"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3" name="Text Placeholder 18">
            <a:extLst>
              <a:ext uri="{FF2B5EF4-FFF2-40B4-BE49-F238E27FC236}">
                <a16:creationId xmlns:a16="http://schemas.microsoft.com/office/drawing/2014/main" id="{3949089B-9CE0-8C42-A85F-57D2D52A8E5E}"/>
              </a:ext>
            </a:extLst>
          </p:cNvPr>
          <p:cNvSpPr>
            <a:spLocks noGrp="1"/>
          </p:cNvSpPr>
          <p:nvPr>
            <p:ph type="body" sz="quarter" idx="14" hasCustomPrompt="1"/>
          </p:nvPr>
        </p:nvSpPr>
        <p:spPr>
          <a:xfrm>
            <a:off x="6256338" y="2905125"/>
            <a:ext cx="2695575" cy="1679574"/>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4" name="Text Placeholder 14">
            <a:extLst>
              <a:ext uri="{FF2B5EF4-FFF2-40B4-BE49-F238E27FC236}">
                <a16:creationId xmlns:a16="http://schemas.microsoft.com/office/drawing/2014/main" id="{3819789C-6A88-6F40-AFC6-E402BF814A68}"/>
              </a:ext>
            </a:extLst>
          </p:cNvPr>
          <p:cNvSpPr>
            <a:spLocks noGrp="1"/>
          </p:cNvSpPr>
          <p:nvPr>
            <p:ph type="body" sz="quarter" idx="12" hasCustomPrompt="1"/>
          </p:nvPr>
        </p:nvSpPr>
        <p:spPr>
          <a:xfrm>
            <a:off x="542925" y="2905125"/>
            <a:ext cx="2576513"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6436375"/>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5"/>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4">
              <a:alpha val="50000"/>
            </a:schemeClr>
          </a:solidFill>
          <a:ln w="20071" cap="flat">
            <a:noFill/>
            <a:prstDash val="solid"/>
            <a:miter/>
          </a:ln>
        </p:spPr>
        <p:txBody>
          <a:bodyPr rtlCol="0" anchor="ctr"/>
          <a:lstStyle/>
          <a:p>
            <a:endParaRPr lang="en-US"/>
          </a:p>
        </p:txBody>
      </p:sp>
      <p:grpSp>
        <p:nvGrpSpPr>
          <p:cNvPr id="68" name="Group 67">
            <a:extLst>
              <a:ext uri="{FF2B5EF4-FFF2-40B4-BE49-F238E27FC236}">
                <a16:creationId xmlns:a16="http://schemas.microsoft.com/office/drawing/2014/main" id="{2C8D71F1-F450-3540-B0DB-5E198AFD6884}"/>
              </a:ext>
            </a:extLst>
          </p:cNvPr>
          <p:cNvGrpSpPr/>
          <p:nvPr userDrawn="1"/>
        </p:nvGrpSpPr>
        <p:grpSpPr>
          <a:xfrm>
            <a:off x="282292" y="2563081"/>
            <a:ext cx="3178762" cy="580089"/>
            <a:chOff x="5098310" y="621568"/>
            <a:chExt cx="1477115" cy="269557"/>
          </a:xfrm>
          <a:gradFill>
            <a:gsLst>
              <a:gs pos="18000">
                <a:schemeClr val="accent4">
                  <a:alpha val="8000"/>
                </a:schemeClr>
              </a:gs>
              <a:gs pos="48000">
                <a:schemeClr val="accent4">
                  <a:alpha val="47000"/>
                </a:schemeClr>
              </a:gs>
              <a:gs pos="78000">
                <a:schemeClr val="accent4"/>
              </a:gs>
            </a:gsLst>
            <a:lin ang="600000" scaled="0"/>
          </a:gradFill>
        </p:grpSpPr>
        <p:sp>
          <p:nvSpPr>
            <p:cNvPr id="69" name="Freeform 68">
              <a:extLst>
                <a:ext uri="{FF2B5EF4-FFF2-40B4-BE49-F238E27FC236}">
                  <a16:creationId xmlns:a16="http://schemas.microsoft.com/office/drawing/2014/main" id="{6E61787F-F6EE-7A4C-BEC3-3F8FB657CA58}"/>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96B83B50-0CCF-A845-A364-EA85E6261AFF}"/>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D454FE6A-A3E3-664E-A4C7-74EAC738E1FE}"/>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8D479E64-D1F6-B047-94D5-E82B46763710}"/>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9D6FCB8E-2ABB-764A-9A10-2B11150949E3}"/>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a:p>
          </p:txBody>
        </p:sp>
      </p:gr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6"/>
            <a:ext cx="1128042" cy="207621"/>
            <a:chOff x="4467257" y="275609"/>
            <a:chExt cx="1102102" cy="202847"/>
          </a:xfrm>
          <a:solidFill>
            <a:schemeClr val="accent3"/>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4" y="531813"/>
            <a:ext cx="4204117" cy="3983038"/>
          </a:xfrm>
        </p:spPr>
        <p:txBody>
          <a:bodyPr anchor="ctr">
            <a:noAutofit/>
          </a:bodyPr>
          <a:lstStyle>
            <a:lvl1pPr marL="238125" indent="-238125">
              <a:spcBef>
                <a:spcPts val="2400"/>
              </a:spcBef>
              <a:buClr>
                <a:schemeClr val="accent2"/>
              </a:buClr>
              <a:buSzPct val="100000"/>
              <a:buFont typeface="Courier" pitchFamily="2" charset="0"/>
              <a:buChar char="‣"/>
              <a:defRPr>
                <a:solidFill>
                  <a:schemeClr val="bg1"/>
                </a:solidFill>
              </a:defRPr>
            </a:lvl1pPr>
            <a:lvl2pPr marL="515938" indent="-238125">
              <a:buClr>
                <a:schemeClr val="tx2"/>
              </a:buClr>
              <a:buSzPct val="100000"/>
              <a:buFont typeface="Courier" pitchFamily="2" charset="0"/>
              <a:buChar char="‣"/>
              <a:defRPr>
                <a:solidFill>
                  <a:schemeClr val="bg1"/>
                </a:solidFill>
              </a:defRPr>
            </a:lvl2pPr>
            <a:lvl3pPr marL="742950" indent="-238125">
              <a:buClr>
                <a:schemeClr val="tx2"/>
              </a:buClr>
              <a:buSzPct val="100000"/>
              <a:buFont typeface="Courier" pitchFamily="2" charset="0"/>
              <a:buChar char="‣"/>
              <a:defRPr>
                <a:solidFill>
                  <a:schemeClr val="bg1"/>
                </a:solidFill>
              </a:defRPr>
            </a:lvl3pPr>
            <a:lvl4pPr marL="971550" indent="-238125">
              <a:buFont typeface="Apple SD GothicNeo ExtraBold" panose="02000300000000000000" pitchFamily="2" charset="-127"/>
              <a:buChar char="▷"/>
              <a:defRPr/>
            </a:lvl4pPr>
            <a:lvl5pPr marL="1200150" indent="-238125">
              <a:buFont typeface="Apple SD GothicNeo ExtraBold" panose="02000300000000000000" pitchFamily="2" charset="-127"/>
              <a:buChar char="▷"/>
              <a:defRPr/>
            </a:lvl5pPr>
          </a:lstStyle>
          <a:p>
            <a:pPr lvl="0"/>
            <a:r>
              <a:rPr lang="en-US"/>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8" y="1765818"/>
            <a:ext cx="2145139" cy="667875"/>
          </a:xfrm>
          <a:prstGeom prst="rect">
            <a:avLst/>
          </a:prstGeom>
        </p:spPr>
        <p:txBody>
          <a:bodyPr wrap="none">
            <a:noAutofit/>
          </a:bodyPr>
          <a:lstStyle/>
          <a:p>
            <a:pPr algn="l" defTabSz="684213" rtl="0" eaLnBrk="1" fontAlgn="base" hangingPunct="1">
              <a:lnSpc>
                <a:spcPct val="85000"/>
              </a:lnSpc>
              <a:spcBef>
                <a:spcPct val="0"/>
              </a:spcBef>
              <a:spcAft>
                <a:spcPct val="0"/>
              </a:spcAft>
            </a:pPr>
            <a:r>
              <a:rPr lang="en-US" sz="4400" b="0" i="0" u="none" kern="1200" baseline="0">
                <a:solidFill>
                  <a:schemeClr val="bg1"/>
                </a:solidFill>
                <a:latin typeface="+mj-lt"/>
                <a:cs typeface="CiscoSansTT Thin" charset="0"/>
              </a:rPr>
              <a:t>Agenda</a:t>
            </a:r>
          </a:p>
        </p:txBody>
      </p:sp>
    </p:spTree>
    <p:extLst>
      <p:ext uri="{BB962C8B-B14F-4D97-AF65-F5344CB8AC3E}">
        <p14:creationId xmlns:p14="http://schemas.microsoft.com/office/powerpoint/2010/main" val="36203781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Agenda, Numbered">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37BE2A8-1232-7B42-A8FF-8C01F6C217FF}"/>
              </a:ext>
            </a:extLst>
          </p:cNvPr>
          <p:cNvSpPr>
            <a:spLocks noGrp="1"/>
          </p:cNvSpPr>
          <p:nvPr>
            <p:ph type="body" sz="quarter" idx="11" hasCustomPrompt="1"/>
          </p:nvPr>
        </p:nvSpPr>
        <p:spPr>
          <a:xfrm>
            <a:off x="4557556" y="762000"/>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one here</a:t>
            </a:r>
          </a:p>
        </p:txBody>
      </p:sp>
      <p:sp>
        <p:nvSpPr>
          <p:cNvPr id="8" name="Text Placeholder 2">
            <a:extLst>
              <a:ext uri="{FF2B5EF4-FFF2-40B4-BE49-F238E27FC236}">
                <a16:creationId xmlns:a16="http://schemas.microsoft.com/office/drawing/2014/main" id="{59CFFCD8-D895-2840-9936-4EC96F042079}"/>
              </a:ext>
            </a:extLst>
          </p:cNvPr>
          <p:cNvSpPr>
            <a:spLocks noGrp="1" noChangeAspect="1"/>
          </p:cNvSpPr>
          <p:nvPr>
            <p:ph type="body" sz="quarter" idx="12" hasCustomPrompt="1"/>
          </p:nvPr>
        </p:nvSpPr>
        <p:spPr>
          <a:xfrm>
            <a:off x="3967067" y="1550565"/>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2</a:t>
            </a:r>
          </a:p>
        </p:txBody>
      </p:sp>
      <p:sp>
        <p:nvSpPr>
          <p:cNvPr id="9" name="Text Placeholder 4">
            <a:extLst>
              <a:ext uri="{FF2B5EF4-FFF2-40B4-BE49-F238E27FC236}">
                <a16:creationId xmlns:a16="http://schemas.microsoft.com/office/drawing/2014/main" id="{0DAA98AF-256D-EB4F-8CD2-9F318B8F4F3A}"/>
              </a:ext>
            </a:extLst>
          </p:cNvPr>
          <p:cNvSpPr>
            <a:spLocks noGrp="1"/>
          </p:cNvSpPr>
          <p:nvPr>
            <p:ph type="body" sz="quarter" idx="13" hasCustomPrompt="1"/>
          </p:nvPr>
        </p:nvSpPr>
        <p:spPr>
          <a:xfrm>
            <a:off x="4557556" y="1518924"/>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two here</a:t>
            </a:r>
          </a:p>
        </p:txBody>
      </p:sp>
      <p:sp>
        <p:nvSpPr>
          <p:cNvPr id="10" name="Text Placeholder 2">
            <a:extLst>
              <a:ext uri="{FF2B5EF4-FFF2-40B4-BE49-F238E27FC236}">
                <a16:creationId xmlns:a16="http://schemas.microsoft.com/office/drawing/2014/main" id="{BF117D28-EE20-D346-B679-B380D9B9E3C2}"/>
              </a:ext>
            </a:extLst>
          </p:cNvPr>
          <p:cNvSpPr>
            <a:spLocks noGrp="1" noChangeAspect="1"/>
          </p:cNvSpPr>
          <p:nvPr>
            <p:ph type="body" sz="quarter" idx="14" hasCustomPrompt="1"/>
          </p:nvPr>
        </p:nvSpPr>
        <p:spPr>
          <a:xfrm>
            <a:off x="3975160" y="2307489"/>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3</a:t>
            </a:r>
          </a:p>
        </p:txBody>
      </p:sp>
      <p:sp>
        <p:nvSpPr>
          <p:cNvPr id="11" name="Text Placeholder 4">
            <a:extLst>
              <a:ext uri="{FF2B5EF4-FFF2-40B4-BE49-F238E27FC236}">
                <a16:creationId xmlns:a16="http://schemas.microsoft.com/office/drawing/2014/main" id="{CEAB2726-8CF0-0542-A39A-261B71A478C0}"/>
              </a:ext>
            </a:extLst>
          </p:cNvPr>
          <p:cNvSpPr>
            <a:spLocks noGrp="1"/>
          </p:cNvSpPr>
          <p:nvPr>
            <p:ph type="body" sz="quarter" idx="15" hasCustomPrompt="1"/>
          </p:nvPr>
        </p:nvSpPr>
        <p:spPr>
          <a:xfrm>
            <a:off x="4565649" y="2275848"/>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three here</a:t>
            </a:r>
          </a:p>
        </p:txBody>
      </p:sp>
      <p:sp>
        <p:nvSpPr>
          <p:cNvPr id="12" name="Text Placeholder 2">
            <a:extLst>
              <a:ext uri="{FF2B5EF4-FFF2-40B4-BE49-F238E27FC236}">
                <a16:creationId xmlns:a16="http://schemas.microsoft.com/office/drawing/2014/main" id="{C9D29933-A44D-5946-8923-9ADD691BDC19}"/>
              </a:ext>
            </a:extLst>
          </p:cNvPr>
          <p:cNvSpPr>
            <a:spLocks noGrp="1" noChangeAspect="1"/>
          </p:cNvSpPr>
          <p:nvPr>
            <p:ph type="body" sz="quarter" idx="16" hasCustomPrompt="1"/>
          </p:nvPr>
        </p:nvSpPr>
        <p:spPr>
          <a:xfrm>
            <a:off x="3975160" y="3064413"/>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4</a:t>
            </a:r>
          </a:p>
        </p:txBody>
      </p:sp>
      <p:sp>
        <p:nvSpPr>
          <p:cNvPr id="13" name="Text Placeholder 4">
            <a:extLst>
              <a:ext uri="{FF2B5EF4-FFF2-40B4-BE49-F238E27FC236}">
                <a16:creationId xmlns:a16="http://schemas.microsoft.com/office/drawing/2014/main" id="{B5205B15-675C-DC4D-B3A4-B878F48FA2E9}"/>
              </a:ext>
            </a:extLst>
          </p:cNvPr>
          <p:cNvSpPr>
            <a:spLocks noGrp="1"/>
          </p:cNvSpPr>
          <p:nvPr>
            <p:ph type="body" sz="quarter" idx="17" hasCustomPrompt="1"/>
          </p:nvPr>
        </p:nvSpPr>
        <p:spPr>
          <a:xfrm>
            <a:off x="4565649" y="3032772"/>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four here</a:t>
            </a:r>
          </a:p>
        </p:txBody>
      </p:sp>
      <p:sp>
        <p:nvSpPr>
          <p:cNvPr id="14" name="Text Placeholder 2">
            <a:extLst>
              <a:ext uri="{FF2B5EF4-FFF2-40B4-BE49-F238E27FC236}">
                <a16:creationId xmlns:a16="http://schemas.microsoft.com/office/drawing/2014/main" id="{5FE71A7A-C295-EE47-A81F-DADF384F94F0}"/>
              </a:ext>
            </a:extLst>
          </p:cNvPr>
          <p:cNvSpPr>
            <a:spLocks noGrp="1" noChangeAspect="1"/>
          </p:cNvSpPr>
          <p:nvPr>
            <p:ph type="body" sz="quarter" idx="18" hasCustomPrompt="1"/>
          </p:nvPr>
        </p:nvSpPr>
        <p:spPr>
          <a:xfrm>
            <a:off x="3975160" y="3821337"/>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5</a:t>
            </a:r>
          </a:p>
        </p:txBody>
      </p:sp>
      <p:sp>
        <p:nvSpPr>
          <p:cNvPr id="15" name="Text Placeholder 4">
            <a:extLst>
              <a:ext uri="{FF2B5EF4-FFF2-40B4-BE49-F238E27FC236}">
                <a16:creationId xmlns:a16="http://schemas.microsoft.com/office/drawing/2014/main" id="{0A1588BF-3282-6349-882A-3513E0EC56A9}"/>
              </a:ext>
            </a:extLst>
          </p:cNvPr>
          <p:cNvSpPr>
            <a:spLocks noGrp="1"/>
          </p:cNvSpPr>
          <p:nvPr>
            <p:ph type="body" sz="quarter" idx="19" hasCustomPrompt="1"/>
          </p:nvPr>
        </p:nvSpPr>
        <p:spPr>
          <a:xfrm>
            <a:off x="4565649" y="3789696"/>
            <a:ext cx="4091143" cy="457200"/>
          </a:xfrm>
        </p:spPr>
        <p:txBody>
          <a:bodyPr anchor="ctr">
            <a:noAutofit/>
          </a:bodyPr>
          <a:lstStyle>
            <a:lvl1pPr marL="0" indent="0">
              <a:buFontTx/>
              <a:buNone/>
              <a:defRPr sz="2000">
                <a:solidFill>
                  <a:schemeClr val="bg1"/>
                </a:solidFill>
              </a:defRPr>
            </a:lvl1pPr>
            <a:lvl2pPr marL="177800" indent="0">
              <a:buFontTx/>
              <a:buNone/>
              <a:defRPr>
                <a:solidFill>
                  <a:schemeClr val="bg1"/>
                </a:solidFill>
              </a:defRPr>
            </a:lvl2pPr>
            <a:lvl3pPr marL="360363" indent="0">
              <a:buFontTx/>
              <a:buNone/>
              <a:defRPr>
                <a:solidFill>
                  <a:schemeClr val="bg1"/>
                </a:solidFill>
              </a:defRPr>
            </a:lvl3pPr>
            <a:lvl4pPr marL="523875" indent="0">
              <a:buFontTx/>
              <a:buNone/>
              <a:defRPr>
                <a:solidFill>
                  <a:schemeClr val="bg1"/>
                </a:solidFill>
              </a:defRPr>
            </a:lvl4pPr>
            <a:lvl5pPr marL="685800" indent="0">
              <a:buFontTx/>
              <a:buNone/>
              <a:defRPr>
                <a:solidFill>
                  <a:schemeClr val="bg1"/>
                </a:solidFill>
              </a:defRPr>
            </a:lvl5pPr>
          </a:lstStyle>
          <a:p>
            <a:pPr lvl="0"/>
            <a:r>
              <a:rPr lang="en-US"/>
              <a:t>Insert topic five here</a:t>
            </a:r>
          </a:p>
        </p:txBody>
      </p:sp>
      <p:sp>
        <p:nvSpPr>
          <p:cNvPr id="16" name="Text Placeholder 2">
            <a:extLst>
              <a:ext uri="{FF2B5EF4-FFF2-40B4-BE49-F238E27FC236}">
                <a16:creationId xmlns:a16="http://schemas.microsoft.com/office/drawing/2014/main" id="{11B905EF-54DB-A54E-B9B5-BF39F47D01B6}"/>
              </a:ext>
            </a:extLst>
          </p:cNvPr>
          <p:cNvSpPr>
            <a:spLocks noGrp="1" noChangeAspect="1"/>
          </p:cNvSpPr>
          <p:nvPr>
            <p:ph type="body" sz="quarter" idx="20" hasCustomPrompt="1"/>
          </p:nvPr>
        </p:nvSpPr>
        <p:spPr>
          <a:xfrm>
            <a:off x="3967067" y="793641"/>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1</a:t>
            </a:r>
          </a:p>
        </p:txBody>
      </p:sp>
      <p:sp>
        <p:nvSpPr>
          <p:cNvPr id="17" name="Rectangle 16">
            <a:extLst>
              <a:ext uri="{FF2B5EF4-FFF2-40B4-BE49-F238E27FC236}">
                <a16:creationId xmlns:a16="http://schemas.microsoft.com/office/drawing/2014/main" id="{22BBA3CB-DC68-E148-9C76-14197C33FCCA}"/>
              </a:ext>
            </a:extLst>
          </p:cNvPr>
          <p:cNvSpPr/>
          <p:nvPr userDrawn="1"/>
        </p:nvSpPr>
        <p:spPr>
          <a:xfrm>
            <a:off x="461998" y="2109766"/>
            <a:ext cx="2145139" cy="667875"/>
          </a:xfrm>
          <a:prstGeom prst="rect">
            <a:avLst/>
          </a:prstGeom>
        </p:spPr>
        <p:txBody>
          <a:bodyPr wrap="none">
            <a:spAutoFit/>
          </a:bodyPr>
          <a:lstStyle/>
          <a:p>
            <a:pPr algn="l" defTabSz="684213" rtl="0" eaLnBrk="1" fontAlgn="base" hangingPunct="1">
              <a:lnSpc>
                <a:spcPct val="85000"/>
              </a:lnSpc>
              <a:spcBef>
                <a:spcPct val="0"/>
              </a:spcBef>
              <a:spcAft>
                <a:spcPct val="0"/>
              </a:spcAft>
            </a:pPr>
            <a:r>
              <a:rPr lang="en-US" sz="4400" b="0" i="0" u="none" kern="1200" baseline="0">
                <a:solidFill>
                  <a:schemeClr val="tx2"/>
                </a:solidFill>
                <a:latin typeface="+mj-lt"/>
                <a:cs typeface="CiscoSansTT Thin" charset="0"/>
              </a:rPr>
              <a:t>Agenda</a:t>
            </a:r>
          </a:p>
        </p:txBody>
      </p:sp>
    </p:spTree>
    <p:extLst>
      <p:ext uri="{BB962C8B-B14F-4D97-AF65-F5344CB8AC3E}">
        <p14:creationId xmlns:p14="http://schemas.microsoft.com/office/powerpoint/2010/main" val="24009931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grpSp>
        <p:nvGrpSpPr>
          <p:cNvPr id="5" name="Group 4">
            <a:extLst>
              <a:ext uri="{FF2B5EF4-FFF2-40B4-BE49-F238E27FC236}">
                <a16:creationId xmlns:a16="http://schemas.microsoft.com/office/drawing/2014/main" id="{E0C18C68-76F2-7B4F-A2E4-4A21D3224BA7}"/>
              </a:ext>
            </a:extLst>
          </p:cNvPr>
          <p:cNvGrpSpPr/>
          <p:nvPr userDrawn="1"/>
        </p:nvGrpSpPr>
        <p:grpSpPr>
          <a:xfrm>
            <a:off x="528763" y="4712481"/>
            <a:ext cx="921665" cy="191516"/>
            <a:chOff x="528763" y="4712481"/>
            <a:chExt cx="921665" cy="191516"/>
          </a:xfrm>
        </p:grpSpPr>
        <p:grpSp>
          <p:nvGrpSpPr>
            <p:cNvPr id="30" name="Graphic 2">
              <a:extLst>
                <a:ext uri="{FF2B5EF4-FFF2-40B4-BE49-F238E27FC236}">
                  <a16:creationId xmlns:a16="http://schemas.microsoft.com/office/drawing/2014/main" id="{39A79810-A55F-0242-B80D-20A5325D1DCE}"/>
                </a:ext>
              </a:extLst>
            </p:cNvPr>
            <p:cNvGrpSpPr/>
            <p:nvPr userDrawn="1"/>
          </p:nvGrpSpPr>
          <p:grpSpPr>
            <a:xfrm>
              <a:off x="943759" y="4781970"/>
              <a:ext cx="506669" cy="122027"/>
              <a:chOff x="4433187" y="1865375"/>
              <a:chExt cx="2298157" cy="553493"/>
            </a:xfrm>
            <a:solidFill>
              <a:schemeClr val="bg1"/>
            </a:solidFill>
          </p:grpSpPr>
          <p:sp>
            <p:nvSpPr>
              <p:cNvPr id="32" name="Freeform 31">
                <a:extLst>
                  <a:ext uri="{FF2B5EF4-FFF2-40B4-BE49-F238E27FC236}">
                    <a16:creationId xmlns:a16="http://schemas.microsoft.com/office/drawing/2014/main" id="{073254EC-FA26-9242-BAFF-6571659D733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3" name="Freeform 32">
                <a:extLst>
                  <a:ext uri="{FF2B5EF4-FFF2-40B4-BE49-F238E27FC236}">
                    <a16:creationId xmlns:a16="http://schemas.microsoft.com/office/drawing/2014/main" id="{6C4C6A03-7119-EF4C-9FDF-BDD0512926C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4" name="Freeform 33">
                <a:extLst>
                  <a:ext uri="{FF2B5EF4-FFF2-40B4-BE49-F238E27FC236}">
                    <a16:creationId xmlns:a16="http://schemas.microsoft.com/office/drawing/2014/main" id="{3CBDF11A-D892-5649-9F60-58340314A89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5" name="Freeform 34">
                <a:extLst>
                  <a:ext uri="{FF2B5EF4-FFF2-40B4-BE49-F238E27FC236}">
                    <a16:creationId xmlns:a16="http://schemas.microsoft.com/office/drawing/2014/main" id="{DB919C8A-1C58-7F4E-ABF7-731ABD5EC475}"/>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6" name="Freeform 35">
                <a:extLst>
                  <a:ext uri="{FF2B5EF4-FFF2-40B4-BE49-F238E27FC236}">
                    <a16:creationId xmlns:a16="http://schemas.microsoft.com/office/drawing/2014/main" id="{4E77FA71-6403-BB4F-90A0-C17BA329F08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7" name="Freeform 36">
                <a:extLst>
                  <a:ext uri="{FF2B5EF4-FFF2-40B4-BE49-F238E27FC236}">
                    <a16:creationId xmlns:a16="http://schemas.microsoft.com/office/drawing/2014/main" id="{3E14EF66-1B7F-F342-B02F-86A1A72198F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31" name="Freeform 6">
              <a:extLst>
                <a:ext uri="{FF2B5EF4-FFF2-40B4-BE49-F238E27FC236}">
                  <a16:creationId xmlns:a16="http://schemas.microsoft.com/office/drawing/2014/main" id="{9C6347D2-28AE-6248-BC23-EDE57B4A19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3967986005"/>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69"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75">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600" indent="-39996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38600278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9355086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8"/>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956874915"/>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572641343"/>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0"/>
            <a:ext cx="8348472"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223512"/>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0"/>
            <a:ext cx="667512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A191033-C6AD-7D41-94A8-7DA81521F0B2}"/>
              </a:ext>
            </a:extLst>
          </p:cNvPr>
          <p:cNvGrpSpPr/>
          <p:nvPr userDrawn="1"/>
        </p:nvGrpSpPr>
        <p:grpSpPr>
          <a:xfrm>
            <a:off x="6775137" y="2699871"/>
            <a:ext cx="2503325" cy="1246345"/>
            <a:chOff x="6775137" y="2699871"/>
            <a:chExt cx="2503325" cy="1246345"/>
          </a:xfrm>
        </p:grpSpPr>
        <p:sp>
          <p:nvSpPr>
            <p:cNvPr id="8" name="Freeform 2">
              <a:extLst>
                <a:ext uri="{FF2B5EF4-FFF2-40B4-BE49-F238E27FC236}">
                  <a16:creationId xmlns:a16="http://schemas.microsoft.com/office/drawing/2014/main" id="{4910B3A8-9E20-484E-B975-980C5FC275DC}"/>
                </a:ext>
              </a:extLst>
            </p:cNvPr>
            <p:cNvSpPr/>
            <p:nvPr userDrawn="1"/>
          </p:nvSpPr>
          <p:spPr>
            <a:xfrm>
              <a:off x="8148717"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grpSp>
          <p:nvGrpSpPr>
            <p:cNvPr id="9" name="Group 8">
              <a:extLst>
                <a:ext uri="{FF2B5EF4-FFF2-40B4-BE49-F238E27FC236}">
                  <a16:creationId xmlns:a16="http://schemas.microsoft.com/office/drawing/2014/main" id="{3CC08CF8-49FF-8845-AFD4-33321B68BDE2}"/>
                </a:ext>
              </a:extLst>
            </p:cNvPr>
            <p:cNvGrpSpPr/>
            <p:nvPr userDrawn="1"/>
          </p:nvGrpSpPr>
          <p:grpSpPr>
            <a:xfrm>
              <a:off x="6775137" y="2858206"/>
              <a:ext cx="2503325" cy="1088010"/>
              <a:chOff x="6775137" y="2858206"/>
              <a:chExt cx="2503325" cy="1088010"/>
            </a:xfrm>
          </p:grpSpPr>
          <p:sp>
            <p:nvSpPr>
              <p:cNvPr id="10" name="Rectangle 9">
                <a:extLst>
                  <a:ext uri="{FF2B5EF4-FFF2-40B4-BE49-F238E27FC236}">
                    <a16:creationId xmlns:a16="http://schemas.microsoft.com/office/drawing/2014/main" id="{D0E07E65-D562-994C-A646-6DC1F53EE5CE}"/>
                  </a:ext>
                </a:extLst>
              </p:cNvPr>
              <p:cNvSpPr/>
              <p:nvPr userDrawn="1"/>
            </p:nvSpPr>
            <p:spPr>
              <a:xfrm rot="18900000">
                <a:off x="7599626" y="3014198"/>
                <a:ext cx="776023" cy="776023"/>
              </a:xfrm>
              <a:prstGeom prst="rect">
                <a:avLst/>
              </a:prstGeom>
              <a:noFill/>
              <a:ln w="9525" cap="flat">
                <a:solidFill>
                  <a:schemeClr val="tx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1" name="Rectangle 10">
                <a:extLst>
                  <a:ext uri="{FF2B5EF4-FFF2-40B4-BE49-F238E27FC236}">
                    <a16:creationId xmlns:a16="http://schemas.microsoft.com/office/drawing/2014/main" id="{85348C5D-6C06-774E-BA10-9DFA4E198D63}"/>
                  </a:ext>
                </a:extLst>
              </p:cNvPr>
              <p:cNvSpPr/>
              <p:nvPr userDrawn="1"/>
            </p:nvSpPr>
            <p:spPr>
              <a:xfrm rot="18900000">
                <a:off x="8190452" y="2858206"/>
                <a:ext cx="1088010" cy="1088010"/>
              </a:xfrm>
              <a:prstGeom prst="rect">
                <a:avLst/>
              </a:prstGeom>
              <a:noFill/>
              <a:ln w="952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2" name="Oval 11">
                <a:extLst>
                  <a:ext uri="{FF2B5EF4-FFF2-40B4-BE49-F238E27FC236}">
                    <a16:creationId xmlns:a16="http://schemas.microsoft.com/office/drawing/2014/main" id="{E106A61C-4DE3-D946-93E9-0DFD637D8CC3}"/>
                  </a:ext>
                </a:extLst>
              </p:cNvPr>
              <p:cNvSpPr/>
              <p:nvPr userDrawn="1"/>
            </p:nvSpPr>
            <p:spPr>
              <a:xfrm>
                <a:off x="8099035" y="3252229"/>
                <a:ext cx="293298" cy="293298"/>
              </a:xfrm>
              <a:prstGeom prst="ellipse">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3" name="Oval 12">
                <a:extLst>
                  <a:ext uri="{FF2B5EF4-FFF2-40B4-BE49-F238E27FC236}">
                    <a16:creationId xmlns:a16="http://schemas.microsoft.com/office/drawing/2014/main" id="{9B31B57F-558A-D243-AACC-D218062A4ADA}"/>
                  </a:ext>
                </a:extLst>
              </p:cNvPr>
              <p:cNvSpPr/>
              <p:nvPr userDrawn="1"/>
            </p:nvSpPr>
            <p:spPr>
              <a:xfrm>
                <a:off x="6775137" y="3105509"/>
                <a:ext cx="599350" cy="599350"/>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grpSp>
      </p:grpSp>
    </p:spTree>
    <p:extLst>
      <p:ext uri="{BB962C8B-B14F-4D97-AF65-F5344CB8AC3E}">
        <p14:creationId xmlns:p14="http://schemas.microsoft.com/office/powerpoint/2010/main" val="64248734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6" y="1204180"/>
            <a:ext cx="577676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DF7EF750-8EA3-6642-A2DB-FD4BD9129B24}"/>
              </a:ext>
            </a:extLst>
          </p:cNvPr>
          <p:cNvGrpSpPr/>
          <p:nvPr userDrawn="1"/>
        </p:nvGrpSpPr>
        <p:grpSpPr>
          <a:xfrm>
            <a:off x="5909733" y="2217062"/>
            <a:ext cx="3234267" cy="2926438"/>
            <a:chOff x="5909733" y="2217062"/>
            <a:chExt cx="3234267" cy="2926438"/>
          </a:xfrm>
        </p:grpSpPr>
        <p:sp>
          <p:nvSpPr>
            <p:cNvPr id="3" name="Rectangle 2">
              <a:extLst>
                <a:ext uri="{FF2B5EF4-FFF2-40B4-BE49-F238E27FC236}">
                  <a16:creationId xmlns:a16="http://schemas.microsoft.com/office/drawing/2014/main" id="{BF4A979F-DFCD-244E-A909-2EF02D9F3A9F}"/>
                </a:ext>
              </a:extLst>
            </p:cNvPr>
            <p:cNvSpPr/>
            <p:nvPr userDrawn="1"/>
          </p:nvSpPr>
          <p:spPr>
            <a:xfrm>
              <a:off x="7484533" y="4360333"/>
              <a:ext cx="1659467" cy="7831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7678457C-68A1-D84C-8979-60A5B22AD826}"/>
                </a:ext>
              </a:extLst>
            </p:cNvPr>
            <p:cNvGrpSpPr/>
            <p:nvPr userDrawn="1"/>
          </p:nvGrpSpPr>
          <p:grpSpPr>
            <a:xfrm>
              <a:off x="5909733" y="2217062"/>
              <a:ext cx="3234267" cy="2926438"/>
              <a:chOff x="5909733" y="2217062"/>
              <a:chExt cx="3234267" cy="2926438"/>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tx2"/>
              </a:solidFill>
              <a:ln>
                <a:noFill/>
              </a:ln>
            </p:spPr>
          </p:sp>
          <p:pic>
            <p:nvPicPr>
              <p:cNvPr id="7" name="Cisco Security - Working File_2-21.png" descr="Cisco Security - Working File_2-21.png">
                <a:extLst>
                  <a:ext uri="{FF2B5EF4-FFF2-40B4-BE49-F238E27FC236}">
                    <a16:creationId xmlns:a16="http://schemas.microsoft.com/office/drawing/2014/main" id="{CC6633C6-2C08-924F-9942-BCFA79B1EA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09733" y="2258847"/>
                <a:ext cx="3234267" cy="2884653"/>
              </a:xfrm>
              <a:prstGeom prst="rect">
                <a:avLst/>
              </a:prstGeom>
              <a:ln w="12700">
                <a:miter lim="400000"/>
              </a:ln>
            </p:spPr>
          </p:pic>
        </p:grpSp>
      </p:grpSp>
    </p:spTree>
    <p:extLst>
      <p:ext uri="{BB962C8B-B14F-4D97-AF65-F5344CB8AC3E}">
        <p14:creationId xmlns:p14="http://schemas.microsoft.com/office/powerpoint/2010/main" val="3407924991"/>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117432" y="1211179"/>
            <a:ext cx="4026568" cy="3932321"/>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6" y="1204180"/>
            <a:ext cx="476789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280078"/>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0"/>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0"/>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57208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4027095408"/>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64626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0066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568584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7"/>
            <a:ext cx="8115300" cy="2811379"/>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hasCustomPrompt="1"/>
          </p:nvPr>
        </p:nvSpPr>
        <p:spPr>
          <a:xfrm>
            <a:off x="437767" y="404394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3211176607"/>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8" name="Text Placeholder 9">
            <a:extLst>
              <a:ext uri="{FF2B5EF4-FFF2-40B4-BE49-F238E27FC236}">
                <a16:creationId xmlns:a16="http://schemas.microsoft.com/office/drawing/2014/main" id="{9AA8906B-835B-4B43-B3AA-275E7D90DF27}"/>
              </a:ext>
            </a:extLst>
          </p:cNvPr>
          <p:cNvSpPr>
            <a:spLocks noGrp="1"/>
          </p:cNvSpPr>
          <p:nvPr>
            <p:ph type="body" sz="quarter" idx="11" hasCustomPrompt="1"/>
          </p:nvPr>
        </p:nvSpPr>
        <p:spPr>
          <a:xfrm>
            <a:off x="437767" y="4043946"/>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Tree>
    <p:extLst>
      <p:ext uri="{BB962C8B-B14F-4D97-AF65-F5344CB8AC3E}">
        <p14:creationId xmlns:p14="http://schemas.microsoft.com/office/powerpoint/2010/main" val="169915977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Half Page Bullet + Image – Midnight">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37766" y="1665182"/>
            <a:ext cx="3662024" cy="2849668"/>
          </a:xfrm>
          <a:prstGeom prst="rect">
            <a:avLst/>
          </a:prstGeom>
        </p:spPr>
        <p:txBody>
          <a:bodyPr vert="horz" lIns="91440" tIns="45720" rIns="91440" bIns="45720" rtlCol="0" anchor="t">
            <a:no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vl4pPr>
              <a:defRPr lang="en-GB" dirty="0">
                <a:solidFill>
                  <a:schemeClr val="bg1"/>
                </a:solidFill>
              </a:defRPr>
            </a:lvl4pPr>
            <a:lvl5pPr>
              <a:defRPr lang="en-US" dirty="0">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hasCustomPrompt="1"/>
          </p:nvPr>
        </p:nvSpPr>
        <p:spPr bwMode="auto">
          <a:xfrm>
            <a:off x="437766"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grpSp>
        <p:nvGrpSpPr>
          <p:cNvPr id="2" name="Group 1">
            <a:extLst>
              <a:ext uri="{FF2B5EF4-FFF2-40B4-BE49-F238E27FC236}">
                <a16:creationId xmlns:a16="http://schemas.microsoft.com/office/drawing/2014/main" id="{BC0590C9-C249-A149-B267-D2B7C7F46852}"/>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68DF1D2F-9299-BB46-B894-F37AD7F711E4}"/>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2041ECEB-AB79-374E-9772-8883AA85469B}"/>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18C819C5-8302-DC43-8E8E-2826AA2892D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D5482B27-5DB1-FE47-A0F6-3BDDFEB6290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40D89BE-4E04-0C4B-BB99-64A272A7E0F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E911CF-A02A-E94E-A149-E597C845D19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57E7A3C-CF89-7E40-BFDE-51B0E046E6B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09040E0C-5639-7141-8809-39C923A3333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386136403"/>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Half Page + Bullets">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32793" y="1657350"/>
            <a:ext cx="3813048"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0" name="Text Placeholder 4">
            <a:extLst>
              <a:ext uri="{FF2B5EF4-FFF2-40B4-BE49-F238E27FC236}">
                <a16:creationId xmlns:a16="http://schemas.microsoft.com/office/drawing/2014/main" id="{B9D862F6-90F3-164B-8F46-E1EB10E16895}"/>
              </a:ext>
            </a:extLst>
          </p:cNvPr>
          <p:cNvSpPr>
            <a:spLocks noGrp="1"/>
          </p:cNvSpPr>
          <p:nvPr>
            <p:ph type="body" sz="quarter" idx="11" hasCustomPrompt="1"/>
          </p:nvPr>
        </p:nvSpPr>
        <p:spPr>
          <a:xfrm>
            <a:off x="4992272" y="416820"/>
            <a:ext cx="3749040" cy="4206240"/>
          </a:xfrm>
        </p:spPr>
        <p:txBody>
          <a:bodyPr anchor="ct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6" name="Group 25">
            <a:extLst>
              <a:ext uri="{FF2B5EF4-FFF2-40B4-BE49-F238E27FC236}">
                <a16:creationId xmlns:a16="http://schemas.microsoft.com/office/drawing/2014/main" id="{1DAD06F8-25F8-6546-8D9A-4825B919A45D}"/>
              </a:ext>
            </a:extLst>
          </p:cNvPr>
          <p:cNvGrpSpPr/>
          <p:nvPr userDrawn="1"/>
        </p:nvGrpSpPr>
        <p:grpSpPr>
          <a:xfrm>
            <a:off x="528763" y="4712481"/>
            <a:ext cx="921665" cy="191516"/>
            <a:chOff x="528763" y="4712481"/>
            <a:chExt cx="921665" cy="191516"/>
          </a:xfrm>
        </p:grpSpPr>
        <p:grpSp>
          <p:nvGrpSpPr>
            <p:cNvPr id="27" name="Graphic 2">
              <a:extLst>
                <a:ext uri="{FF2B5EF4-FFF2-40B4-BE49-F238E27FC236}">
                  <a16:creationId xmlns:a16="http://schemas.microsoft.com/office/drawing/2014/main" id="{47AB4B06-0838-2B4A-B203-3855C1A0DF48}"/>
                </a:ext>
              </a:extLst>
            </p:cNvPr>
            <p:cNvGrpSpPr/>
            <p:nvPr userDrawn="1"/>
          </p:nvGrpSpPr>
          <p:grpSpPr>
            <a:xfrm>
              <a:off x="943759" y="4781970"/>
              <a:ext cx="506669" cy="122027"/>
              <a:chOff x="4433187" y="1865375"/>
              <a:chExt cx="2298157" cy="553493"/>
            </a:xfrm>
            <a:solidFill>
              <a:schemeClr val="accent2"/>
            </a:solidFill>
          </p:grpSpPr>
          <p:sp>
            <p:nvSpPr>
              <p:cNvPr id="29" name="Freeform 28">
                <a:extLst>
                  <a:ext uri="{FF2B5EF4-FFF2-40B4-BE49-F238E27FC236}">
                    <a16:creationId xmlns:a16="http://schemas.microsoft.com/office/drawing/2014/main" id="{8476C063-CE51-274D-854C-2ABB9F9E34B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30" name="Freeform 29">
                <a:extLst>
                  <a:ext uri="{FF2B5EF4-FFF2-40B4-BE49-F238E27FC236}">
                    <a16:creationId xmlns:a16="http://schemas.microsoft.com/office/drawing/2014/main" id="{DED165DC-9D74-2942-82C6-7A6FBA4ACA0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31" name="Freeform 30">
                <a:extLst>
                  <a:ext uri="{FF2B5EF4-FFF2-40B4-BE49-F238E27FC236}">
                    <a16:creationId xmlns:a16="http://schemas.microsoft.com/office/drawing/2014/main" id="{543A35BE-1472-3940-A5F1-96184E30E9FF}"/>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32" name="Freeform 31">
                <a:extLst>
                  <a:ext uri="{FF2B5EF4-FFF2-40B4-BE49-F238E27FC236}">
                    <a16:creationId xmlns:a16="http://schemas.microsoft.com/office/drawing/2014/main" id="{F3CA5FC1-89F6-1146-BC3E-2B2459E882C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33" name="Freeform 32">
                <a:extLst>
                  <a:ext uri="{FF2B5EF4-FFF2-40B4-BE49-F238E27FC236}">
                    <a16:creationId xmlns:a16="http://schemas.microsoft.com/office/drawing/2014/main" id="{50E7D5D7-B573-CC41-B9B6-368DA785B63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34" name="Freeform 33">
                <a:extLst>
                  <a:ext uri="{FF2B5EF4-FFF2-40B4-BE49-F238E27FC236}">
                    <a16:creationId xmlns:a16="http://schemas.microsoft.com/office/drawing/2014/main" id="{165715DD-41EE-484A-A4B7-3839BE500003}"/>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8" name="Freeform 6">
              <a:extLst>
                <a:ext uri="{FF2B5EF4-FFF2-40B4-BE49-F238E27FC236}">
                  <a16:creationId xmlns:a16="http://schemas.microsoft.com/office/drawing/2014/main" id="{47F8CF69-9B67-B347-B50E-29918D40CEF2}"/>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417816866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89525" y="4062350"/>
            <a:ext cx="3559175" cy="525145"/>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1" name="Group 20">
            <a:extLst>
              <a:ext uri="{FF2B5EF4-FFF2-40B4-BE49-F238E27FC236}">
                <a16:creationId xmlns:a16="http://schemas.microsoft.com/office/drawing/2014/main" id="{DCBA97EC-DC87-8F43-8EAC-8682BB0AAC65}"/>
              </a:ext>
            </a:extLst>
          </p:cNvPr>
          <p:cNvGrpSpPr/>
          <p:nvPr userDrawn="1"/>
        </p:nvGrpSpPr>
        <p:grpSpPr>
          <a:xfrm>
            <a:off x="528763" y="4712481"/>
            <a:ext cx="921665" cy="191516"/>
            <a:chOff x="528763" y="4712481"/>
            <a:chExt cx="921665" cy="191516"/>
          </a:xfrm>
        </p:grpSpPr>
        <p:grpSp>
          <p:nvGrpSpPr>
            <p:cNvPr id="22" name="Graphic 2">
              <a:extLst>
                <a:ext uri="{FF2B5EF4-FFF2-40B4-BE49-F238E27FC236}">
                  <a16:creationId xmlns:a16="http://schemas.microsoft.com/office/drawing/2014/main" id="{0A868ED3-D8D2-5148-8602-57D85BD6C763}"/>
                </a:ext>
              </a:extLst>
            </p:cNvPr>
            <p:cNvGrpSpPr/>
            <p:nvPr userDrawn="1"/>
          </p:nvGrpSpPr>
          <p:grpSpPr>
            <a:xfrm>
              <a:off x="943759" y="4781970"/>
              <a:ext cx="506669" cy="122027"/>
              <a:chOff x="4433187" y="1865375"/>
              <a:chExt cx="2298157" cy="553493"/>
            </a:xfrm>
            <a:solidFill>
              <a:schemeClr val="accent2"/>
            </a:solidFill>
          </p:grpSpPr>
          <p:sp>
            <p:nvSpPr>
              <p:cNvPr id="24" name="Freeform 23">
                <a:extLst>
                  <a:ext uri="{FF2B5EF4-FFF2-40B4-BE49-F238E27FC236}">
                    <a16:creationId xmlns:a16="http://schemas.microsoft.com/office/drawing/2014/main" id="{42207790-DE20-024A-91A0-5CB16F2FCDF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4CD29DC9-C0A4-6E45-B41F-454464C332A9}"/>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B8D22142-4BAD-734E-B82B-3CA87EDCF153}"/>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53A38F9E-2717-5743-9AD4-A12C0F685AE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8" name="Freeform 27">
                <a:extLst>
                  <a:ext uri="{FF2B5EF4-FFF2-40B4-BE49-F238E27FC236}">
                    <a16:creationId xmlns:a16="http://schemas.microsoft.com/office/drawing/2014/main" id="{A519DDBC-35AB-414F-BFA3-9B6AA451638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9" name="Freeform 28">
                <a:extLst>
                  <a:ext uri="{FF2B5EF4-FFF2-40B4-BE49-F238E27FC236}">
                    <a16:creationId xmlns:a16="http://schemas.microsoft.com/office/drawing/2014/main" id="{94F96208-9366-1A4A-9D95-02B65A9226DB}"/>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3" name="Freeform 6">
              <a:extLst>
                <a:ext uri="{FF2B5EF4-FFF2-40B4-BE49-F238E27FC236}">
                  <a16:creationId xmlns:a16="http://schemas.microsoft.com/office/drawing/2014/main" id="{199B466D-BCF1-1B45-851B-5253D47BCA1B}"/>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325475136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7" name="Group 16">
            <a:extLst>
              <a:ext uri="{FF2B5EF4-FFF2-40B4-BE49-F238E27FC236}">
                <a16:creationId xmlns:a16="http://schemas.microsoft.com/office/drawing/2014/main" id="{507F7347-F465-3C4B-BF6D-CDABE1E16978}"/>
              </a:ext>
            </a:extLst>
          </p:cNvPr>
          <p:cNvGrpSpPr/>
          <p:nvPr userDrawn="1"/>
        </p:nvGrpSpPr>
        <p:grpSpPr>
          <a:xfrm>
            <a:off x="528763" y="4712481"/>
            <a:ext cx="921665" cy="191516"/>
            <a:chOff x="528763" y="4712481"/>
            <a:chExt cx="921665" cy="191516"/>
          </a:xfrm>
        </p:grpSpPr>
        <p:grpSp>
          <p:nvGrpSpPr>
            <p:cNvPr id="18" name="Graphic 2">
              <a:extLst>
                <a:ext uri="{FF2B5EF4-FFF2-40B4-BE49-F238E27FC236}">
                  <a16:creationId xmlns:a16="http://schemas.microsoft.com/office/drawing/2014/main" id="{33DA2E5D-B662-F044-8CCB-B3A36AA9D832}"/>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C4FD3886-99D7-5C49-8296-0E3B89BE6C0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12115675-CCB1-A541-B856-D08C84D58407}"/>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795C995-3418-064F-980D-EB8A6147F9E2}"/>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A6B01082-7C6C-EF4C-B97D-5DA222F1C68D}"/>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14C1779E-96ED-BD4E-ACAE-6AFF818F341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ABB4E986-3B04-4749-8B5B-5C8BE61A135C}"/>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9" name="Freeform 6">
              <a:extLst>
                <a:ext uri="{FF2B5EF4-FFF2-40B4-BE49-F238E27FC236}">
                  <a16:creationId xmlns:a16="http://schemas.microsoft.com/office/drawing/2014/main" id="{7A57E6B4-EC5B-BC49-A2FC-E1358D2FC490}"/>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392157137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E3004A4-BEFF-624C-AD44-0BC80F87CDD5}"/>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1C555E82-DEF0-5545-AA4C-194B39F76960}"/>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7E5E1398-4477-154B-BFA9-65D38AF68FD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E2FE2F0F-2535-AC4A-AE56-0FD6486EB62F}"/>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6006715C-7CA3-A94E-A293-4091A665A111}"/>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F86F0BC-3CC7-E848-85D2-922F6D4B4C7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CFFC9762-B888-E04D-977A-1038FFDDCFA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7EC6E64B-0A56-2949-8811-57F0285505F2}"/>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ABAADAB7-B8AA-9A48-9ABF-8849D61C60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720887625"/>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Half Page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1166EBE-88FA-EB4E-B319-6D80EAE1EAD6}"/>
              </a:ext>
            </a:extLst>
          </p:cNvPr>
          <p:cNvGrpSpPr/>
          <p:nvPr userDrawn="1"/>
        </p:nvGrpSpPr>
        <p:grpSpPr>
          <a:xfrm>
            <a:off x="528763" y="4712481"/>
            <a:ext cx="921665" cy="191516"/>
            <a:chOff x="528763" y="4712481"/>
            <a:chExt cx="921665" cy="191516"/>
          </a:xfrm>
        </p:grpSpPr>
        <p:grpSp>
          <p:nvGrpSpPr>
            <p:cNvPr id="20" name="Graphic 2">
              <a:extLst>
                <a:ext uri="{FF2B5EF4-FFF2-40B4-BE49-F238E27FC236}">
                  <a16:creationId xmlns:a16="http://schemas.microsoft.com/office/drawing/2014/main" id="{2A92F6DF-DB02-1944-A9E9-38FB8220E54C}"/>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881867B4-EC46-994B-800F-45749C25DB4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C6666E4-CCC5-C64F-A737-861EF5FBB6C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A7A82050-4629-6646-952D-AB22F1DD54F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EFBF3BB4-10A9-CE47-99BF-B4E61ACF4A2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2133A13-3E58-5443-BD8E-EE653827C87E}"/>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7" name="Freeform 26">
                <a:extLst>
                  <a:ext uri="{FF2B5EF4-FFF2-40B4-BE49-F238E27FC236}">
                    <a16:creationId xmlns:a16="http://schemas.microsoft.com/office/drawing/2014/main" id="{B727C51C-C1CD-8C45-A8F3-6512070CD05F}"/>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1" name="Freeform 6">
              <a:extLst>
                <a:ext uri="{FF2B5EF4-FFF2-40B4-BE49-F238E27FC236}">
                  <a16:creationId xmlns:a16="http://schemas.microsoft.com/office/drawing/2014/main" id="{D2DD5BF5-0ADA-3D4C-B1EF-0E06A1C85621}"/>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4018046978"/>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Half Page 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8" name="Group 17">
            <a:extLst>
              <a:ext uri="{FF2B5EF4-FFF2-40B4-BE49-F238E27FC236}">
                <a16:creationId xmlns:a16="http://schemas.microsoft.com/office/drawing/2014/main" id="{AA502BB4-D8B0-2E4E-892D-9EABB7FE0BD9}"/>
              </a:ext>
            </a:extLst>
          </p:cNvPr>
          <p:cNvGrpSpPr/>
          <p:nvPr userDrawn="1"/>
        </p:nvGrpSpPr>
        <p:grpSpPr>
          <a:xfrm>
            <a:off x="528763" y="4712481"/>
            <a:ext cx="921665" cy="191516"/>
            <a:chOff x="528763" y="4712481"/>
            <a:chExt cx="921665" cy="191516"/>
          </a:xfrm>
        </p:grpSpPr>
        <p:grpSp>
          <p:nvGrpSpPr>
            <p:cNvPr id="19" name="Graphic 2">
              <a:extLst>
                <a:ext uri="{FF2B5EF4-FFF2-40B4-BE49-F238E27FC236}">
                  <a16:creationId xmlns:a16="http://schemas.microsoft.com/office/drawing/2014/main" id="{33DDCFA9-7225-DC4A-9DC3-2DA31BF5BC21}"/>
                </a:ext>
              </a:extLst>
            </p:cNvPr>
            <p:cNvGrpSpPr/>
            <p:nvPr userDrawn="1"/>
          </p:nvGrpSpPr>
          <p:grpSpPr>
            <a:xfrm>
              <a:off x="943759" y="4781970"/>
              <a:ext cx="506669" cy="122027"/>
              <a:chOff x="4433187" y="1865375"/>
              <a:chExt cx="2298157" cy="553493"/>
            </a:xfrm>
            <a:solidFill>
              <a:schemeClr val="accent2"/>
            </a:solidFill>
          </p:grpSpPr>
          <p:sp>
            <p:nvSpPr>
              <p:cNvPr id="21" name="Freeform 20">
                <a:extLst>
                  <a:ext uri="{FF2B5EF4-FFF2-40B4-BE49-F238E27FC236}">
                    <a16:creationId xmlns:a16="http://schemas.microsoft.com/office/drawing/2014/main" id="{EB413082-537F-8145-A37F-82C03318DD6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F4678165-065A-DC4F-ACBE-6C2714C4895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995B8E60-C316-3B48-A8AE-DAA3D5B481C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4" name="Freeform 23">
                <a:extLst>
                  <a:ext uri="{FF2B5EF4-FFF2-40B4-BE49-F238E27FC236}">
                    <a16:creationId xmlns:a16="http://schemas.microsoft.com/office/drawing/2014/main" id="{241A648D-1490-DD41-8489-3B1EACB076E1}"/>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5" name="Freeform 24">
                <a:extLst>
                  <a:ext uri="{FF2B5EF4-FFF2-40B4-BE49-F238E27FC236}">
                    <a16:creationId xmlns:a16="http://schemas.microsoft.com/office/drawing/2014/main" id="{95383BD0-093A-6949-A81E-9A67F18E1196}"/>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6" name="Freeform 25">
                <a:extLst>
                  <a:ext uri="{FF2B5EF4-FFF2-40B4-BE49-F238E27FC236}">
                    <a16:creationId xmlns:a16="http://schemas.microsoft.com/office/drawing/2014/main" id="{FDD1755B-DD79-2B4A-BAF6-767182E7F3A6}"/>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20" name="Freeform 6">
              <a:extLst>
                <a:ext uri="{FF2B5EF4-FFF2-40B4-BE49-F238E27FC236}">
                  <a16:creationId xmlns:a16="http://schemas.microsoft.com/office/drawing/2014/main" id="{A6E71D06-856D-1D41-8E6F-15C356085B39}"/>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extLst>
      <p:ext uri="{BB962C8B-B14F-4D97-AF65-F5344CB8AC3E}">
        <p14:creationId xmlns:p14="http://schemas.microsoft.com/office/powerpoint/2010/main" val="22723336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D8C6793-7535-A74F-A95E-EDAF265D9F12}"/>
              </a:ext>
            </a:extLst>
          </p:cNvPr>
          <p:cNvGrpSpPr/>
          <p:nvPr userDrawn="1"/>
        </p:nvGrpSpPr>
        <p:grpSpPr>
          <a:xfrm>
            <a:off x="2502974"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Tree>
    <p:extLst>
      <p:ext uri="{BB962C8B-B14F-4D97-AF65-F5344CB8AC3E}">
        <p14:creationId xmlns:p14="http://schemas.microsoft.com/office/powerpoint/2010/main" val="3341495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1515761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2"/>
        </a:solidFill>
        <a:effectLst/>
      </p:bgPr>
    </p:bg>
    <p:spTree>
      <p:nvGrpSpPr>
        <p:cNvPr id="1" name=""/>
        <p:cNvGrpSpPr/>
        <p:nvPr/>
      </p:nvGrpSpPr>
      <p:grpSpPr>
        <a:xfrm>
          <a:off x="0" y="0"/>
          <a:ext cx="0" cy="0"/>
          <a:chOff x="0" y="0"/>
          <a:chExt cx="0" cy="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rgbClr val="FFFFFF"/>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solidFill>
              <a:schemeClr val="bg1"/>
            </a:solid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solidFill>
              <a:schemeClr val="bg1"/>
            </a:solid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solidFill>
              <a:schemeClr val="bg1"/>
            </a:solid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solidFill>
              <a:schemeClr val="bg1"/>
            </a:solid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solidFill>
              <a:schemeClr val="bg1"/>
            </a:solid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solidFill>
              <a:schemeClr val="bg1"/>
            </a:solid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2872528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Closing – White (PRINT ONLY)">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B0E75D-41E2-A44B-AAB4-2AA7F84DA851}"/>
              </a:ext>
            </a:extLst>
          </p:cNvPr>
          <p:cNvGrpSpPr/>
          <p:nvPr userDrawn="1"/>
        </p:nvGrpSpPr>
        <p:grpSpPr>
          <a:xfrm>
            <a:off x="2502974"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4" name="Text Placeholder 3">
            <a:extLst>
              <a:ext uri="{FF2B5EF4-FFF2-40B4-BE49-F238E27FC236}">
                <a16:creationId xmlns:a16="http://schemas.microsoft.com/office/drawing/2014/main" id="{C6DC9EFB-77A4-054B-A73E-9D7FDD54DA07}"/>
              </a:ext>
            </a:extLst>
          </p:cNvPr>
          <p:cNvSpPr>
            <a:spLocks noGrp="1"/>
          </p:cNvSpPr>
          <p:nvPr>
            <p:ph type="body" sz="quarter" idx="10" hasCustomPrompt="1"/>
          </p:nvPr>
        </p:nvSpPr>
        <p:spPr>
          <a:xfrm>
            <a:off x="2811003" y="352174"/>
            <a:ext cx="3521995" cy="498475"/>
          </a:xfrm>
        </p:spPr>
        <p:txBody>
          <a:bodyPr/>
          <a:lstStyle>
            <a:lvl1pPr marL="0" indent="0" algn="ctr">
              <a:buFontTx/>
              <a:buNone/>
              <a:defRPr sz="1600">
                <a:solidFill>
                  <a:schemeClr val="bg1">
                    <a:lumMod val="75000"/>
                  </a:schemeClr>
                </a:solidFill>
              </a:defRPr>
            </a:lvl1pPr>
            <a:lvl2pPr marL="171450" indent="0">
              <a:buFontTx/>
              <a:buNone/>
              <a:defRPr>
                <a:solidFill>
                  <a:schemeClr val="bg1">
                    <a:lumMod val="75000"/>
                  </a:schemeClr>
                </a:solidFill>
              </a:defRPr>
            </a:lvl2pPr>
            <a:lvl3pPr marL="400050" indent="0">
              <a:buFontTx/>
              <a:buNone/>
              <a:defRPr>
                <a:solidFill>
                  <a:schemeClr val="bg1">
                    <a:lumMod val="75000"/>
                  </a:schemeClr>
                </a:solidFill>
              </a:defRPr>
            </a:lvl3pPr>
            <a:lvl4pPr marL="571500" indent="0">
              <a:buFontTx/>
              <a:buNone/>
              <a:defRPr>
                <a:solidFill>
                  <a:schemeClr val="bg1">
                    <a:lumMod val="75000"/>
                  </a:schemeClr>
                </a:solidFill>
              </a:defRPr>
            </a:lvl4pPr>
            <a:lvl5pPr marL="687388" indent="0">
              <a:buFontTx/>
              <a:buNone/>
              <a:defRPr>
                <a:solidFill>
                  <a:schemeClr val="bg1">
                    <a:lumMod val="75000"/>
                  </a:schemeClr>
                </a:solidFill>
              </a:defRPr>
            </a:lvl5pPr>
          </a:lstStyle>
          <a:p>
            <a:pPr lvl="0"/>
            <a:r>
              <a:rPr lang="en-US"/>
              <a:t>FOR PRINT ONLY</a:t>
            </a:r>
          </a:p>
        </p:txBody>
      </p:sp>
    </p:spTree>
    <p:extLst>
      <p:ext uri="{BB962C8B-B14F-4D97-AF65-F5344CB8AC3E}">
        <p14:creationId xmlns:p14="http://schemas.microsoft.com/office/powerpoint/2010/main" val="3119807625"/>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32B57C0-DC2A-4F12-A868-1B62BC4395F6}"/>
              </a:ext>
            </a:extLst>
          </p:cNvPr>
          <p:cNvSpPr>
            <a:spLocks noGrp="1"/>
          </p:cNvSpPr>
          <p:nvPr>
            <p:ph type="ftr" sz="quarter" idx="10"/>
          </p:nvPr>
        </p:nvSpPr>
        <p:spPr>
          <a:xfrm>
            <a:off x="400050" y="4774355"/>
            <a:ext cx="2673809" cy="92333"/>
          </a:xfrm>
        </p:spPr>
        <p:txBody>
          <a:bodyPr/>
          <a:lstStyle/>
          <a:p>
            <a:pPr>
              <a:defRPr/>
            </a:pPr>
            <a:r>
              <a:rPr lang="en-US" sz="600" spc="20">
                <a:solidFill>
                  <a:srgbClr val="FFFFFF">
                    <a:lumMod val="65000"/>
                  </a:srgbClr>
                </a:solidFill>
              </a:rPr>
              <a:t>© 2020 Cisco and/or its affiliates. All rights reserved. Cisco Confidential</a:t>
            </a:r>
          </a:p>
        </p:txBody>
      </p:sp>
      <p:sp>
        <p:nvSpPr>
          <p:cNvPr id="4" name="Title 3">
            <a:extLst>
              <a:ext uri="{FF2B5EF4-FFF2-40B4-BE49-F238E27FC236}">
                <a16:creationId xmlns:a16="http://schemas.microsoft.com/office/drawing/2014/main" id="{313C144C-3A90-43DE-9A36-647D661ACDA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717660"/>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Title – Midnight">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7"/>
            <a:ext cx="8339328"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50"/>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3"/>
            <a:ext cx="8339328"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2"/>
            <a:ext cx="8339328" cy="299001"/>
          </a:xfrm>
          <a:prstGeom prst="rect">
            <a:avLst/>
          </a:prstGeom>
        </p:spPr>
        <p:txBody>
          <a:bodyPr lIns="91420" tIns="45710" rIns="91420" bIns="45710" anchor="t"/>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4"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3" name="Group 2">
            <a:extLst>
              <a:ext uri="{FF2B5EF4-FFF2-40B4-BE49-F238E27FC236}">
                <a16:creationId xmlns:a16="http://schemas.microsoft.com/office/drawing/2014/main" id="{1991F690-C79C-E542-ADE5-B98B5C21D54E}"/>
              </a:ext>
            </a:extLst>
          </p:cNvPr>
          <p:cNvGrpSpPr/>
          <p:nvPr userDrawn="1"/>
        </p:nvGrpSpPr>
        <p:grpSpPr>
          <a:xfrm>
            <a:off x="469643" y="391309"/>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Tree>
    <p:extLst>
      <p:ext uri="{BB962C8B-B14F-4D97-AF65-F5344CB8AC3E}">
        <p14:creationId xmlns:p14="http://schemas.microsoft.com/office/powerpoint/2010/main" val="191889784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Title – MIdnight Graphic">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7"/>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50"/>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3"/>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2"/>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21" name="Freeform 20">
            <a:extLst>
              <a:ext uri="{FF2B5EF4-FFF2-40B4-BE49-F238E27FC236}">
                <a16:creationId xmlns:a16="http://schemas.microsoft.com/office/drawing/2014/main" id="{DE133895-CF0C-8D48-B4A3-4C94D525E188}"/>
              </a:ext>
            </a:extLst>
          </p:cNvPr>
          <p:cNvSpPr/>
          <p:nvPr userDrawn="1"/>
        </p:nvSpPr>
        <p:spPr>
          <a:xfrm>
            <a:off x="6551150"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sz="1800"/>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3" y="391309"/>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Tree>
    <p:extLst>
      <p:ext uri="{BB962C8B-B14F-4D97-AF65-F5344CB8AC3E}">
        <p14:creationId xmlns:p14="http://schemas.microsoft.com/office/powerpoint/2010/main" val="813908707"/>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userDrawn="1">
  <p:cSld name="Title – Midnight Imag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5" y="3856737"/>
            <a:ext cx="5486400" cy="288131"/>
          </a:xfrm>
          <a:prstGeom prst="rect">
            <a:avLst/>
          </a:prstGeom>
        </p:spPr>
        <p:txBody>
          <a:bodyPr lIns="91420" tIns="45710" rIns="91420" bIns="45710" anchor="b" anchorCtr="0">
            <a:noAutofit/>
          </a:bodyPr>
          <a:lstStyle>
            <a:lvl1pPr marL="0" indent="0" algn="l">
              <a:buNone/>
              <a:defRPr sz="14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5" y="4102750"/>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5" y="4348763"/>
            <a:ext cx="5486400" cy="288131"/>
          </a:xfrm>
          <a:prstGeom prst="rect">
            <a:avLst/>
          </a:prstGeom>
        </p:spPr>
        <p:txBody>
          <a:bodyPr lIns="91420" tIns="45710" rIns="91420" bIns="45710"/>
          <a:lstStyle>
            <a:lvl1pPr marL="0" indent="0" algn="l">
              <a:buFontTx/>
              <a:buNone/>
              <a:defRPr lang="en-US" sz="14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5" y="3107662"/>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5" y="1681655"/>
            <a:ext cx="5486400" cy="1435242"/>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grpSp>
        <p:nvGrpSpPr>
          <p:cNvPr id="22" name="Group 21">
            <a:extLst>
              <a:ext uri="{FF2B5EF4-FFF2-40B4-BE49-F238E27FC236}">
                <a16:creationId xmlns:a16="http://schemas.microsoft.com/office/drawing/2014/main" id="{439327DC-CC28-A445-833F-15DFA500CCF8}"/>
              </a:ext>
            </a:extLst>
          </p:cNvPr>
          <p:cNvGrpSpPr/>
          <p:nvPr userDrawn="1"/>
        </p:nvGrpSpPr>
        <p:grpSpPr>
          <a:xfrm>
            <a:off x="469643" y="391309"/>
            <a:ext cx="2033863" cy="422624"/>
            <a:chOff x="469642" y="391308"/>
            <a:chExt cx="2033863" cy="422624"/>
          </a:xfrm>
        </p:grpSpPr>
        <p:grpSp>
          <p:nvGrpSpPr>
            <p:cNvPr id="23" name="Graphic 2">
              <a:extLst>
                <a:ext uri="{FF2B5EF4-FFF2-40B4-BE49-F238E27FC236}">
                  <a16:creationId xmlns:a16="http://schemas.microsoft.com/office/drawing/2014/main" id="{31E70864-DB21-A548-80E5-775072ACA96A}"/>
                </a:ext>
              </a:extLst>
            </p:cNvPr>
            <p:cNvGrpSpPr/>
            <p:nvPr userDrawn="1"/>
          </p:nvGrpSpPr>
          <p:grpSpPr>
            <a:xfrm>
              <a:off x="1385425" y="544652"/>
              <a:ext cx="1118080" cy="269280"/>
              <a:chOff x="4433187" y="1865375"/>
              <a:chExt cx="2298157" cy="553493"/>
            </a:xfrm>
            <a:solidFill>
              <a:schemeClr val="tx2"/>
            </a:solidFill>
          </p:grpSpPr>
          <p:sp>
            <p:nvSpPr>
              <p:cNvPr id="34" name="Freeform 33">
                <a:extLst>
                  <a:ext uri="{FF2B5EF4-FFF2-40B4-BE49-F238E27FC236}">
                    <a16:creationId xmlns:a16="http://schemas.microsoft.com/office/drawing/2014/main" id="{5C697A9D-A0DA-1549-B753-5478C5F19C3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35" name="Freeform 34">
                <a:extLst>
                  <a:ext uri="{FF2B5EF4-FFF2-40B4-BE49-F238E27FC236}">
                    <a16:creationId xmlns:a16="http://schemas.microsoft.com/office/drawing/2014/main" id="{5B6373D4-7422-BA4C-914F-1229E56DD593}"/>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6" name="Freeform 35">
                <a:extLst>
                  <a:ext uri="{FF2B5EF4-FFF2-40B4-BE49-F238E27FC236}">
                    <a16:creationId xmlns:a16="http://schemas.microsoft.com/office/drawing/2014/main" id="{0E01B09F-29B9-E14E-BCF9-F0F25E23C2D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274CADDE-CF3C-7A46-86A2-1AA74B8A8E86}"/>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8" name="Freeform 37">
                <a:extLst>
                  <a:ext uri="{FF2B5EF4-FFF2-40B4-BE49-F238E27FC236}">
                    <a16:creationId xmlns:a16="http://schemas.microsoft.com/office/drawing/2014/main" id="{ED4DCEA4-C60B-284D-A9EA-52F46C8587E1}"/>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C29A466E-2922-294D-BB02-088B1DF337E4}"/>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4" name="Freeform 6">
              <a:extLst>
                <a:ext uri="{FF2B5EF4-FFF2-40B4-BE49-F238E27FC236}">
                  <a16:creationId xmlns:a16="http://schemas.microsoft.com/office/drawing/2014/main" id="{D655AC60-AA0E-1449-AEA5-815B057969B7}"/>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pic>
        <p:nvPicPr>
          <p:cNvPr id="29" name="Picture 28">
            <a:extLst>
              <a:ext uri="{FF2B5EF4-FFF2-40B4-BE49-F238E27FC236}">
                <a16:creationId xmlns:a16="http://schemas.microsoft.com/office/drawing/2014/main" id="{307CF473-1AFC-724D-BBF2-09C9E3ABECF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4"/>
            <a:ext cx="3561494" cy="4070648"/>
          </a:xfrm>
          <a:prstGeom prst="rect">
            <a:avLst/>
          </a:prstGeom>
        </p:spPr>
      </p:pic>
    </p:spTree>
    <p:extLst>
      <p:ext uri="{BB962C8B-B14F-4D97-AF65-F5344CB8AC3E}">
        <p14:creationId xmlns:p14="http://schemas.microsoft.com/office/powerpoint/2010/main" val="3767050881"/>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Title – Whit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4" y="3856737"/>
            <a:ext cx="8339328"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4" y="4102750"/>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4" y="4348763"/>
            <a:ext cx="8339328"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4" y="3107662"/>
            <a:ext cx="8339328"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3" y="391309"/>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Tree>
    <p:extLst>
      <p:ext uri="{BB962C8B-B14F-4D97-AF65-F5344CB8AC3E}">
        <p14:creationId xmlns:p14="http://schemas.microsoft.com/office/powerpoint/2010/main" val="351176298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Title – White Graphic">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25766" y="3856737"/>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25766" y="4102750"/>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25766" y="4348763"/>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25766" y="3107662"/>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1653703"/>
            <a:ext cx="548640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3" y="391309"/>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
        <p:nvSpPr>
          <p:cNvPr id="66" name="Freeform 65">
            <a:extLst>
              <a:ext uri="{FF2B5EF4-FFF2-40B4-BE49-F238E27FC236}">
                <a16:creationId xmlns:a16="http://schemas.microsoft.com/office/drawing/2014/main" id="{DDAEF4F6-E358-4249-AAEE-917895E8A324}"/>
              </a:ext>
            </a:extLst>
          </p:cNvPr>
          <p:cNvSpPr/>
          <p:nvPr userDrawn="1"/>
        </p:nvSpPr>
        <p:spPr>
          <a:xfrm>
            <a:off x="6551150" y="1842670"/>
            <a:ext cx="2596234" cy="2532920"/>
          </a:xfrm>
          <a:custGeom>
            <a:avLst/>
            <a:gdLst>
              <a:gd name="connsiteX0" fmla="*/ 89637 w 15773620"/>
              <a:gd name="connsiteY0" fmla="*/ 14306985 h 15388950"/>
              <a:gd name="connsiteX1" fmla="*/ 953458 w 15773620"/>
              <a:gd name="connsiteY1" fmla="*/ 14784072 h 15388950"/>
              <a:gd name="connsiteX2" fmla="*/ 1686885 w 15773620"/>
              <a:gd name="connsiteY2" fmla="*/ 15201525 h 15388950"/>
              <a:gd name="connsiteX3" fmla="*/ 2420311 w 15773620"/>
              <a:gd name="connsiteY3" fmla="*/ 14784072 h 15388950"/>
              <a:gd name="connsiteX4" fmla="*/ 3292267 w 15773620"/>
              <a:gd name="connsiteY4" fmla="*/ 14306985 h 15388950"/>
              <a:gd name="connsiteX5" fmla="*/ 4164234 w 15773620"/>
              <a:gd name="connsiteY5" fmla="*/ 14784072 h 15388950"/>
              <a:gd name="connsiteX6" fmla="*/ 4897660 w 15773620"/>
              <a:gd name="connsiteY6" fmla="*/ 15201525 h 15388950"/>
              <a:gd name="connsiteX7" fmla="*/ 5631086 w 15773620"/>
              <a:gd name="connsiteY7" fmla="*/ 14784072 h 15388950"/>
              <a:gd name="connsiteX8" fmla="*/ 6503044 w 15773620"/>
              <a:gd name="connsiteY8" fmla="*/ 14306985 h 15388950"/>
              <a:gd name="connsiteX9" fmla="*/ 7375010 w 15773620"/>
              <a:gd name="connsiteY9" fmla="*/ 14784072 h 15388950"/>
              <a:gd name="connsiteX10" fmla="*/ 8108437 w 15773620"/>
              <a:gd name="connsiteY10" fmla="*/ 15201525 h 15388950"/>
              <a:gd name="connsiteX11" fmla="*/ 8841862 w 15773620"/>
              <a:gd name="connsiteY11" fmla="*/ 14784072 h 15388950"/>
              <a:gd name="connsiteX12" fmla="*/ 9713820 w 15773620"/>
              <a:gd name="connsiteY12" fmla="*/ 14306985 h 15388950"/>
              <a:gd name="connsiteX13" fmla="*/ 10585787 w 15773620"/>
              <a:gd name="connsiteY13" fmla="*/ 14784072 h 15388950"/>
              <a:gd name="connsiteX14" fmla="*/ 11319213 w 15773620"/>
              <a:gd name="connsiteY14" fmla="*/ 15201525 h 15388950"/>
              <a:gd name="connsiteX15" fmla="*/ 12052639 w 15773620"/>
              <a:gd name="connsiteY15" fmla="*/ 14784072 h 15388950"/>
              <a:gd name="connsiteX16" fmla="*/ 12924597 w 15773620"/>
              <a:gd name="connsiteY16" fmla="*/ 14306985 h 15388950"/>
              <a:gd name="connsiteX17" fmla="*/ 13796563 w 15773620"/>
              <a:gd name="connsiteY17" fmla="*/ 14784072 h 15388950"/>
              <a:gd name="connsiteX18" fmla="*/ 14529989 w 15773620"/>
              <a:gd name="connsiteY18" fmla="*/ 15201525 h 15388950"/>
              <a:gd name="connsiteX19" fmla="*/ 15263415 w 15773620"/>
              <a:gd name="connsiteY19" fmla="*/ 14784072 h 15388950"/>
              <a:gd name="connsiteX20" fmla="*/ 15719813 w 15773620"/>
              <a:gd name="connsiteY20" fmla="*/ 14399533 h 15388950"/>
              <a:gd name="connsiteX21" fmla="*/ 15773620 w 15773620"/>
              <a:gd name="connsiteY21" fmla="*/ 14377911 h 15388950"/>
              <a:gd name="connsiteX22" fmla="*/ 15773620 w 15773620"/>
              <a:gd name="connsiteY22" fmla="*/ 14584304 h 15388950"/>
              <a:gd name="connsiteX23" fmla="*/ 15707541 w 15773620"/>
              <a:gd name="connsiteY23" fmla="*/ 14623267 h 15388950"/>
              <a:gd name="connsiteX24" fmla="*/ 15401947 w 15773620"/>
              <a:gd name="connsiteY24" fmla="*/ 14911863 h 15388950"/>
              <a:gd name="connsiteX25" fmla="*/ 14529989 w 15773620"/>
              <a:gd name="connsiteY25" fmla="*/ 15388950 h 15388950"/>
              <a:gd name="connsiteX26" fmla="*/ 13658023 w 15773620"/>
              <a:gd name="connsiteY26" fmla="*/ 14911863 h 15388950"/>
              <a:gd name="connsiteX27" fmla="*/ 12924597 w 15773620"/>
              <a:gd name="connsiteY27" fmla="*/ 14494410 h 15388950"/>
              <a:gd name="connsiteX28" fmla="*/ 12191171 w 15773620"/>
              <a:gd name="connsiteY28" fmla="*/ 14911863 h 15388950"/>
              <a:gd name="connsiteX29" fmla="*/ 11319213 w 15773620"/>
              <a:gd name="connsiteY29" fmla="*/ 15388950 h 15388950"/>
              <a:gd name="connsiteX30" fmla="*/ 10447246 w 15773620"/>
              <a:gd name="connsiteY30" fmla="*/ 14911863 h 15388950"/>
              <a:gd name="connsiteX31" fmla="*/ 9713820 w 15773620"/>
              <a:gd name="connsiteY31" fmla="*/ 14494410 h 15388950"/>
              <a:gd name="connsiteX32" fmla="*/ 8980395 w 15773620"/>
              <a:gd name="connsiteY32" fmla="*/ 14911863 h 15388950"/>
              <a:gd name="connsiteX33" fmla="*/ 8108437 w 15773620"/>
              <a:gd name="connsiteY33" fmla="*/ 15388950 h 15388950"/>
              <a:gd name="connsiteX34" fmla="*/ 7236470 w 15773620"/>
              <a:gd name="connsiteY34" fmla="*/ 14911863 h 15388950"/>
              <a:gd name="connsiteX35" fmla="*/ 6503044 w 15773620"/>
              <a:gd name="connsiteY35" fmla="*/ 14494410 h 15388950"/>
              <a:gd name="connsiteX36" fmla="*/ 5769618 w 15773620"/>
              <a:gd name="connsiteY36" fmla="*/ 14911863 h 15388950"/>
              <a:gd name="connsiteX37" fmla="*/ 4897660 w 15773620"/>
              <a:gd name="connsiteY37" fmla="*/ 15388950 h 15388950"/>
              <a:gd name="connsiteX38" fmla="*/ 4025694 w 15773620"/>
              <a:gd name="connsiteY38" fmla="*/ 14911863 h 15388950"/>
              <a:gd name="connsiteX39" fmla="*/ 3292267 w 15773620"/>
              <a:gd name="connsiteY39" fmla="*/ 14494410 h 15388950"/>
              <a:gd name="connsiteX40" fmla="*/ 2558842 w 15773620"/>
              <a:gd name="connsiteY40" fmla="*/ 14911863 h 15388950"/>
              <a:gd name="connsiteX41" fmla="*/ 1695029 w 15773620"/>
              <a:gd name="connsiteY41" fmla="*/ 15388950 h 15388950"/>
              <a:gd name="connsiteX42" fmla="*/ 823063 w 15773620"/>
              <a:gd name="connsiteY42" fmla="*/ 14911863 h 15388950"/>
              <a:gd name="connsiteX43" fmla="*/ 89637 w 15773620"/>
              <a:gd name="connsiteY43" fmla="*/ 14494410 h 15388950"/>
              <a:gd name="connsiteX44" fmla="*/ 0 w 15773620"/>
              <a:gd name="connsiteY44" fmla="*/ 14400702 h 15388950"/>
              <a:gd name="connsiteX45" fmla="*/ 89637 w 15773620"/>
              <a:gd name="connsiteY45" fmla="*/ 14306985 h 15388950"/>
              <a:gd name="connsiteX46" fmla="*/ 89638 w 15773620"/>
              <a:gd name="connsiteY46" fmla="*/ 11445584 h 15388950"/>
              <a:gd name="connsiteX47" fmla="*/ 953458 w 15773620"/>
              <a:gd name="connsiteY47" fmla="*/ 11922672 h 15388950"/>
              <a:gd name="connsiteX48" fmla="*/ 1686885 w 15773620"/>
              <a:gd name="connsiteY48" fmla="*/ 12340124 h 15388950"/>
              <a:gd name="connsiteX49" fmla="*/ 2420311 w 15773620"/>
              <a:gd name="connsiteY49" fmla="*/ 11922672 h 15388950"/>
              <a:gd name="connsiteX50" fmla="*/ 3292268 w 15773620"/>
              <a:gd name="connsiteY50" fmla="*/ 11445584 h 15388950"/>
              <a:gd name="connsiteX51" fmla="*/ 4164234 w 15773620"/>
              <a:gd name="connsiteY51" fmla="*/ 11922672 h 15388950"/>
              <a:gd name="connsiteX52" fmla="*/ 4897661 w 15773620"/>
              <a:gd name="connsiteY52" fmla="*/ 12340124 h 15388950"/>
              <a:gd name="connsiteX53" fmla="*/ 5631086 w 15773620"/>
              <a:gd name="connsiteY53" fmla="*/ 11922672 h 15388950"/>
              <a:gd name="connsiteX54" fmla="*/ 6503045 w 15773620"/>
              <a:gd name="connsiteY54" fmla="*/ 11445584 h 15388950"/>
              <a:gd name="connsiteX55" fmla="*/ 7375011 w 15773620"/>
              <a:gd name="connsiteY55" fmla="*/ 11922672 h 15388950"/>
              <a:gd name="connsiteX56" fmla="*/ 8108437 w 15773620"/>
              <a:gd name="connsiteY56" fmla="*/ 12340124 h 15388950"/>
              <a:gd name="connsiteX57" fmla="*/ 8841862 w 15773620"/>
              <a:gd name="connsiteY57" fmla="*/ 11922672 h 15388950"/>
              <a:gd name="connsiteX58" fmla="*/ 9713820 w 15773620"/>
              <a:gd name="connsiteY58" fmla="*/ 11445584 h 15388950"/>
              <a:gd name="connsiteX59" fmla="*/ 10585787 w 15773620"/>
              <a:gd name="connsiteY59" fmla="*/ 11922672 h 15388950"/>
              <a:gd name="connsiteX60" fmla="*/ 11319213 w 15773620"/>
              <a:gd name="connsiteY60" fmla="*/ 12340124 h 15388950"/>
              <a:gd name="connsiteX61" fmla="*/ 12052639 w 15773620"/>
              <a:gd name="connsiteY61" fmla="*/ 11922672 h 15388950"/>
              <a:gd name="connsiteX62" fmla="*/ 12924597 w 15773620"/>
              <a:gd name="connsiteY62" fmla="*/ 11445584 h 15388950"/>
              <a:gd name="connsiteX63" fmla="*/ 13796563 w 15773620"/>
              <a:gd name="connsiteY63" fmla="*/ 11922672 h 15388950"/>
              <a:gd name="connsiteX64" fmla="*/ 14529989 w 15773620"/>
              <a:gd name="connsiteY64" fmla="*/ 12340124 h 15388950"/>
              <a:gd name="connsiteX65" fmla="*/ 15263415 w 15773620"/>
              <a:gd name="connsiteY65" fmla="*/ 11922672 h 15388950"/>
              <a:gd name="connsiteX66" fmla="*/ 15719813 w 15773620"/>
              <a:gd name="connsiteY66" fmla="*/ 11538133 h 15388950"/>
              <a:gd name="connsiteX67" fmla="*/ 15773620 w 15773620"/>
              <a:gd name="connsiteY67" fmla="*/ 11516511 h 15388950"/>
              <a:gd name="connsiteX68" fmla="*/ 15773620 w 15773620"/>
              <a:gd name="connsiteY68" fmla="*/ 11722903 h 15388950"/>
              <a:gd name="connsiteX69" fmla="*/ 15707541 w 15773620"/>
              <a:gd name="connsiteY69" fmla="*/ 11761866 h 15388950"/>
              <a:gd name="connsiteX70" fmla="*/ 15401947 w 15773620"/>
              <a:gd name="connsiteY70" fmla="*/ 12050462 h 15388950"/>
              <a:gd name="connsiteX71" fmla="*/ 14529989 w 15773620"/>
              <a:gd name="connsiteY71" fmla="*/ 12527549 h 15388950"/>
              <a:gd name="connsiteX72" fmla="*/ 13658023 w 15773620"/>
              <a:gd name="connsiteY72" fmla="*/ 12050462 h 15388950"/>
              <a:gd name="connsiteX73" fmla="*/ 12924597 w 15773620"/>
              <a:gd name="connsiteY73" fmla="*/ 11633009 h 15388950"/>
              <a:gd name="connsiteX74" fmla="*/ 12191171 w 15773620"/>
              <a:gd name="connsiteY74" fmla="*/ 12050462 h 15388950"/>
              <a:gd name="connsiteX75" fmla="*/ 11319213 w 15773620"/>
              <a:gd name="connsiteY75" fmla="*/ 12527549 h 15388950"/>
              <a:gd name="connsiteX76" fmla="*/ 10447246 w 15773620"/>
              <a:gd name="connsiteY76" fmla="*/ 12050462 h 15388950"/>
              <a:gd name="connsiteX77" fmla="*/ 9713820 w 15773620"/>
              <a:gd name="connsiteY77" fmla="*/ 11633009 h 15388950"/>
              <a:gd name="connsiteX78" fmla="*/ 8980395 w 15773620"/>
              <a:gd name="connsiteY78" fmla="*/ 12050462 h 15388950"/>
              <a:gd name="connsiteX79" fmla="*/ 8108437 w 15773620"/>
              <a:gd name="connsiteY79" fmla="*/ 12527549 h 15388950"/>
              <a:gd name="connsiteX80" fmla="*/ 7236471 w 15773620"/>
              <a:gd name="connsiteY80" fmla="*/ 12050462 h 15388950"/>
              <a:gd name="connsiteX81" fmla="*/ 6503045 w 15773620"/>
              <a:gd name="connsiteY81" fmla="*/ 11633009 h 15388950"/>
              <a:gd name="connsiteX82" fmla="*/ 5769618 w 15773620"/>
              <a:gd name="connsiteY82" fmla="*/ 12050462 h 15388950"/>
              <a:gd name="connsiteX83" fmla="*/ 4897661 w 15773620"/>
              <a:gd name="connsiteY83" fmla="*/ 12527549 h 15388950"/>
              <a:gd name="connsiteX84" fmla="*/ 4025694 w 15773620"/>
              <a:gd name="connsiteY84" fmla="*/ 12050462 h 15388950"/>
              <a:gd name="connsiteX85" fmla="*/ 3292268 w 15773620"/>
              <a:gd name="connsiteY85" fmla="*/ 11633009 h 15388950"/>
              <a:gd name="connsiteX86" fmla="*/ 2558842 w 15773620"/>
              <a:gd name="connsiteY86" fmla="*/ 12050462 h 15388950"/>
              <a:gd name="connsiteX87" fmla="*/ 1695029 w 15773620"/>
              <a:gd name="connsiteY87" fmla="*/ 12527549 h 15388950"/>
              <a:gd name="connsiteX88" fmla="*/ 823063 w 15773620"/>
              <a:gd name="connsiteY88" fmla="*/ 12050462 h 15388950"/>
              <a:gd name="connsiteX89" fmla="*/ 89638 w 15773620"/>
              <a:gd name="connsiteY89" fmla="*/ 11633009 h 15388950"/>
              <a:gd name="connsiteX90" fmla="*/ 0 w 15773620"/>
              <a:gd name="connsiteY90" fmla="*/ 11539301 h 15388950"/>
              <a:gd name="connsiteX91" fmla="*/ 89638 w 15773620"/>
              <a:gd name="connsiteY91" fmla="*/ 11445584 h 15388950"/>
              <a:gd name="connsiteX92" fmla="*/ 89638 w 15773620"/>
              <a:gd name="connsiteY92" fmla="*/ 8584192 h 15388950"/>
              <a:gd name="connsiteX93" fmla="*/ 953458 w 15773620"/>
              <a:gd name="connsiteY93" fmla="*/ 9061280 h 15388950"/>
              <a:gd name="connsiteX94" fmla="*/ 1686885 w 15773620"/>
              <a:gd name="connsiteY94" fmla="*/ 9478732 h 15388950"/>
              <a:gd name="connsiteX95" fmla="*/ 2420311 w 15773620"/>
              <a:gd name="connsiteY95" fmla="*/ 9061280 h 15388950"/>
              <a:gd name="connsiteX96" fmla="*/ 3292268 w 15773620"/>
              <a:gd name="connsiteY96" fmla="*/ 8584192 h 15388950"/>
              <a:gd name="connsiteX97" fmla="*/ 4164235 w 15773620"/>
              <a:gd name="connsiteY97" fmla="*/ 9061280 h 15388950"/>
              <a:gd name="connsiteX98" fmla="*/ 4897661 w 15773620"/>
              <a:gd name="connsiteY98" fmla="*/ 9478732 h 15388950"/>
              <a:gd name="connsiteX99" fmla="*/ 5631087 w 15773620"/>
              <a:gd name="connsiteY99" fmla="*/ 9061280 h 15388950"/>
              <a:gd name="connsiteX100" fmla="*/ 6503045 w 15773620"/>
              <a:gd name="connsiteY100" fmla="*/ 8584192 h 15388950"/>
              <a:gd name="connsiteX101" fmla="*/ 7375011 w 15773620"/>
              <a:gd name="connsiteY101" fmla="*/ 9061280 h 15388950"/>
              <a:gd name="connsiteX102" fmla="*/ 8108437 w 15773620"/>
              <a:gd name="connsiteY102" fmla="*/ 9478732 h 15388950"/>
              <a:gd name="connsiteX103" fmla="*/ 8841862 w 15773620"/>
              <a:gd name="connsiteY103" fmla="*/ 9061280 h 15388950"/>
              <a:gd name="connsiteX104" fmla="*/ 9713820 w 15773620"/>
              <a:gd name="connsiteY104" fmla="*/ 8584192 h 15388950"/>
              <a:gd name="connsiteX105" fmla="*/ 10585787 w 15773620"/>
              <a:gd name="connsiteY105" fmla="*/ 9061280 h 15388950"/>
              <a:gd name="connsiteX106" fmla="*/ 11319213 w 15773620"/>
              <a:gd name="connsiteY106" fmla="*/ 9478732 h 15388950"/>
              <a:gd name="connsiteX107" fmla="*/ 12052639 w 15773620"/>
              <a:gd name="connsiteY107" fmla="*/ 9061280 h 15388950"/>
              <a:gd name="connsiteX108" fmla="*/ 12924597 w 15773620"/>
              <a:gd name="connsiteY108" fmla="*/ 8584192 h 15388950"/>
              <a:gd name="connsiteX109" fmla="*/ 13796563 w 15773620"/>
              <a:gd name="connsiteY109" fmla="*/ 9061280 h 15388950"/>
              <a:gd name="connsiteX110" fmla="*/ 14529989 w 15773620"/>
              <a:gd name="connsiteY110" fmla="*/ 9478732 h 15388950"/>
              <a:gd name="connsiteX111" fmla="*/ 15263415 w 15773620"/>
              <a:gd name="connsiteY111" fmla="*/ 9061280 h 15388950"/>
              <a:gd name="connsiteX112" fmla="*/ 15719813 w 15773620"/>
              <a:gd name="connsiteY112" fmla="*/ 8676741 h 15388950"/>
              <a:gd name="connsiteX113" fmla="*/ 15773620 w 15773620"/>
              <a:gd name="connsiteY113" fmla="*/ 8655118 h 15388950"/>
              <a:gd name="connsiteX114" fmla="*/ 15773620 w 15773620"/>
              <a:gd name="connsiteY114" fmla="*/ 8861511 h 15388950"/>
              <a:gd name="connsiteX115" fmla="*/ 15707541 w 15773620"/>
              <a:gd name="connsiteY115" fmla="*/ 8900473 h 15388950"/>
              <a:gd name="connsiteX116" fmla="*/ 15401947 w 15773620"/>
              <a:gd name="connsiteY116" fmla="*/ 9189070 h 15388950"/>
              <a:gd name="connsiteX117" fmla="*/ 14529989 w 15773620"/>
              <a:gd name="connsiteY117" fmla="*/ 9666157 h 15388950"/>
              <a:gd name="connsiteX118" fmla="*/ 13658023 w 15773620"/>
              <a:gd name="connsiteY118" fmla="*/ 9189070 h 15388950"/>
              <a:gd name="connsiteX119" fmla="*/ 12924597 w 15773620"/>
              <a:gd name="connsiteY119" fmla="*/ 8771617 h 15388950"/>
              <a:gd name="connsiteX120" fmla="*/ 12191171 w 15773620"/>
              <a:gd name="connsiteY120" fmla="*/ 9189070 h 15388950"/>
              <a:gd name="connsiteX121" fmla="*/ 11319213 w 15773620"/>
              <a:gd name="connsiteY121" fmla="*/ 9666157 h 15388950"/>
              <a:gd name="connsiteX122" fmla="*/ 10447246 w 15773620"/>
              <a:gd name="connsiteY122" fmla="*/ 9189070 h 15388950"/>
              <a:gd name="connsiteX123" fmla="*/ 9713820 w 15773620"/>
              <a:gd name="connsiteY123" fmla="*/ 8771617 h 15388950"/>
              <a:gd name="connsiteX124" fmla="*/ 8980395 w 15773620"/>
              <a:gd name="connsiteY124" fmla="*/ 9189070 h 15388950"/>
              <a:gd name="connsiteX125" fmla="*/ 8108437 w 15773620"/>
              <a:gd name="connsiteY125" fmla="*/ 9666157 h 15388950"/>
              <a:gd name="connsiteX126" fmla="*/ 7236471 w 15773620"/>
              <a:gd name="connsiteY126" fmla="*/ 9189070 h 15388950"/>
              <a:gd name="connsiteX127" fmla="*/ 6503045 w 15773620"/>
              <a:gd name="connsiteY127" fmla="*/ 8771617 h 15388950"/>
              <a:gd name="connsiteX128" fmla="*/ 5769618 w 15773620"/>
              <a:gd name="connsiteY128" fmla="*/ 9189070 h 15388950"/>
              <a:gd name="connsiteX129" fmla="*/ 4897661 w 15773620"/>
              <a:gd name="connsiteY129" fmla="*/ 9666157 h 15388950"/>
              <a:gd name="connsiteX130" fmla="*/ 4025694 w 15773620"/>
              <a:gd name="connsiteY130" fmla="*/ 9189070 h 15388950"/>
              <a:gd name="connsiteX131" fmla="*/ 3292268 w 15773620"/>
              <a:gd name="connsiteY131" fmla="*/ 8771617 h 15388950"/>
              <a:gd name="connsiteX132" fmla="*/ 2558842 w 15773620"/>
              <a:gd name="connsiteY132" fmla="*/ 9189070 h 15388950"/>
              <a:gd name="connsiteX133" fmla="*/ 1695029 w 15773620"/>
              <a:gd name="connsiteY133" fmla="*/ 9666157 h 15388950"/>
              <a:gd name="connsiteX134" fmla="*/ 823063 w 15773620"/>
              <a:gd name="connsiteY134" fmla="*/ 9189070 h 15388950"/>
              <a:gd name="connsiteX135" fmla="*/ 89638 w 15773620"/>
              <a:gd name="connsiteY135" fmla="*/ 8771617 h 15388950"/>
              <a:gd name="connsiteX136" fmla="*/ 0 w 15773620"/>
              <a:gd name="connsiteY136" fmla="*/ 8677909 h 15388950"/>
              <a:gd name="connsiteX137" fmla="*/ 89638 w 15773620"/>
              <a:gd name="connsiteY137" fmla="*/ 8584192 h 15388950"/>
              <a:gd name="connsiteX138" fmla="*/ 89638 w 15773620"/>
              <a:gd name="connsiteY138" fmla="*/ 5722791 h 15388950"/>
              <a:gd name="connsiteX139" fmla="*/ 953458 w 15773620"/>
              <a:gd name="connsiteY139" fmla="*/ 6199879 h 15388950"/>
              <a:gd name="connsiteX140" fmla="*/ 1686885 w 15773620"/>
              <a:gd name="connsiteY140" fmla="*/ 6617331 h 15388950"/>
              <a:gd name="connsiteX141" fmla="*/ 2420311 w 15773620"/>
              <a:gd name="connsiteY141" fmla="*/ 6199879 h 15388950"/>
              <a:gd name="connsiteX142" fmla="*/ 3292268 w 15773620"/>
              <a:gd name="connsiteY142" fmla="*/ 5722791 h 15388950"/>
              <a:gd name="connsiteX143" fmla="*/ 4164235 w 15773620"/>
              <a:gd name="connsiteY143" fmla="*/ 6199879 h 15388950"/>
              <a:gd name="connsiteX144" fmla="*/ 4897661 w 15773620"/>
              <a:gd name="connsiteY144" fmla="*/ 6617331 h 15388950"/>
              <a:gd name="connsiteX145" fmla="*/ 5631087 w 15773620"/>
              <a:gd name="connsiteY145" fmla="*/ 6199879 h 15388950"/>
              <a:gd name="connsiteX146" fmla="*/ 6503045 w 15773620"/>
              <a:gd name="connsiteY146" fmla="*/ 5722791 h 15388950"/>
              <a:gd name="connsiteX147" fmla="*/ 7375011 w 15773620"/>
              <a:gd name="connsiteY147" fmla="*/ 6199879 h 15388950"/>
              <a:gd name="connsiteX148" fmla="*/ 8108438 w 15773620"/>
              <a:gd name="connsiteY148" fmla="*/ 6617331 h 15388950"/>
              <a:gd name="connsiteX149" fmla="*/ 8841862 w 15773620"/>
              <a:gd name="connsiteY149" fmla="*/ 6199879 h 15388950"/>
              <a:gd name="connsiteX150" fmla="*/ 9713820 w 15773620"/>
              <a:gd name="connsiteY150" fmla="*/ 5722791 h 15388950"/>
              <a:gd name="connsiteX151" fmla="*/ 10585787 w 15773620"/>
              <a:gd name="connsiteY151" fmla="*/ 6199879 h 15388950"/>
              <a:gd name="connsiteX152" fmla="*/ 11319213 w 15773620"/>
              <a:gd name="connsiteY152" fmla="*/ 6617331 h 15388950"/>
              <a:gd name="connsiteX153" fmla="*/ 12052639 w 15773620"/>
              <a:gd name="connsiteY153" fmla="*/ 6199879 h 15388950"/>
              <a:gd name="connsiteX154" fmla="*/ 12924597 w 15773620"/>
              <a:gd name="connsiteY154" fmla="*/ 5722791 h 15388950"/>
              <a:gd name="connsiteX155" fmla="*/ 13796563 w 15773620"/>
              <a:gd name="connsiteY155" fmla="*/ 6199879 h 15388950"/>
              <a:gd name="connsiteX156" fmla="*/ 14529989 w 15773620"/>
              <a:gd name="connsiteY156" fmla="*/ 6617331 h 15388950"/>
              <a:gd name="connsiteX157" fmla="*/ 15263415 w 15773620"/>
              <a:gd name="connsiteY157" fmla="*/ 6199879 h 15388950"/>
              <a:gd name="connsiteX158" fmla="*/ 15719813 w 15773620"/>
              <a:gd name="connsiteY158" fmla="*/ 5815340 h 15388950"/>
              <a:gd name="connsiteX159" fmla="*/ 15773620 w 15773620"/>
              <a:gd name="connsiteY159" fmla="*/ 5793718 h 15388950"/>
              <a:gd name="connsiteX160" fmla="*/ 15773620 w 15773620"/>
              <a:gd name="connsiteY160" fmla="*/ 6000111 h 15388950"/>
              <a:gd name="connsiteX161" fmla="*/ 15707541 w 15773620"/>
              <a:gd name="connsiteY161" fmla="*/ 6039073 h 15388950"/>
              <a:gd name="connsiteX162" fmla="*/ 15401947 w 15773620"/>
              <a:gd name="connsiteY162" fmla="*/ 6327669 h 15388950"/>
              <a:gd name="connsiteX163" fmla="*/ 14529989 w 15773620"/>
              <a:gd name="connsiteY163" fmla="*/ 6804756 h 15388950"/>
              <a:gd name="connsiteX164" fmla="*/ 13658023 w 15773620"/>
              <a:gd name="connsiteY164" fmla="*/ 6327669 h 15388950"/>
              <a:gd name="connsiteX165" fmla="*/ 12924597 w 15773620"/>
              <a:gd name="connsiteY165" fmla="*/ 5910216 h 15388950"/>
              <a:gd name="connsiteX166" fmla="*/ 12191171 w 15773620"/>
              <a:gd name="connsiteY166" fmla="*/ 6327669 h 15388950"/>
              <a:gd name="connsiteX167" fmla="*/ 11319213 w 15773620"/>
              <a:gd name="connsiteY167" fmla="*/ 6804756 h 15388950"/>
              <a:gd name="connsiteX168" fmla="*/ 10447246 w 15773620"/>
              <a:gd name="connsiteY168" fmla="*/ 6327669 h 15388950"/>
              <a:gd name="connsiteX169" fmla="*/ 9713820 w 15773620"/>
              <a:gd name="connsiteY169" fmla="*/ 5910216 h 15388950"/>
              <a:gd name="connsiteX170" fmla="*/ 8980395 w 15773620"/>
              <a:gd name="connsiteY170" fmla="*/ 6327669 h 15388950"/>
              <a:gd name="connsiteX171" fmla="*/ 8108438 w 15773620"/>
              <a:gd name="connsiteY171" fmla="*/ 6804756 h 15388950"/>
              <a:gd name="connsiteX172" fmla="*/ 7236471 w 15773620"/>
              <a:gd name="connsiteY172" fmla="*/ 6327669 h 15388950"/>
              <a:gd name="connsiteX173" fmla="*/ 6503045 w 15773620"/>
              <a:gd name="connsiteY173" fmla="*/ 5910216 h 15388950"/>
              <a:gd name="connsiteX174" fmla="*/ 5769619 w 15773620"/>
              <a:gd name="connsiteY174" fmla="*/ 6327669 h 15388950"/>
              <a:gd name="connsiteX175" fmla="*/ 4897661 w 15773620"/>
              <a:gd name="connsiteY175" fmla="*/ 6804756 h 15388950"/>
              <a:gd name="connsiteX176" fmla="*/ 4025695 w 15773620"/>
              <a:gd name="connsiteY176" fmla="*/ 6327669 h 15388950"/>
              <a:gd name="connsiteX177" fmla="*/ 3292268 w 15773620"/>
              <a:gd name="connsiteY177" fmla="*/ 5910216 h 15388950"/>
              <a:gd name="connsiteX178" fmla="*/ 2558842 w 15773620"/>
              <a:gd name="connsiteY178" fmla="*/ 6327669 h 15388950"/>
              <a:gd name="connsiteX179" fmla="*/ 1695029 w 15773620"/>
              <a:gd name="connsiteY179" fmla="*/ 6804756 h 15388950"/>
              <a:gd name="connsiteX180" fmla="*/ 823063 w 15773620"/>
              <a:gd name="connsiteY180" fmla="*/ 6327669 h 15388950"/>
              <a:gd name="connsiteX181" fmla="*/ 89638 w 15773620"/>
              <a:gd name="connsiteY181" fmla="*/ 5910216 h 15388950"/>
              <a:gd name="connsiteX182" fmla="*/ 0 w 15773620"/>
              <a:gd name="connsiteY182" fmla="*/ 5816508 h 15388950"/>
              <a:gd name="connsiteX183" fmla="*/ 89638 w 15773620"/>
              <a:gd name="connsiteY183" fmla="*/ 5722791 h 15388950"/>
              <a:gd name="connsiteX184" fmla="*/ 89638 w 15773620"/>
              <a:gd name="connsiteY184" fmla="*/ 2861401 h 15388950"/>
              <a:gd name="connsiteX185" fmla="*/ 953459 w 15773620"/>
              <a:gd name="connsiteY185" fmla="*/ 3338489 h 15388950"/>
              <a:gd name="connsiteX186" fmla="*/ 1686885 w 15773620"/>
              <a:gd name="connsiteY186" fmla="*/ 3755941 h 15388950"/>
              <a:gd name="connsiteX187" fmla="*/ 2420311 w 15773620"/>
              <a:gd name="connsiteY187" fmla="*/ 3338489 h 15388950"/>
              <a:gd name="connsiteX188" fmla="*/ 3292268 w 15773620"/>
              <a:gd name="connsiteY188" fmla="*/ 2861401 h 15388950"/>
              <a:gd name="connsiteX189" fmla="*/ 4164235 w 15773620"/>
              <a:gd name="connsiteY189" fmla="*/ 3338489 h 15388950"/>
              <a:gd name="connsiteX190" fmla="*/ 4897661 w 15773620"/>
              <a:gd name="connsiteY190" fmla="*/ 3755941 h 15388950"/>
              <a:gd name="connsiteX191" fmla="*/ 5631087 w 15773620"/>
              <a:gd name="connsiteY191" fmla="*/ 3338489 h 15388950"/>
              <a:gd name="connsiteX192" fmla="*/ 6503045 w 15773620"/>
              <a:gd name="connsiteY192" fmla="*/ 2861401 h 15388950"/>
              <a:gd name="connsiteX193" fmla="*/ 7375011 w 15773620"/>
              <a:gd name="connsiteY193" fmla="*/ 3338489 h 15388950"/>
              <a:gd name="connsiteX194" fmla="*/ 8108438 w 15773620"/>
              <a:gd name="connsiteY194" fmla="*/ 3755941 h 15388950"/>
              <a:gd name="connsiteX195" fmla="*/ 8841862 w 15773620"/>
              <a:gd name="connsiteY195" fmla="*/ 3338489 h 15388950"/>
              <a:gd name="connsiteX196" fmla="*/ 9713820 w 15773620"/>
              <a:gd name="connsiteY196" fmla="*/ 2861401 h 15388950"/>
              <a:gd name="connsiteX197" fmla="*/ 10585787 w 15773620"/>
              <a:gd name="connsiteY197" fmla="*/ 3338489 h 15388950"/>
              <a:gd name="connsiteX198" fmla="*/ 11319213 w 15773620"/>
              <a:gd name="connsiteY198" fmla="*/ 3755941 h 15388950"/>
              <a:gd name="connsiteX199" fmla="*/ 12052639 w 15773620"/>
              <a:gd name="connsiteY199" fmla="*/ 3338489 h 15388950"/>
              <a:gd name="connsiteX200" fmla="*/ 12924597 w 15773620"/>
              <a:gd name="connsiteY200" fmla="*/ 2861401 h 15388950"/>
              <a:gd name="connsiteX201" fmla="*/ 13796563 w 15773620"/>
              <a:gd name="connsiteY201" fmla="*/ 3338489 h 15388950"/>
              <a:gd name="connsiteX202" fmla="*/ 14529989 w 15773620"/>
              <a:gd name="connsiteY202" fmla="*/ 3755941 h 15388950"/>
              <a:gd name="connsiteX203" fmla="*/ 15263415 w 15773620"/>
              <a:gd name="connsiteY203" fmla="*/ 3338489 h 15388950"/>
              <a:gd name="connsiteX204" fmla="*/ 15719813 w 15773620"/>
              <a:gd name="connsiteY204" fmla="*/ 2953949 h 15388950"/>
              <a:gd name="connsiteX205" fmla="*/ 15773620 w 15773620"/>
              <a:gd name="connsiteY205" fmla="*/ 2932327 h 15388950"/>
              <a:gd name="connsiteX206" fmla="*/ 15773620 w 15773620"/>
              <a:gd name="connsiteY206" fmla="*/ 3138720 h 15388950"/>
              <a:gd name="connsiteX207" fmla="*/ 15707541 w 15773620"/>
              <a:gd name="connsiteY207" fmla="*/ 3177683 h 15388950"/>
              <a:gd name="connsiteX208" fmla="*/ 15401947 w 15773620"/>
              <a:gd name="connsiteY208" fmla="*/ 3466278 h 15388950"/>
              <a:gd name="connsiteX209" fmla="*/ 14529989 w 15773620"/>
              <a:gd name="connsiteY209" fmla="*/ 3943366 h 15388950"/>
              <a:gd name="connsiteX210" fmla="*/ 13658023 w 15773620"/>
              <a:gd name="connsiteY210" fmla="*/ 3466278 h 15388950"/>
              <a:gd name="connsiteX211" fmla="*/ 12924597 w 15773620"/>
              <a:gd name="connsiteY211" fmla="*/ 3048827 h 15388950"/>
              <a:gd name="connsiteX212" fmla="*/ 12191171 w 15773620"/>
              <a:gd name="connsiteY212" fmla="*/ 3466278 h 15388950"/>
              <a:gd name="connsiteX213" fmla="*/ 11319213 w 15773620"/>
              <a:gd name="connsiteY213" fmla="*/ 3943366 h 15388950"/>
              <a:gd name="connsiteX214" fmla="*/ 10447246 w 15773620"/>
              <a:gd name="connsiteY214" fmla="*/ 3466278 h 15388950"/>
              <a:gd name="connsiteX215" fmla="*/ 9713820 w 15773620"/>
              <a:gd name="connsiteY215" fmla="*/ 3048827 h 15388950"/>
              <a:gd name="connsiteX216" fmla="*/ 8980395 w 15773620"/>
              <a:gd name="connsiteY216" fmla="*/ 3466278 h 15388950"/>
              <a:gd name="connsiteX217" fmla="*/ 8108438 w 15773620"/>
              <a:gd name="connsiteY217" fmla="*/ 3943366 h 15388950"/>
              <a:gd name="connsiteX218" fmla="*/ 7236471 w 15773620"/>
              <a:gd name="connsiteY218" fmla="*/ 3466278 h 15388950"/>
              <a:gd name="connsiteX219" fmla="*/ 6503045 w 15773620"/>
              <a:gd name="connsiteY219" fmla="*/ 3048827 h 15388950"/>
              <a:gd name="connsiteX220" fmla="*/ 5769619 w 15773620"/>
              <a:gd name="connsiteY220" fmla="*/ 3466278 h 15388950"/>
              <a:gd name="connsiteX221" fmla="*/ 4897661 w 15773620"/>
              <a:gd name="connsiteY221" fmla="*/ 3943366 h 15388950"/>
              <a:gd name="connsiteX222" fmla="*/ 4025695 w 15773620"/>
              <a:gd name="connsiteY222" fmla="*/ 3466278 h 15388950"/>
              <a:gd name="connsiteX223" fmla="*/ 3292268 w 15773620"/>
              <a:gd name="connsiteY223" fmla="*/ 3048827 h 15388950"/>
              <a:gd name="connsiteX224" fmla="*/ 2558843 w 15773620"/>
              <a:gd name="connsiteY224" fmla="*/ 3466278 h 15388950"/>
              <a:gd name="connsiteX225" fmla="*/ 1695030 w 15773620"/>
              <a:gd name="connsiteY225" fmla="*/ 3943366 h 15388950"/>
              <a:gd name="connsiteX226" fmla="*/ 823063 w 15773620"/>
              <a:gd name="connsiteY226" fmla="*/ 3466278 h 15388950"/>
              <a:gd name="connsiteX227" fmla="*/ 89638 w 15773620"/>
              <a:gd name="connsiteY227" fmla="*/ 3048827 h 15388950"/>
              <a:gd name="connsiteX228" fmla="*/ 0 w 15773620"/>
              <a:gd name="connsiteY228" fmla="*/ 2955118 h 15388950"/>
              <a:gd name="connsiteX229" fmla="*/ 89638 w 15773620"/>
              <a:gd name="connsiteY229" fmla="*/ 2861401 h 15388950"/>
              <a:gd name="connsiteX230" fmla="*/ 89638 w 15773620"/>
              <a:gd name="connsiteY230" fmla="*/ 0 h 15388950"/>
              <a:gd name="connsiteX231" fmla="*/ 953459 w 15773620"/>
              <a:gd name="connsiteY231" fmla="*/ 477088 h 15388950"/>
              <a:gd name="connsiteX232" fmla="*/ 1686885 w 15773620"/>
              <a:gd name="connsiteY232" fmla="*/ 894541 h 15388950"/>
              <a:gd name="connsiteX233" fmla="*/ 2420311 w 15773620"/>
              <a:gd name="connsiteY233" fmla="*/ 477088 h 15388950"/>
              <a:gd name="connsiteX234" fmla="*/ 3292268 w 15773620"/>
              <a:gd name="connsiteY234" fmla="*/ 0 h 15388950"/>
              <a:gd name="connsiteX235" fmla="*/ 4164235 w 15773620"/>
              <a:gd name="connsiteY235" fmla="*/ 477088 h 15388950"/>
              <a:gd name="connsiteX236" fmla="*/ 4897661 w 15773620"/>
              <a:gd name="connsiteY236" fmla="*/ 894541 h 15388950"/>
              <a:gd name="connsiteX237" fmla="*/ 5631087 w 15773620"/>
              <a:gd name="connsiteY237" fmla="*/ 477088 h 15388950"/>
              <a:gd name="connsiteX238" fmla="*/ 6503045 w 15773620"/>
              <a:gd name="connsiteY238" fmla="*/ 0 h 15388950"/>
              <a:gd name="connsiteX239" fmla="*/ 7375011 w 15773620"/>
              <a:gd name="connsiteY239" fmla="*/ 477088 h 15388950"/>
              <a:gd name="connsiteX240" fmla="*/ 8108438 w 15773620"/>
              <a:gd name="connsiteY240" fmla="*/ 894541 h 15388950"/>
              <a:gd name="connsiteX241" fmla="*/ 8841862 w 15773620"/>
              <a:gd name="connsiteY241" fmla="*/ 477088 h 15388950"/>
              <a:gd name="connsiteX242" fmla="*/ 9713820 w 15773620"/>
              <a:gd name="connsiteY242" fmla="*/ 0 h 15388950"/>
              <a:gd name="connsiteX243" fmla="*/ 10585787 w 15773620"/>
              <a:gd name="connsiteY243" fmla="*/ 477088 h 15388950"/>
              <a:gd name="connsiteX244" fmla="*/ 11319213 w 15773620"/>
              <a:gd name="connsiteY244" fmla="*/ 894541 h 15388950"/>
              <a:gd name="connsiteX245" fmla="*/ 12052639 w 15773620"/>
              <a:gd name="connsiteY245" fmla="*/ 477088 h 15388950"/>
              <a:gd name="connsiteX246" fmla="*/ 12924597 w 15773620"/>
              <a:gd name="connsiteY246" fmla="*/ 0 h 15388950"/>
              <a:gd name="connsiteX247" fmla="*/ 13796563 w 15773620"/>
              <a:gd name="connsiteY247" fmla="*/ 477088 h 15388950"/>
              <a:gd name="connsiteX248" fmla="*/ 14529989 w 15773620"/>
              <a:gd name="connsiteY248" fmla="*/ 894541 h 15388950"/>
              <a:gd name="connsiteX249" fmla="*/ 15263415 w 15773620"/>
              <a:gd name="connsiteY249" fmla="*/ 477088 h 15388950"/>
              <a:gd name="connsiteX250" fmla="*/ 15719813 w 15773620"/>
              <a:gd name="connsiteY250" fmla="*/ 92548 h 15388950"/>
              <a:gd name="connsiteX251" fmla="*/ 15773620 w 15773620"/>
              <a:gd name="connsiteY251" fmla="*/ 70926 h 15388950"/>
              <a:gd name="connsiteX252" fmla="*/ 15773620 w 15773620"/>
              <a:gd name="connsiteY252" fmla="*/ 277319 h 15388950"/>
              <a:gd name="connsiteX253" fmla="*/ 15707541 w 15773620"/>
              <a:gd name="connsiteY253" fmla="*/ 316281 h 15388950"/>
              <a:gd name="connsiteX254" fmla="*/ 15401947 w 15773620"/>
              <a:gd name="connsiteY254" fmla="*/ 604878 h 15388950"/>
              <a:gd name="connsiteX255" fmla="*/ 14529989 w 15773620"/>
              <a:gd name="connsiteY255" fmla="*/ 1081965 h 15388950"/>
              <a:gd name="connsiteX256" fmla="*/ 13658023 w 15773620"/>
              <a:gd name="connsiteY256" fmla="*/ 604878 h 15388950"/>
              <a:gd name="connsiteX257" fmla="*/ 12924597 w 15773620"/>
              <a:gd name="connsiteY257" fmla="*/ 187425 h 15388950"/>
              <a:gd name="connsiteX258" fmla="*/ 12191171 w 15773620"/>
              <a:gd name="connsiteY258" fmla="*/ 604878 h 15388950"/>
              <a:gd name="connsiteX259" fmla="*/ 11319213 w 15773620"/>
              <a:gd name="connsiteY259" fmla="*/ 1081965 h 15388950"/>
              <a:gd name="connsiteX260" fmla="*/ 10447246 w 15773620"/>
              <a:gd name="connsiteY260" fmla="*/ 604878 h 15388950"/>
              <a:gd name="connsiteX261" fmla="*/ 9713820 w 15773620"/>
              <a:gd name="connsiteY261" fmla="*/ 187425 h 15388950"/>
              <a:gd name="connsiteX262" fmla="*/ 8980395 w 15773620"/>
              <a:gd name="connsiteY262" fmla="*/ 604878 h 15388950"/>
              <a:gd name="connsiteX263" fmla="*/ 8108438 w 15773620"/>
              <a:gd name="connsiteY263" fmla="*/ 1081965 h 15388950"/>
              <a:gd name="connsiteX264" fmla="*/ 7236471 w 15773620"/>
              <a:gd name="connsiteY264" fmla="*/ 604878 h 15388950"/>
              <a:gd name="connsiteX265" fmla="*/ 6503045 w 15773620"/>
              <a:gd name="connsiteY265" fmla="*/ 187425 h 15388950"/>
              <a:gd name="connsiteX266" fmla="*/ 5769619 w 15773620"/>
              <a:gd name="connsiteY266" fmla="*/ 604878 h 15388950"/>
              <a:gd name="connsiteX267" fmla="*/ 4897661 w 15773620"/>
              <a:gd name="connsiteY267" fmla="*/ 1081965 h 15388950"/>
              <a:gd name="connsiteX268" fmla="*/ 4025695 w 15773620"/>
              <a:gd name="connsiteY268" fmla="*/ 604878 h 15388950"/>
              <a:gd name="connsiteX269" fmla="*/ 3292268 w 15773620"/>
              <a:gd name="connsiteY269" fmla="*/ 187425 h 15388950"/>
              <a:gd name="connsiteX270" fmla="*/ 2558843 w 15773620"/>
              <a:gd name="connsiteY270" fmla="*/ 604878 h 15388950"/>
              <a:gd name="connsiteX271" fmla="*/ 1695030 w 15773620"/>
              <a:gd name="connsiteY271" fmla="*/ 1081965 h 15388950"/>
              <a:gd name="connsiteX272" fmla="*/ 823063 w 15773620"/>
              <a:gd name="connsiteY272" fmla="*/ 604878 h 15388950"/>
              <a:gd name="connsiteX273" fmla="*/ 89638 w 15773620"/>
              <a:gd name="connsiteY273" fmla="*/ 187425 h 15388950"/>
              <a:gd name="connsiteX274" fmla="*/ 0 w 15773620"/>
              <a:gd name="connsiteY274" fmla="*/ 93717 h 15388950"/>
              <a:gd name="connsiteX275" fmla="*/ 89638 w 15773620"/>
              <a:gd name="connsiteY275" fmla="*/ 0 h 1538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5773620" h="15388950">
                <a:moveTo>
                  <a:pt x="89637" y="14306985"/>
                </a:moveTo>
                <a:cubicBezTo>
                  <a:pt x="529702" y="14306985"/>
                  <a:pt x="757877" y="14562565"/>
                  <a:pt x="953458" y="14784072"/>
                </a:cubicBezTo>
                <a:cubicBezTo>
                  <a:pt x="1140884" y="14997059"/>
                  <a:pt x="1328321" y="15201525"/>
                  <a:pt x="1686885" y="15201525"/>
                </a:cubicBezTo>
                <a:cubicBezTo>
                  <a:pt x="2045448" y="15201525"/>
                  <a:pt x="2216576" y="15005580"/>
                  <a:pt x="2420311" y="14784072"/>
                </a:cubicBezTo>
                <a:cubicBezTo>
                  <a:pt x="2624035" y="14562565"/>
                  <a:pt x="2844067" y="14306985"/>
                  <a:pt x="3292267" y="14306985"/>
                </a:cubicBezTo>
                <a:cubicBezTo>
                  <a:pt x="3732323" y="14306985"/>
                  <a:pt x="3960500" y="14562565"/>
                  <a:pt x="4164234" y="14784072"/>
                </a:cubicBezTo>
                <a:cubicBezTo>
                  <a:pt x="4367959" y="15005580"/>
                  <a:pt x="4539096" y="15201525"/>
                  <a:pt x="4897660" y="15201525"/>
                </a:cubicBezTo>
                <a:cubicBezTo>
                  <a:pt x="5256224" y="15201525"/>
                  <a:pt x="5427352" y="15005580"/>
                  <a:pt x="5631086" y="14784072"/>
                </a:cubicBezTo>
                <a:cubicBezTo>
                  <a:pt x="5834811" y="14562565"/>
                  <a:pt x="6054843" y="14306985"/>
                  <a:pt x="6503044" y="14306985"/>
                </a:cubicBezTo>
                <a:cubicBezTo>
                  <a:pt x="6943100" y="14306985"/>
                  <a:pt x="7171277" y="14562565"/>
                  <a:pt x="7375010" y="14784072"/>
                </a:cubicBezTo>
                <a:cubicBezTo>
                  <a:pt x="7578736" y="15005580"/>
                  <a:pt x="7749873" y="15201525"/>
                  <a:pt x="8108437" y="15201525"/>
                </a:cubicBezTo>
                <a:cubicBezTo>
                  <a:pt x="8467000" y="15201525"/>
                  <a:pt x="8638129" y="15005580"/>
                  <a:pt x="8841862" y="14784072"/>
                </a:cubicBezTo>
                <a:cubicBezTo>
                  <a:pt x="9045588" y="14562565"/>
                  <a:pt x="9265620" y="14306985"/>
                  <a:pt x="9713820" y="14306985"/>
                </a:cubicBezTo>
                <a:cubicBezTo>
                  <a:pt x="10153876" y="14306985"/>
                  <a:pt x="10382053" y="14562565"/>
                  <a:pt x="10585787" y="14784072"/>
                </a:cubicBezTo>
                <a:cubicBezTo>
                  <a:pt x="10789512" y="15005580"/>
                  <a:pt x="10960649" y="15201525"/>
                  <a:pt x="11319213" y="15201525"/>
                </a:cubicBezTo>
                <a:cubicBezTo>
                  <a:pt x="11677777" y="15201525"/>
                  <a:pt x="11848905" y="15005580"/>
                  <a:pt x="12052639" y="14784072"/>
                </a:cubicBezTo>
                <a:cubicBezTo>
                  <a:pt x="12256364" y="14562565"/>
                  <a:pt x="12484541" y="14306985"/>
                  <a:pt x="12924597" y="14306985"/>
                </a:cubicBezTo>
                <a:cubicBezTo>
                  <a:pt x="13364652" y="14306985"/>
                  <a:pt x="13592829" y="14562565"/>
                  <a:pt x="13796563" y="14784072"/>
                </a:cubicBezTo>
                <a:cubicBezTo>
                  <a:pt x="13992144" y="14997059"/>
                  <a:pt x="14171425" y="15201525"/>
                  <a:pt x="14529989" y="15201525"/>
                </a:cubicBezTo>
                <a:cubicBezTo>
                  <a:pt x="14888553" y="15201525"/>
                  <a:pt x="15059682" y="15005580"/>
                  <a:pt x="15263415" y="14784072"/>
                </a:cubicBezTo>
                <a:cubicBezTo>
                  <a:pt x="15390744" y="14645630"/>
                  <a:pt x="15527624" y="14493879"/>
                  <a:pt x="15719813" y="14399533"/>
                </a:cubicBezTo>
                <a:lnTo>
                  <a:pt x="15773620" y="14377911"/>
                </a:lnTo>
                <a:lnTo>
                  <a:pt x="15773620" y="14584304"/>
                </a:lnTo>
                <a:lnTo>
                  <a:pt x="15707541" y="14623267"/>
                </a:lnTo>
                <a:cubicBezTo>
                  <a:pt x="15593453" y="14701006"/>
                  <a:pt x="15499737" y="14805369"/>
                  <a:pt x="15401947" y="14911863"/>
                </a:cubicBezTo>
                <a:cubicBezTo>
                  <a:pt x="15198222" y="15133370"/>
                  <a:pt x="14970045" y="15388950"/>
                  <a:pt x="14529989" y="15388950"/>
                </a:cubicBezTo>
                <a:cubicBezTo>
                  <a:pt x="14089934" y="15388950"/>
                  <a:pt x="13861757" y="15133370"/>
                  <a:pt x="13658023" y="14911863"/>
                </a:cubicBezTo>
                <a:cubicBezTo>
                  <a:pt x="13454298" y="14690355"/>
                  <a:pt x="13283161" y="14494410"/>
                  <a:pt x="12924597" y="14494410"/>
                </a:cubicBezTo>
                <a:cubicBezTo>
                  <a:pt x="12566033" y="14494410"/>
                  <a:pt x="12394904" y="14690355"/>
                  <a:pt x="12191171" y="14911863"/>
                </a:cubicBezTo>
                <a:cubicBezTo>
                  <a:pt x="11987446" y="15133370"/>
                  <a:pt x="11759268" y="15388950"/>
                  <a:pt x="11319213" y="15388950"/>
                </a:cubicBezTo>
                <a:cubicBezTo>
                  <a:pt x="10879157" y="15388950"/>
                  <a:pt x="10650980" y="15133370"/>
                  <a:pt x="10447246" y="14911863"/>
                </a:cubicBezTo>
                <a:cubicBezTo>
                  <a:pt x="10243521" y="14690355"/>
                  <a:pt x="10072384" y="14494410"/>
                  <a:pt x="9713820" y="14494410"/>
                </a:cubicBezTo>
                <a:cubicBezTo>
                  <a:pt x="9355256" y="14494410"/>
                  <a:pt x="9184128" y="14690355"/>
                  <a:pt x="8980395" y="14911863"/>
                </a:cubicBezTo>
                <a:cubicBezTo>
                  <a:pt x="8776669" y="15133370"/>
                  <a:pt x="8556638" y="15388950"/>
                  <a:pt x="8108437" y="15388950"/>
                </a:cubicBezTo>
                <a:cubicBezTo>
                  <a:pt x="7668381" y="15388950"/>
                  <a:pt x="7440204" y="15133370"/>
                  <a:pt x="7236470" y="14911863"/>
                </a:cubicBezTo>
                <a:cubicBezTo>
                  <a:pt x="7032745" y="14690355"/>
                  <a:pt x="6861608" y="14494410"/>
                  <a:pt x="6503044" y="14494410"/>
                </a:cubicBezTo>
                <a:cubicBezTo>
                  <a:pt x="6144480" y="14494410"/>
                  <a:pt x="5973352" y="14690355"/>
                  <a:pt x="5769618" y="14911863"/>
                </a:cubicBezTo>
                <a:cubicBezTo>
                  <a:pt x="5565893" y="15133370"/>
                  <a:pt x="5345861" y="15388950"/>
                  <a:pt x="4897660" y="15388950"/>
                </a:cubicBezTo>
                <a:cubicBezTo>
                  <a:pt x="4457604" y="15388950"/>
                  <a:pt x="4229427" y="15133370"/>
                  <a:pt x="4025694" y="14911863"/>
                </a:cubicBezTo>
                <a:cubicBezTo>
                  <a:pt x="3821969" y="14690355"/>
                  <a:pt x="3650832" y="14494410"/>
                  <a:pt x="3292267" y="14494410"/>
                </a:cubicBezTo>
                <a:cubicBezTo>
                  <a:pt x="2933704" y="14494410"/>
                  <a:pt x="2762575" y="14690355"/>
                  <a:pt x="2558842" y="14911863"/>
                </a:cubicBezTo>
                <a:cubicBezTo>
                  <a:pt x="2355116" y="15133370"/>
                  <a:pt x="2135084" y="15388950"/>
                  <a:pt x="1695029" y="15388950"/>
                </a:cubicBezTo>
                <a:cubicBezTo>
                  <a:pt x="1254973" y="15388950"/>
                  <a:pt x="1026797" y="15133370"/>
                  <a:pt x="823063" y="14911863"/>
                </a:cubicBezTo>
                <a:cubicBezTo>
                  <a:pt x="627490" y="14690355"/>
                  <a:pt x="448210" y="14494410"/>
                  <a:pt x="89637" y="14494410"/>
                </a:cubicBezTo>
                <a:cubicBezTo>
                  <a:pt x="40751" y="14494410"/>
                  <a:pt x="0" y="14451816"/>
                  <a:pt x="0" y="14400702"/>
                </a:cubicBezTo>
                <a:cubicBezTo>
                  <a:pt x="0" y="14349579"/>
                  <a:pt x="40751" y="14306985"/>
                  <a:pt x="89637" y="14306985"/>
                </a:cubicBezTo>
                <a:close/>
                <a:moveTo>
                  <a:pt x="89638" y="11445584"/>
                </a:moveTo>
                <a:cubicBezTo>
                  <a:pt x="529702" y="11445584"/>
                  <a:pt x="757877" y="11701165"/>
                  <a:pt x="953458" y="11922672"/>
                </a:cubicBezTo>
                <a:cubicBezTo>
                  <a:pt x="1140886" y="12135658"/>
                  <a:pt x="1328321" y="12340124"/>
                  <a:pt x="1686885" y="12340124"/>
                </a:cubicBezTo>
                <a:cubicBezTo>
                  <a:pt x="2045448" y="12340124"/>
                  <a:pt x="2216576" y="12144179"/>
                  <a:pt x="2420311" y="11922672"/>
                </a:cubicBezTo>
                <a:cubicBezTo>
                  <a:pt x="2624035" y="11701165"/>
                  <a:pt x="2844067" y="11445584"/>
                  <a:pt x="3292268" y="11445584"/>
                </a:cubicBezTo>
                <a:cubicBezTo>
                  <a:pt x="3732324" y="11445584"/>
                  <a:pt x="3960501" y="11701165"/>
                  <a:pt x="4164234" y="11922672"/>
                </a:cubicBezTo>
                <a:cubicBezTo>
                  <a:pt x="4367960" y="12144179"/>
                  <a:pt x="4539097" y="12340124"/>
                  <a:pt x="4897661" y="12340124"/>
                </a:cubicBezTo>
                <a:cubicBezTo>
                  <a:pt x="5256224" y="12340124"/>
                  <a:pt x="5427353" y="12144179"/>
                  <a:pt x="5631086" y="11922672"/>
                </a:cubicBezTo>
                <a:cubicBezTo>
                  <a:pt x="5834812" y="11701165"/>
                  <a:pt x="6054844" y="11445584"/>
                  <a:pt x="6503045" y="11445584"/>
                </a:cubicBezTo>
                <a:cubicBezTo>
                  <a:pt x="6943100" y="11445584"/>
                  <a:pt x="7171277" y="11701165"/>
                  <a:pt x="7375011" y="11922672"/>
                </a:cubicBezTo>
                <a:cubicBezTo>
                  <a:pt x="7578736" y="12144179"/>
                  <a:pt x="7749873" y="12340124"/>
                  <a:pt x="8108437" y="12340124"/>
                </a:cubicBezTo>
                <a:cubicBezTo>
                  <a:pt x="8467000" y="12340124"/>
                  <a:pt x="8638129" y="12144179"/>
                  <a:pt x="8841862" y="11922672"/>
                </a:cubicBezTo>
                <a:cubicBezTo>
                  <a:pt x="9045588" y="11701165"/>
                  <a:pt x="9265620" y="11445584"/>
                  <a:pt x="9713820" y="11445584"/>
                </a:cubicBezTo>
                <a:cubicBezTo>
                  <a:pt x="10153876" y="11445584"/>
                  <a:pt x="10382053" y="11701165"/>
                  <a:pt x="10585787" y="11922672"/>
                </a:cubicBezTo>
                <a:cubicBezTo>
                  <a:pt x="10789512" y="12144179"/>
                  <a:pt x="10960649" y="12340124"/>
                  <a:pt x="11319213" y="12340124"/>
                </a:cubicBezTo>
                <a:cubicBezTo>
                  <a:pt x="11677777" y="12340124"/>
                  <a:pt x="11848905" y="12144179"/>
                  <a:pt x="12052639" y="11922672"/>
                </a:cubicBezTo>
                <a:cubicBezTo>
                  <a:pt x="12256364" y="11701165"/>
                  <a:pt x="12484541" y="11445584"/>
                  <a:pt x="12924597" y="11445584"/>
                </a:cubicBezTo>
                <a:cubicBezTo>
                  <a:pt x="13364652" y="11445584"/>
                  <a:pt x="13592829" y="11701165"/>
                  <a:pt x="13796563" y="11922672"/>
                </a:cubicBezTo>
                <a:cubicBezTo>
                  <a:pt x="13992144" y="12135658"/>
                  <a:pt x="14171425" y="12340124"/>
                  <a:pt x="14529989" y="12340124"/>
                </a:cubicBezTo>
                <a:cubicBezTo>
                  <a:pt x="14888553" y="12340124"/>
                  <a:pt x="15059682" y="12144179"/>
                  <a:pt x="15263415" y="11922672"/>
                </a:cubicBezTo>
                <a:cubicBezTo>
                  <a:pt x="15390744" y="11784230"/>
                  <a:pt x="15527624" y="11632478"/>
                  <a:pt x="15719813" y="11538133"/>
                </a:cubicBezTo>
                <a:lnTo>
                  <a:pt x="15773620" y="11516511"/>
                </a:lnTo>
                <a:lnTo>
                  <a:pt x="15773620" y="11722903"/>
                </a:lnTo>
                <a:lnTo>
                  <a:pt x="15707541" y="11761866"/>
                </a:lnTo>
                <a:cubicBezTo>
                  <a:pt x="15593453" y="11839605"/>
                  <a:pt x="15499737" y="11943969"/>
                  <a:pt x="15401947" y="12050462"/>
                </a:cubicBezTo>
                <a:cubicBezTo>
                  <a:pt x="15198222" y="12271969"/>
                  <a:pt x="14970045" y="12527549"/>
                  <a:pt x="14529989" y="12527549"/>
                </a:cubicBezTo>
                <a:cubicBezTo>
                  <a:pt x="14089934" y="12527549"/>
                  <a:pt x="13861757" y="12271969"/>
                  <a:pt x="13658023" y="12050462"/>
                </a:cubicBezTo>
                <a:cubicBezTo>
                  <a:pt x="13454298" y="11828955"/>
                  <a:pt x="13283161" y="11633009"/>
                  <a:pt x="12924597" y="11633009"/>
                </a:cubicBezTo>
                <a:cubicBezTo>
                  <a:pt x="12566033" y="11633009"/>
                  <a:pt x="12394904" y="11828955"/>
                  <a:pt x="12191171" y="12050462"/>
                </a:cubicBezTo>
                <a:cubicBezTo>
                  <a:pt x="11987446" y="12271969"/>
                  <a:pt x="11759268" y="12527549"/>
                  <a:pt x="11319213" y="12527549"/>
                </a:cubicBezTo>
                <a:cubicBezTo>
                  <a:pt x="10879157" y="12527549"/>
                  <a:pt x="10650980" y="12271969"/>
                  <a:pt x="10447246" y="12050462"/>
                </a:cubicBezTo>
                <a:cubicBezTo>
                  <a:pt x="10243521" y="11828955"/>
                  <a:pt x="10072384" y="11633009"/>
                  <a:pt x="9713820" y="11633009"/>
                </a:cubicBezTo>
                <a:cubicBezTo>
                  <a:pt x="9355256" y="11633009"/>
                  <a:pt x="9184128" y="11828955"/>
                  <a:pt x="8980395" y="12050462"/>
                </a:cubicBezTo>
                <a:cubicBezTo>
                  <a:pt x="8776669" y="12271969"/>
                  <a:pt x="8556638" y="12527549"/>
                  <a:pt x="8108437" y="12527549"/>
                </a:cubicBezTo>
                <a:cubicBezTo>
                  <a:pt x="7668381" y="12527549"/>
                  <a:pt x="7440204" y="12271969"/>
                  <a:pt x="7236471" y="12050462"/>
                </a:cubicBezTo>
                <a:cubicBezTo>
                  <a:pt x="7032745" y="11828955"/>
                  <a:pt x="6861608" y="11633009"/>
                  <a:pt x="6503045" y="11633009"/>
                </a:cubicBezTo>
                <a:cubicBezTo>
                  <a:pt x="6144481" y="11633009"/>
                  <a:pt x="5973352" y="11828955"/>
                  <a:pt x="5769618" y="12050462"/>
                </a:cubicBezTo>
                <a:cubicBezTo>
                  <a:pt x="5565893" y="12271969"/>
                  <a:pt x="5345861" y="12527549"/>
                  <a:pt x="4897661" y="12527549"/>
                </a:cubicBezTo>
                <a:cubicBezTo>
                  <a:pt x="4457605" y="12527549"/>
                  <a:pt x="4229428" y="12271969"/>
                  <a:pt x="4025694" y="12050462"/>
                </a:cubicBezTo>
                <a:cubicBezTo>
                  <a:pt x="3821969" y="11828955"/>
                  <a:pt x="3650832" y="11633009"/>
                  <a:pt x="3292268" y="11633009"/>
                </a:cubicBezTo>
                <a:cubicBezTo>
                  <a:pt x="2933704" y="11633009"/>
                  <a:pt x="2762576" y="11828955"/>
                  <a:pt x="2558842" y="12050462"/>
                </a:cubicBezTo>
                <a:cubicBezTo>
                  <a:pt x="2355117" y="12271969"/>
                  <a:pt x="2135085" y="12527549"/>
                  <a:pt x="1695029" y="12527549"/>
                </a:cubicBezTo>
                <a:cubicBezTo>
                  <a:pt x="1254973" y="12527549"/>
                  <a:pt x="1026797" y="12271969"/>
                  <a:pt x="823063" y="12050462"/>
                </a:cubicBezTo>
                <a:cubicBezTo>
                  <a:pt x="627490" y="11828955"/>
                  <a:pt x="448210" y="11633009"/>
                  <a:pt x="89638" y="11633009"/>
                </a:cubicBezTo>
                <a:cubicBezTo>
                  <a:pt x="40751" y="11633009"/>
                  <a:pt x="0" y="11590415"/>
                  <a:pt x="0" y="11539301"/>
                </a:cubicBezTo>
                <a:cubicBezTo>
                  <a:pt x="0" y="11488178"/>
                  <a:pt x="40751" y="11445584"/>
                  <a:pt x="89638" y="11445584"/>
                </a:cubicBezTo>
                <a:close/>
                <a:moveTo>
                  <a:pt x="89638" y="8584192"/>
                </a:moveTo>
                <a:cubicBezTo>
                  <a:pt x="529702" y="8584192"/>
                  <a:pt x="757877" y="8839772"/>
                  <a:pt x="953458" y="9061280"/>
                </a:cubicBezTo>
                <a:cubicBezTo>
                  <a:pt x="1140886" y="9274266"/>
                  <a:pt x="1328321" y="9478732"/>
                  <a:pt x="1686885" y="9478732"/>
                </a:cubicBezTo>
                <a:cubicBezTo>
                  <a:pt x="2045448" y="9478732"/>
                  <a:pt x="2216577" y="9282787"/>
                  <a:pt x="2420311" y="9061280"/>
                </a:cubicBezTo>
                <a:cubicBezTo>
                  <a:pt x="2624035" y="8839772"/>
                  <a:pt x="2844068" y="8584192"/>
                  <a:pt x="3292268" y="8584192"/>
                </a:cubicBezTo>
                <a:cubicBezTo>
                  <a:pt x="3732324" y="8584192"/>
                  <a:pt x="3960501" y="8839772"/>
                  <a:pt x="4164235" y="9061280"/>
                </a:cubicBezTo>
                <a:cubicBezTo>
                  <a:pt x="4367960" y="9282787"/>
                  <a:pt x="4539097" y="9478732"/>
                  <a:pt x="4897661" y="9478732"/>
                </a:cubicBezTo>
                <a:cubicBezTo>
                  <a:pt x="5256224" y="9478732"/>
                  <a:pt x="5427353" y="9282787"/>
                  <a:pt x="5631087" y="9061280"/>
                </a:cubicBezTo>
                <a:cubicBezTo>
                  <a:pt x="5834812" y="8839772"/>
                  <a:pt x="6054844" y="8584192"/>
                  <a:pt x="6503045" y="8584192"/>
                </a:cubicBezTo>
                <a:cubicBezTo>
                  <a:pt x="6943100" y="8584192"/>
                  <a:pt x="7171277" y="8839772"/>
                  <a:pt x="7375011" y="9061280"/>
                </a:cubicBezTo>
                <a:cubicBezTo>
                  <a:pt x="7578736" y="9282787"/>
                  <a:pt x="7749873" y="9478732"/>
                  <a:pt x="8108437" y="9478732"/>
                </a:cubicBezTo>
                <a:cubicBezTo>
                  <a:pt x="8467000" y="9478732"/>
                  <a:pt x="8638129" y="9282787"/>
                  <a:pt x="8841862" y="9061280"/>
                </a:cubicBezTo>
                <a:cubicBezTo>
                  <a:pt x="9045588" y="8839772"/>
                  <a:pt x="9265620" y="8584192"/>
                  <a:pt x="9713820" y="8584192"/>
                </a:cubicBezTo>
                <a:cubicBezTo>
                  <a:pt x="10153876" y="8584192"/>
                  <a:pt x="10382053" y="8839772"/>
                  <a:pt x="10585787" y="9061280"/>
                </a:cubicBezTo>
                <a:cubicBezTo>
                  <a:pt x="10789512" y="9282787"/>
                  <a:pt x="10960649" y="9478732"/>
                  <a:pt x="11319213" y="9478732"/>
                </a:cubicBezTo>
                <a:cubicBezTo>
                  <a:pt x="11677777" y="9478732"/>
                  <a:pt x="11848905" y="9282787"/>
                  <a:pt x="12052639" y="9061280"/>
                </a:cubicBezTo>
                <a:cubicBezTo>
                  <a:pt x="12256364" y="8839772"/>
                  <a:pt x="12484541" y="8584192"/>
                  <a:pt x="12924597" y="8584192"/>
                </a:cubicBezTo>
                <a:cubicBezTo>
                  <a:pt x="13364652" y="8584192"/>
                  <a:pt x="13592829" y="8839772"/>
                  <a:pt x="13796563" y="9061280"/>
                </a:cubicBezTo>
                <a:cubicBezTo>
                  <a:pt x="13992144" y="9274266"/>
                  <a:pt x="14171425" y="9478732"/>
                  <a:pt x="14529989" y="9478732"/>
                </a:cubicBezTo>
                <a:cubicBezTo>
                  <a:pt x="14888553" y="9478732"/>
                  <a:pt x="15059682" y="9282787"/>
                  <a:pt x="15263415" y="9061280"/>
                </a:cubicBezTo>
                <a:cubicBezTo>
                  <a:pt x="15390744" y="8922838"/>
                  <a:pt x="15527624" y="8771086"/>
                  <a:pt x="15719813" y="8676741"/>
                </a:cubicBezTo>
                <a:lnTo>
                  <a:pt x="15773620" y="8655118"/>
                </a:lnTo>
                <a:lnTo>
                  <a:pt x="15773620" y="8861511"/>
                </a:lnTo>
                <a:lnTo>
                  <a:pt x="15707541" y="8900473"/>
                </a:lnTo>
                <a:cubicBezTo>
                  <a:pt x="15593453" y="8978213"/>
                  <a:pt x="15499737" y="9082577"/>
                  <a:pt x="15401947" y="9189070"/>
                </a:cubicBezTo>
                <a:cubicBezTo>
                  <a:pt x="15198222" y="9410577"/>
                  <a:pt x="14970045" y="9666157"/>
                  <a:pt x="14529989" y="9666157"/>
                </a:cubicBezTo>
                <a:cubicBezTo>
                  <a:pt x="14089934" y="9666157"/>
                  <a:pt x="13861757" y="9410577"/>
                  <a:pt x="13658023" y="9189070"/>
                </a:cubicBezTo>
                <a:cubicBezTo>
                  <a:pt x="13454298" y="8967563"/>
                  <a:pt x="13283161" y="8771617"/>
                  <a:pt x="12924597" y="8771617"/>
                </a:cubicBezTo>
                <a:cubicBezTo>
                  <a:pt x="12566033" y="8771617"/>
                  <a:pt x="12394904" y="8967563"/>
                  <a:pt x="12191171" y="9189070"/>
                </a:cubicBezTo>
                <a:cubicBezTo>
                  <a:pt x="11987446" y="9410577"/>
                  <a:pt x="11759268" y="9666157"/>
                  <a:pt x="11319213" y="9666157"/>
                </a:cubicBezTo>
                <a:cubicBezTo>
                  <a:pt x="10879157" y="9666157"/>
                  <a:pt x="10650980" y="9410577"/>
                  <a:pt x="10447246" y="9189070"/>
                </a:cubicBezTo>
                <a:cubicBezTo>
                  <a:pt x="10243521" y="8967563"/>
                  <a:pt x="10072384" y="8771617"/>
                  <a:pt x="9713820" y="8771617"/>
                </a:cubicBezTo>
                <a:cubicBezTo>
                  <a:pt x="9355256" y="8771617"/>
                  <a:pt x="9184128" y="8967563"/>
                  <a:pt x="8980395" y="9189070"/>
                </a:cubicBezTo>
                <a:cubicBezTo>
                  <a:pt x="8776669" y="9410577"/>
                  <a:pt x="8556638" y="9666157"/>
                  <a:pt x="8108437" y="9666157"/>
                </a:cubicBezTo>
                <a:cubicBezTo>
                  <a:pt x="7668381" y="9666157"/>
                  <a:pt x="7440204" y="9410577"/>
                  <a:pt x="7236471" y="9189070"/>
                </a:cubicBezTo>
                <a:cubicBezTo>
                  <a:pt x="7032745" y="8967563"/>
                  <a:pt x="6861608" y="8771617"/>
                  <a:pt x="6503045" y="8771617"/>
                </a:cubicBezTo>
                <a:cubicBezTo>
                  <a:pt x="6144481" y="8771617"/>
                  <a:pt x="5973352" y="8967563"/>
                  <a:pt x="5769618" y="9189070"/>
                </a:cubicBezTo>
                <a:cubicBezTo>
                  <a:pt x="5565893" y="9410577"/>
                  <a:pt x="5345861" y="9666157"/>
                  <a:pt x="4897661" y="9666157"/>
                </a:cubicBezTo>
                <a:cubicBezTo>
                  <a:pt x="4457605" y="9666157"/>
                  <a:pt x="4229428" y="9410577"/>
                  <a:pt x="4025694" y="9189070"/>
                </a:cubicBezTo>
                <a:cubicBezTo>
                  <a:pt x="3821969" y="8967563"/>
                  <a:pt x="3650832" y="8771617"/>
                  <a:pt x="3292268" y="8771617"/>
                </a:cubicBezTo>
                <a:cubicBezTo>
                  <a:pt x="2933704" y="8771617"/>
                  <a:pt x="2762576" y="8967563"/>
                  <a:pt x="2558842" y="9189070"/>
                </a:cubicBezTo>
                <a:cubicBezTo>
                  <a:pt x="2355117" y="9410577"/>
                  <a:pt x="2135085" y="9666157"/>
                  <a:pt x="1695029" y="9666157"/>
                </a:cubicBezTo>
                <a:cubicBezTo>
                  <a:pt x="1254973" y="9666157"/>
                  <a:pt x="1026797" y="9410577"/>
                  <a:pt x="823063" y="9189070"/>
                </a:cubicBezTo>
                <a:cubicBezTo>
                  <a:pt x="627490" y="8967563"/>
                  <a:pt x="448210" y="8771617"/>
                  <a:pt x="89638" y="8771617"/>
                </a:cubicBezTo>
                <a:cubicBezTo>
                  <a:pt x="40751" y="8771617"/>
                  <a:pt x="0" y="8729023"/>
                  <a:pt x="0" y="8677909"/>
                </a:cubicBezTo>
                <a:cubicBezTo>
                  <a:pt x="0" y="8626786"/>
                  <a:pt x="40751" y="8584192"/>
                  <a:pt x="89638" y="8584192"/>
                </a:cubicBezTo>
                <a:close/>
                <a:moveTo>
                  <a:pt x="89638" y="5722791"/>
                </a:moveTo>
                <a:cubicBezTo>
                  <a:pt x="529702" y="5722791"/>
                  <a:pt x="757877" y="5978372"/>
                  <a:pt x="953458" y="6199879"/>
                </a:cubicBezTo>
                <a:cubicBezTo>
                  <a:pt x="1140886" y="6412865"/>
                  <a:pt x="1328321" y="6617331"/>
                  <a:pt x="1686885" y="6617331"/>
                </a:cubicBezTo>
                <a:cubicBezTo>
                  <a:pt x="2045448" y="6617331"/>
                  <a:pt x="2216577" y="6421386"/>
                  <a:pt x="2420311" y="6199879"/>
                </a:cubicBezTo>
                <a:cubicBezTo>
                  <a:pt x="2624036" y="5978372"/>
                  <a:pt x="2844068" y="5722791"/>
                  <a:pt x="3292268" y="5722791"/>
                </a:cubicBezTo>
                <a:cubicBezTo>
                  <a:pt x="3732324" y="5722791"/>
                  <a:pt x="3960501" y="5978372"/>
                  <a:pt x="4164235" y="6199879"/>
                </a:cubicBezTo>
                <a:cubicBezTo>
                  <a:pt x="4367960" y="6421386"/>
                  <a:pt x="4539097" y="6617331"/>
                  <a:pt x="4897661" y="6617331"/>
                </a:cubicBezTo>
                <a:cubicBezTo>
                  <a:pt x="5256224" y="6617331"/>
                  <a:pt x="5427353" y="6421386"/>
                  <a:pt x="5631087" y="6199879"/>
                </a:cubicBezTo>
                <a:cubicBezTo>
                  <a:pt x="5834812" y="5978372"/>
                  <a:pt x="6054844" y="5722791"/>
                  <a:pt x="6503045" y="5722791"/>
                </a:cubicBezTo>
                <a:cubicBezTo>
                  <a:pt x="6943100" y="5722791"/>
                  <a:pt x="7171278" y="5978372"/>
                  <a:pt x="7375011" y="6199879"/>
                </a:cubicBezTo>
                <a:cubicBezTo>
                  <a:pt x="7578737" y="6421386"/>
                  <a:pt x="7749874" y="6617331"/>
                  <a:pt x="8108438" y="6617331"/>
                </a:cubicBezTo>
                <a:cubicBezTo>
                  <a:pt x="8467000" y="6617331"/>
                  <a:pt x="8638129" y="6421386"/>
                  <a:pt x="8841862" y="6199879"/>
                </a:cubicBezTo>
                <a:cubicBezTo>
                  <a:pt x="9045588" y="5978372"/>
                  <a:pt x="9265620" y="5722791"/>
                  <a:pt x="9713820" y="5722791"/>
                </a:cubicBezTo>
                <a:cubicBezTo>
                  <a:pt x="10153876" y="5722791"/>
                  <a:pt x="10382053" y="5978372"/>
                  <a:pt x="10585787" y="6199879"/>
                </a:cubicBezTo>
                <a:cubicBezTo>
                  <a:pt x="10789512" y="6421386"/>
                  <a:pt x="10960649" y="6617331"/>
                  <a:pt x="11319213" y="6617331"/>
                </a:cubicBezTo>
                <a:cubicBezTo>
                  <a:pt x="11677777" y="6617331"/>
                  <a:pt x="11848905" y="6421386"/>
                  <a:pt x="12052639" y="6199879"/>
                </a:cubicBezTo>
                <a:cubicBezTo>
                  <a:pt x="12256364" y="5978372"/>
                  <a:pt x="12484541" y="5722791"/>
                  <a:pt x="12924597" y="5722791"/>
                </a:cubicBezTo>
                <a:cubicBezTo>
                  <a:pt x="13364652" y="5722791"/>
                  <a:pt x="13592829" y="5978372"/>
                  <a:pt x="13796563" y="6199879"/>
                </a:cubicBezTo>
                <a:cubicBezTo>
                  <a:pt x="13992144" y="6412865"/>
                  <a:pt x="14171425" y="6617331"/>
                  <a:pt x="14529989" y="6617331"/>
                </a:cubicBezTo>
                <a:cubicBezTo>
                  <a:pt x="14888553" y="6617331"/>
                  <a:pt x="15059682" y="6421386"/>
                  <a:pt x="15263415" y="6199879"/>
                </a:cubicBezTo>
                <a:cubicBezTo>
                  <a:pt x="15390744" y="6061437"/>
                  <a:pt x="15527624" y="5909685"/>
                  <a:pt x="15719813" y="5815340"/>
                </a:cubicBezTo>
                <a:lnTo>
                  <a:pt x="15773620" y="5793718"/>
                </a:lnTo>
                <a:lnTo>
                  <a:pt x="15773620" y="6000111"/>
                </a:lnTo>
                <a:lnTo>
                  <a:pt x="15707541" y="6039073"/>
                </a:lnTo>
                <a:cubicBezTo>
                  <a:pt x="15593453" y="6116813"/>
                  <a:pt x="15499737" y="6221176"/>
                  <a:pt x="15401947" y="6327669"/>
                </a:cubicBezTo>
                <a:cubicBezTo>
                  <a:pt x="15198222" y="6549176"/>
                  <a:pt x="14970045" y="6804756"/>
                  <a:pt x="14529989" y="6804756"/>
                </a:cubicBezTo>
                <a:cubicBezTo>
                  <a:pt x="14089934" y="6804756"/>
                  <a:pt x="13861757" y="6549176"/>
                  <a:pt x="13658023" y="6327669"/>
                </a:cubicBezTo>
                <a:cubicBezTo>
                  <a:pt x="13454298" y="6106162"/>
                  <a:pt x="13283161" y="5910216"/>
                  <a:pt x="12924597" y="5910216"/>
                </a:cubicBezTo>
                <a:cubicBezTo>
                  <a:pt x="12566033" y="5910216"/>
                  <a:pt x="12394904" y="6106162"/>
                  <a:pt x="12191171" y="6327669"/>
                </a:cubicBezTo>
                <a:cubicBezTo>
                  <a:pt x="11987446" y="6549176"/>
                  <a:pt x="11759268" y="6804756"/>
                  <a:pt x="11319213" y="6804756"/>
                </a:cubicBezTo>
                <a:cubicBezTo>
                  <a:pt x="10879157" y="6804756"/>
                  <a:pt x="10650980" y="6549176"/>
                  <a:pt x="10447246" y="6327669"/>
                </a:cubicBezTo>
                <a:cubicBezTo>
                  <a:pt x="10243521" y="6106162"/>
                  <a:pt x="10072384" y="5910216"/>
                  <a:pt x="9713820" y="5910216"/>
                </a:cubicBezTo>
                <a:cubicBezTo>
                  <a:pt x="9355256" y="5910216"/>
                  <a:pt x="9184128" y="6106162"/>
                  <a:pt x="8980395" y="6327669"/>
                </a:cubicBezTo>
                <a:cubicBezTo>
                  <a:pt x="8776669" y="6549176"/>
                  <a:pt x="8556638" y="6804756"/>
                  <a:pt x="8108438" y="6804756"/>
                </a:cubicBezTo>
                <a:cubicBezTo>
                  <a:pt x="7668382" y="6804756"/>
                  <a:pt x="7440205" y="6549176"/>
                  <a:pt x="7236471" y="6327669"/>
                </a:cubicBezTo>
                <a:cubicBezTo>
                  <a:pt x="7032746" y="6106162"/>
                  <a:pt x="6861608" y="5910216"/>
                  <a:pt x="6503045" y="5910216"/>
                </a:cubicBezTo>
                <a:cubicBezTo>
                  <a:pt x="6144481" y="5910216"/>
                  <a:pt x="5973352" y="6106162"/>
                  <a:pt x="5769619" y="6327669"/>
                </a:cubicBezTo>
                <a:cubicBezTo>
                  <a:pt x="5565893" y="6549176"/>
                  <a:pt x="5345861" y="6804756"/>
                  <a:pt x="4897661" y="6804756"/>
                </a:cubicBezTo>
                <a:cubicBezTo>
                  <a:pt x="4457605" y="6804756"/>
                  <a:pt x="4229428" y="6549176"/>
                  <a:pt x="4025695" y="6327669"/>
                </a:cubicBezTo>
                <a:cubicBezTo>
                  <a:pt x="3821969" y="6106162"/>
                  <a:pt x="3650832" y="5910216"/>
                  <a:pt x="3292268" y="5910216"/>
                </a:cubicBezTo>
                <a:cubicBezTo>
                  <a:pt x="2933705" y="5910216"/>
                  <a:pt x="2762576" y="6106162"/>
                  <a:pt x="2558842" y="6327669"/>
                </a:cubicBezTo>
                <a:cubicBezTo>
                  <a:pt x="2355117" y="6549176"/>
                  <a:pt x="2135085" y="6804756"/>
                  <a:pt x="1695029" y="6804756"/>
                </a:cubicBezTo>
                <a:cubicBezTo>
                  <a:pt x="1254974" y="6804756"/>
                  <a:pt x="1026797" y="6549176"/>
                  <a:pt x="823063" y="6327669"/>
                </a:cubicBezTo>
                <a:cubicBezTo>
                  <a:pt x="627490" y="6106162"/>
                  <a:pt x="448210" y="5910216"/>
                  <a:pt x="89638" y="5910216"/>
                </a:cubicBezTo>
                <a:cubicBezTo>
                  <a:pt x="40751" y="5910216"/>
                  <a:pt x="0" y="5867623"/>
                  <a:pt x="0" y="5816508"/>
                </a:cubicBezTo>
                <a:cubicBezTo>
                  <a:pt x="0" y="5765385"/>
                  <a:pt x="40751" y="5722791"/>
                  <a:pt x="89638" y="5722791"/>
                </a:cubicBezTo>
                <a:close/>
                <a:moveTo>
                  <a:pt x="89638" y="2861401"/>
                </a:moveTo>
                <a:cubicBezTo>
                  <a:pt x="529702" y="2861401"/>
                  <a:pt x="757877" y="3116981"/>
                  <a:pt x="953459" y="3338489"/>
                </a:cubicBezTo>
                <a:cubicBezTo>
                  <a:pt x="1140886" y="3551475"/>
                  <a:pt x="1328321" y="3755941"/>
                  <a:pt x="1686885" y="3755941"/>
                </a:cubicBezTo>
                <a:cubicBezTo>
                  <a:pt x="2045449" y="3755941"/>
                  <a:pt x="2216577" y="3559995"/>
                  <a:pt x="2420311" y="3338489"/>
                </a:cubicBezTo>
                <a:cubicBezTo>
                  <a:pt x="2624036" y="3116981"/>
                  <a:pt x="2844068" y="2861401"/>
                  <a:pt x="3292268" y="2861401"/>
                </a:cubicBezTo>
                <a:cubicBezTo>
                  <a:pt x="3732324" y="2861401"/>
                  <a:pt x="3960501" y="3116981"/>
                  <a:pt x="4164235" y="3338489"/>
                </a:cubicBezTo>
                <a:cubicBezTo>
                  <a:pt x="4367960" y="3559995"/>
                  <a:pt x="4539097" y="3755941"/>
                  <a:pt x="4897661" y="3755941"/>
                </a:cubicBezTo>
                <a:cubicBezTo>
                  <a:pt x="5256225" y="3755941"/>
                  <a:pt x="5427353" y="3559995"/>
                  <a:pt x="5631087" y="3338489"/>
                </a:cubicBezTo>
                <a:cubicBezTo>
                  <a:pt x="5834812" y="3116981"/>
                  <a:pt x="6054844" y="2861401"/>
                  <a:pt x="6503045" y="2861401"/>
                </a:cubicBezTo>
                <a:cubicBezTo>
                  <a:pt x="6943101" y="2861401"/>
                  <a:pt x="7171278" y="3116981"/>
                  <a:pt x="7375011" y="3338489"/>
                </a:cubicBezTo>
                <a:cubicBezTo>
                  <a:pt x="7578737" y="3559995"/>
                  <a:pt x="7749874" y="3755941"/>
                  <a:pt x="8108438" y="3755941"/>
                </a:cubicBezTo>
                <a:cubicBezTo>
                  <a:pt x="8467000" y="3755941"/>
                  <a:pt x="8638129" y="3559995"/>
                  <a:pt x="8841862" y="3338489"/>
                </a:cubicBezTo>
                <a:cubicBezTo>
                  <a:pt x="9045588" y="3116981"/>
                  <a:pt x="9265620" y="2861401"/>
                  <a:pt x="9713820" y="2861401"/>
                </a:cubicBezTo>
                <a:cubicBezTo>
                  <a:pt x="10153876" y="2861401"/>
                  <a:pt x="10382053" y="3116981"/>
                  <a:pt x="10585787" y="3338489"/>
                </a:cubicBezTo>
                <a:cubicBezTo>
                  <a:pt x="10789512" y="3559995"/>
                  <a:pt x="10960649" y="3755941"/>
                  <a:pt x="11319213" y="3755941"/>
                </a:cubicBezTo>
                <a:cubicBezTo>
                  <a:pt x="11677777" y="3755941"/>
                  <a:pt x="11848905" y="3559995"/>
                  <a:pt x="12052639" y="3338489"/>
                </a:cubicBezTo>
                <a:cubicBezTo>
                  <a:pt x="12256364" y="3116981"/>
                  <a:pt x="12484541" y="2861401"/>
                  <a:pt x="12924597" y="2861401"/>
                </a:cubicBezTo>
                <a:cubicBezTo>
                  <a:pt x="13364652" y="2861401"/>
                  <a:pt x="13592829" y="3116981"/>
                  <a:pt x="13796563" y="3338489"/>
                </a:cubicBezTo>
                <a:cubicBezTo>
                  <a:pt x="13992144" y="3551475"/>
                  <a:pt x="14171425" y="3755941"/>
                  <a:pt x="14529989" y="3755941"/>
                </a:cubicBezTo>
                <a:cubicBezTo>
                  <a:pt x="14888553" y="3755941"/>
                  <a:pt x="15059682" y="3559995"/>
                  <a:pt x="15263415" y="3338489"/>
                </a:cubicBezTo>
                <a:cubicBezTo>
                  <a:pt x="15390744" y="3200047"/>
                  <a:pt x="15527624" y="3048295"/>
                  <a:pt x="15719813" y="2953949"/>
                </a:cubicBezTo>
                <a:lnTo>
                  <a:pt x="15773620" y="2932327"/>
                </a:lnTo>
                <a:lnTo>
                  <a:pt x="15773620" y="3138720"/>
                </a:lnTo>
                <a:lnTo>
                  <a:pt x="15707541" y="3177683"/>
                </a:lnTo>
                <a:cubicBezTo>
                  <a:pt x="15593453" y="3255422"/>
                  <a:pt x="15499737" y="3359785"/>
                  <a:pt x="15401947" y="3466278"/>
                </a:cubicBezTo>
                <a:cubicBezTo>
                  <a:pt x="15198222" y="3687785"/>
                  <a:pt x="14970045" y="3943366"/>
                  <a:pt x="14529989" y="3943366"/>
                </a:cubicBezTo>
                <a:cubicBezTo>
                  <a:pt x="14089934" y="3943366"/>
                  <a:pt x="13861757" y="3687785"/>
                  <a:pt x="13658023" y="3466278"/>
                </a:cubicBezTo>
                <a:cubicBezTo>
                  <a:pt x="13454298" y="3244772"/>
                  <a:pt x="13283161" y="3048827"/>
                  <a:pt x="12924597" y="3048827"/>
                </a:cubicBezTo>
                <a:cubicBezTo>
                  <a:pt x="12566033" y="3048827"/>
                  <a:pt x="12394904" y="3244772"/>
                  <a:pt x="12191171" y="3466278"/>
                </a:cubicBezTo>
                <a:cubicBezTo>
                  <a:pt x="11987446" y="3687785"/>
                  <a:pt x="11759268" y="3943366"/>
                  <a:pt x="11319213" y="3943366"/>
                </a:cubicBezTo>
                <a:cubicBezTo>
                  <a:pt x="10879157" y="3943366"/>
                  <a:pt x="10650980" y="3687785"/>
                  <a:pt x="10447246" y="3466278"/>
                </a:cubicBezTo>
                <a:cubicBezTo>
                  <a:pt x="10243521" y="3244772"/>
                  <a:pt x="10072384" y="3048827"/>
                  <a:pt x="9713820" y="3048827"/>
                </a:cubicBezTo>
                <a:cubicBezTo>
                  <a:pt x="9355256" y="3048827"/>
                  <a:pt x="9184128" y="3244772"/>
                  <a:pt x="8980395" y="3466278"/>
                </a:cubicBezTo>
                <a:cubicBezTo>
                  <a:pt x="8776669" y="3687785"/>
                  <a:pt x="8556638" y="3943366"/>
                  <a:pt x="8108438" y="3943366"/>
                </a:cubicBezTo>
                <a:cubicBezTo>
                  <a:pt x="7668382" y="3943366"/>
                  <a:pt x="7440205" y="3687785"/>
                  <a:pt x="7236471" y="3466278"/>
                </a:cubicBezTo>
                <a:cubicBezTo>
                  <a:pt x="7032746" y="3244772"/>
                  <a:pt x="6861609" y="3048827"/>
                  <a:pt x="6503045" y="3048827"/>
                </a:cubicBezTo>
                <a:cubicBezTo>
                  <a:pt x="6144481" y="3048827"/>
                  <a:pt x="5973353" y="3244772"/>
                  <a:pt x="5769619" y="3466278"/>
                </a:cubicBezTo>
                <a:cubicBezTo>
                  <a:pt x="5565894" y="3687785"/>
                  <a:pt x="5345862" y="3943366"/>
                  <a:pt x="4897661" y="3943366"/>
                </a:cubicBezTo>
                <a:cubicBezTo>
                  <a:pt x="4457605" y="3943366"/>
                  <a:pt x="4229428" y="3687785"/>
                  <a:pt x="4025695" y="3466278"/>
                </a:cubicBezTo>
                <a:cubicBezTo>
                  <a:pt x="3821970" y="3244772"/>
                  <a:pt x="3650832" y="3048827"/>
                  <a:pt x="3292268" y="3048827"/>
                </a:cubicBezTo>
                <a:cubicBezTo>
                  <a:pt x="2933705" y="3048827"/>
                  <a:pt x="2762576" y="3244772"/>
                  <a:pt x="2558843" y="3466278"/>
                </a:cubicBezTo>
                <a:cubicBezTo>
                  <a:pt x="2355117" y="3687785"/>
                  <a:pt x="2135085" y="3943366"/>
                  <a:pt x="1695030" y="3943366"/>
                </a:cubicBezTo>
                <a:cubicBezTo>
                  <a:pt x="1254974" y="3943366"/>
                  <a:pt x="1026797" y="3687785"/>
                  <a:pt x="823063" y="3466278"/>
                </a:cubicBezTo>
                <a:cubicBezTo>
                  <a:pt x="627490" y="3244772"/>
                  <a:pt x="448210" y="3048827"/>
                  <a:pt x="89638" y="3048827"/>
                </a:cubicBezTo>
                <a:cubicBezTo>
                  <a:pt x="40753" y="3048827"/>
                  <a:pt x="0" y="3006233"/>
                  <a:pt x="0" y="2955118"/>
                </a:cubicBezTo>
                <a:cubicBezTo>
                  <a:pt x="0" y="2903995"/>
                  <a:pt x="40753" y="2861401"/>
                  <a:pt x="89638" y="2861401"/>
                </a:cubicBezTo>
                <a:close/>
                <a:moveTo>
                  <a:pt x="89638" y="0"/>
                </a:moveTo>
                <a:cubicBezTo>
                  <a:pt x="529702" y="0"/>
                  <a:pt x="757877" y="255580"/>
                  <a:pt x="953459" y="477088"/>
                </a:cubicBezTo>
                <a:cubicBezTo>
                  <a:pt x="1140886" y="690074"/>
                  <a:pt x="1328321" y="894541"/>
                  <a:pt x="1686885" y="894541"/>
                </a:cubicBezTo>
                <a:cubicBezTo>
                  <a:pt x="2045449" y="894541"/>
                  <a:pt x="2216577" y="698595"/>
                  <a:pt x="2420311" y="477088"/>
                </a:cubicBezTo>
                <a:cubicBezTo>
                  <a:pt x="2624036" y="255580"/>
                  <a:pt x="2844068" y="0"/>
                  <a:pt x="3292268" y="0"/>
                </a:cubicBezTo>
                <a:cubicBezTo>
                  <a:pt x="3732324" y="0"/>
                  <a:pt x="3960501" y="255580"/>
                  <a:pt x="4164235" y="477088"/>
                </a:cubicBezTo>
                <a:cubicBezTo>
                  <a:pt x="4367960" y="698595"/>
                  <a:pt x="4539097" y="894541"/>
                  <a:pt x="4897661" y="894541"/>
                </a:cubicBezTo>
                <a:cubicBezTo>
                  <a:pt x="5256225" y="894541"/>
                  <a:pt x="5427353" y="698595"/>
                  <a:pt x="5631087" y="477088"/>
                </a:cubicBezTo>
                <a:cubicBezTo>
                  <a:pt x="5834812" y="255580"/>
                  <a:pt x="6054844" y="0"/>
                  <a:pt x="6503045" y="0"/>
                </a:cubicBezTo>
                <a:cubicBezTo>
                  <a:pt x="6943101" y="0"/>
                  <a:pt x="7171278" y="255580"/>
                  <a:pt x="7375011" y="477088"/>
                </a:cubicBezTo>
                <a:cubicBezTo>
                  <a:pt x="7578737" y="698595"/>
                  <a:pt x="7749874" y="894541"/>
                  <a:pt x="8108438" y="894541"/>
                </a:cubicBezTo>
                <a:cubicBezTo>
                  <a:pt x="8467000" y="894541"/>
                  <a:pt x="8638129" y="698595"/>
                  <a:pt x="8841862" y="477088"/>
                </a:cubicBezTo>
                <a:cubicBezTo>
                  <a:pt x="9045588" y="255580"/>
                  <a:pt x="9265620" y="0"/>
                  <a:pt x="9713820" y="0"/>
                </a:cubicBezTo>
                <a:cubicBezTo>
                  <a:pt x="10153876" y="0"/>
                  <a:pt x="10382053" y="255580"/>
                  <a:pt x="10585787" y="477088"/>
                </a:cubicBezTo>
                <a:cubicBezTo>
                  <a:pt x="10789512" y="698595"/>
                  <a:pt x="10960649" y="894541"/>
                  <a:pt x="11319213" y="894541"/>
                </a:cubicBezTo>
                <a:cubicBezTo>
                  <a:pt x="11677777" y="894541"/>
                  <a:pt x="11848905" y="698595"/>
                  <a:pt x="12052639" y="477088"/>
                </a:cubicBezTo>
                <a:cubicBezTo>
                  <a:pt x="12256364" y="255580"/>
                  <a:pt x="12484541" y="0"/>
                  <a:pt x="12924597" y="0"/>
                </a:cubicBezTo>
                <a:cubicBezTo>
                  <a:pt x="13364652" y="0"/>
                  <a:pt x="13592829" y="255580"/>
                  <a:pt x="13796563" y="477088"/>
                </a:cubicBezTo>
                <a:cubicBezTo>
                  <a:pt x="13992144" y="690074"/>
                  <a:pt x="14171425" y="894541"/>
                  <a:pt x="14529989" y="894541"/>
                </a:cubicBezTo>
                <a:cubicBezTo>
                  <a:pt x="14888553" y="894541"/>
                  <a:pt x="15059682" y="698595"/>
                  <a:pt x="15263415" y="477088"/>
                </a:cubicBezTo>
                <a:cubicBezTo>
                  <a:pt x="15390744" y="338646"/>
                  <a:pt x="15527624" y="186894"/>
                  <a:pt x="15719813" y="92548"/>
                </a:cubicBezTo>
                <a:lnTo>
                  <a:pt x="15773620" y="70926"/>
                </a:lnTo>
                <a:lnTo>
                  <a:pt x="15773620" y="277319"/>
                </a:lnTo>
                <a:lnTo>
                  <a:pt x="15707541" y="316281"/>
                </a:lnTo>
                <a:cubicBezTo>
                  <a:pt x="15593453" y="394021"/>
                  <a:pt x="15499737" y="498384"/>
                  <a:pt x="15401947" y="604878"/>
                </a:cubicBezTo>
                <a:cubicBezTo>
                  <a:pt x="15198222" y="826385"/>
                  <a:pt x="14970045" y="1081965"/>
                  <a:pt x="14529989" y="1081965"/>
                </a:cubicBezTo>
                <a:cubicBezTo>
                  <a:pt x="14089934" y="1081965"/>
                  <a:pt x="13861757" y="826385"/>
                  <a:pt x="13658023" y="604878"/>
                </a:cubicBezTo>
                <a:cubicBezTo>
                  <a:pt x="13454298" y="383371"/>
                  <a:pt x="13283161" y="187425"/>
                  <a:pt x="12924597" y="187425"/>
                </a:cubicBezTo>
                <a:cubicBezTo>
                  <a:pt x="12566033" y="187425"/>
                  <a:pt x="12394904" y="383371"/>
                  <a:pt x="12191171" y="604878"/>
                </a:cubicBezTo>
                <a:cubicBezTo>
                  <a:pt x="11987446" y="826385"/>
                  <a:pt x="11759268" y="1081965"/>
                  <a:pt x="11319213" y="1081965"/>
                </a:cubicBezTo>
                <a:cubicBezTo>
                  <a:pt x="10879157" y="1081965"/>
                  <a:pt x="10650980" y="826385"/>
                  <a:pt x="10447246" y="604878"/>
                </a:cubicBezTo>
                <a:cubicBezTo>
                  <a:pt x="10243521" y="383371"/>
                  <a:pt x="10072384" y="187425"/>
                  <a:pt x="9713820" y="187425"/>
                </a:cubicBezTo>
                <a:cubicBezTo>
                  <a:pt x="9355256" y="187425"/>
                  <a:pt x="9184128" y="383371"/>
                  <a:pt x="8980395" y="604878"/>
                </a:cubicBezTo>
                <a:cubicBezTo>
                  <a:pt x="8776669" y="826385"/>
                  <a:pt x="8556638" y="1081965"/>
                  <a:pt x="8108438" y="1081965"/>
                </a:cubicBezTo>
                <a:cubicBezTo>
                  <a:pt x="7668382" y="1081965"/>
                  <a:pt x="7440205" y="826385"/>
                  <a:pt x="7236471" y="604878"/>
                </a:cubicBezTo>
                <a:cubicBezTo>
                  <a:pt x="7032746" y="383371"/>
                  <a:pt x="6861609" y="187425"/>
                  <a:pt x="6503045" y="187425"/>
                </a:cubicBezTo>
                <a:cubicBezTo>
                  <a:pt x="6144481" y="187425"/>
                  <a:pt x="5973353" y="383371"/>
                  <a:pt x="5769619" y="604878"/>
                </a:cubicBezTo>
                <a:cubicBezTo>
                  <a:pt x="5565894" y="826385"/>
                  <a:pt x="5345862" y="1081965"/>
                  <a:pt x="4897661" y="1081965"/>
                </a:cubicBezTo>
                <a:cubicBezTo>
                  <a:pt x="4457605" y="1081965"/>
                  <a:pt x="4229428" y="826385"/>
                  <a:pt x="4025695" y="604878"/>
                </a:cubicBezTo>
                <a:cubicBezTo>
                  <a:pt x="3821970" y="383371"/>
                  <a:pt x="3650832" y="187425"/>
                  <a:pt x="3292268" y="187425"/>
                </a:cubicBezTo>
                <a:cubicBezTo>
                  <a:pt x="2933705" y="187425"/>
                  <a:pt x="2762576" y="383371"/>
                  <a:pt x="2558843" y="604878"/>
                </a:cubicBezTo>
                <a:cubicBezTo>
                  <a:pt x="2355117" y="826385"/>
                  <a:pt x="2135085" y="1081965"/>
                  <a:pt x="1695030" y="1081965"/>
                </a:cubicBezTo>
                <a:cubicBezTo>
                  <a:pt x="1254974" y="1081965"/>
                  <a:pt x="1026797" y="826385"/>
                  <a:pt x="823063" y="604878"/>
                </a:cubicBezTo>
                <a:cubicBezTo>
                  <a:pt x="627490" y="383371"/>
                  <a:pt x="448210" y="187425"/>
                  <a:pt x="89638" y="187425"/>
                </a:cubicBezTo>
                <a:cubicBezTo>
                  <a:pt x="40753" y="187425"/>
                  <a:pt x="0" y="144831"/>
                  <a:pt x="0" y="93717"/>
                </a:cubicBezTo>
                <a:cubicBezTo>
                  <a:pt x="0" y="42593"/>
                  <a:pt x="40753" y="0"/>
                  <a:pt x="89638" y="0"/>
                </a:cubicBezTo>
                <a:close/>
              </a:path>
            </a:pathLst>
          </a:custGeom>
          <a:solidFill>
            <a:schemeClr val="tx2"/>
          </a:solidFill>
          <a:ln w="9525" cap="flat">
            <a:noFill/>
            <a:prstDash val="solid"/>
            <a:miter/>
          </a:ln>
        </p:spPr>
        <p:txBody>
          <a:bodyPr rtlCol="0" anchor="ctr"/>
          <a:lstStyle/>
          <a:p>
            <a:endParaRPr lang="en-US" sz="1800"/>
          </a:p>
        </p:txBody>
      </p:sp>
    </p:spTree>
    <p:extLst>
      <p:ext uri="{BB962C8B-B14F-4D97-AF65-F5344CB8AC3E}">
        <p14:creationId xmlns:p14="http://schemas.microsoft.com/office/powerpoint/2010/main" val="339912262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itle – White Image">
    <p:bg>
      <p:bgPr>
        <a:solidFill>
          <a:schemeClr val="bg1"/>
        </a:solidFill>
        <a:effectLst/>
      </p:bgPr>
    </p:bg>
    <p:spTree>
      <p:nvGrpSpPr>
        <p:cNvPr id="1" name=""/>
        <p:cNvGrpSpPr/>
        <p:nvPr/>
      </p:nvGrpSpPr>
      <p:grpSpPr>
        <a:xfrm>
          <a:off x="0" y="0"/>
          <a:ext cx="0" cy="0"/>
          <a:chOff x="0" y="0"/>
          <a:chExt cx="0" cy="0"/>
        </a:xfrm>
      </p:grpSpPr>
      <p:sp>
        <p:nvSpPr>
          <p:cNvPr id="16" name="Subtitle 2"/>
          <p:cNvSpPr>
            <a:spLocks noGrp="1"/>
          </p:cNvSpPr>
          <p:nvPr userDrawn="1">
            <p:ph type="subTitle" idx="1" hasCustomPrompt="1"/>
          </p:nvPr>
        </p:nvSpPr>
        <p:spPr>
          <a:xfrm>
            <a:off x="425766" y="3856737"/>
            <a:ext cx="5486400" cy="288131"/>
          </a:xfrm>
          <a:prstGeom prst="rect">
            <a:avLst/>
          </a:prstGeom>
        </p:spPr>
        <p:txBody>
          <a:bodyPr lIns="91420" tIns="45710" rIns="91420" bIns="45710" anchor="b" anchorCtr="0">
            <a:noAutofit/>
          </a:bodyPr>
          <a:lstStyle>
            <a:lvl1pPr marL="0" indent="0" algn="l">
              <a:buNone/>
              <a:defRPr sz="14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userDrawn="1">
            <p:ph type="body" sz="quarter" idx="11" hasCustomPrompt="1"/>
          </p:nvPr>
        </p:nvSpPr>
        <p:spPr>
          <a:xfrm>
            <a:off x="425766" y="4102750"/>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userDrawn="1">
            <p:ph type="body" sz="quarter" idx="12" hasCustomPrompt="1"/>
          </p:nvPr>
        </p:nvSpPr>
        <p:spPr>
          <a:xfrm>
            <a:off x="425766" y="4348763"/>
            <a:ext cx="5486400" cy="288131"/>
          </a:xfrm>
          <a:prstGeom prst="rect">
            <a:avLst/>
          </a:prstGeom>
        </p:spPr>
        <p:txBody>
          <a:bodyPr lIns="91420" tIns="45710" rIns="91420" bIns="45710"/>
          <a:lstStyle>
            <a:lvl1pPr marL="0" indent="0" algn="l">
              <a:buFontTx/>
              <a:buNone/>
              <a:defRPr lang="en-US" sz="14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userDrawn="1">
            <p:ph type="body" sz="quarter" idx="13" hasCustomPrompt="1"/>
          </p:nvPr>
        </p:nvSpPr>
        <p:spPr>
          <a:xfrm>
            <a:off x="425766" y="3107662"/>
            <a:ext cx="5486400"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2"/>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userDrawn="1">
            <p:ph type="ctrTitle" hasCustomPrompt="1"/>
          </p:nvPr>
        </p:nvSpPr>
        <p:spPr>
          <a:xfrm>
            <a:off x="425766" y="1653703"/>
            <a:ext cx="5489260" cy="1463195"/>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grpSp>
        <p:nvGrpSpPr>
          <p:cNvPr id="2" name="Group 1">
            <a:extLst>
              <a:ext uri="{FF2B5EF4-FFF2-40B4-BE49-F238E27FC236}">
                <a16:creationId xmlns:a16="http://schemas.microsoft.com/office/drawing/2014/main" id="{B2BB0EFE-046C-154D-B958-8B553BB7B734}"/>
              </a:ext>
            </a:extLst>
          </p:cNvPr>
          <p:cNvGrpSpPr/>
          <p:nvPr userDrawn="1"/>
        </p:nvGrpSpPr>
        <p:grpSpPr>
          <a:xfrm>
            <a:off x="469643" y="391309"/>
            <a:ext cx="2033863" cy="422624"/>
            <a:chOff x="469642" y="391308"/>
            <a:chExt cx="2033863" cy="422624"/>
          </a:xfrm>
        </p:grpSpPr>
        <p:grpSp>
          <p:nvGrpSpPr>
            <p:cNvPr id="26" name="Graphic 2">
              <a:extLst>
                <a:ext uri="{FF2B5EF4-FFF2-40B4-BE49-F238E27FC236}">
                  <a16:creationId xmlns:a16="http://schemas.microsoft.com/office/drawing/2014/main" id="{D711E229-E084-E743-95DC-BB3C8042199D}"/>
                </a:ext>
              </a:extLst>
            </p:cNvPr>
            <p:cNvGrpSpPr/>
            <p:nvPr userDrawn="1"/>
          </p:nvGrpSpPr>
          <p:grpSpPr>
            <a:xfrm>
              <a:off x="1385425" y="544652"/>
              <a:ext cx="1118080" cy="269280"/>
              <a:chOff x="4433187" y="1865375"/>
              <a:chExt cx="2298157" cy="553493"/>
            </a:xfrm>
            <a:solidFill>
              <a:schemeClr val="tx2"/>
            </a:solidFill>
          </p:grpSpPr>
          <p:sp>
            <p:nvSpPr>
              <p:cNvPr id="28" name="Freeform 27">
                <a:extLst>
                  <a:ext uri="{FF2B5EF4-FFF2-40B4-BE49-F238E27FC236}">
                    <a16:creationId xmlns:a16="http://schemas.microsoft.com/office/drawing/2014/main" id="{28CE41DC-A48F-1C47-B894-5164D8961D98}"/>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B35BCA6F-1D10-BB44-A1C6-4CD0450B551B}"/>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30" name="Freeform 29">
                <a:extLst>
                  <a:ext uri="{FF2B5EF4-FFF2-40B4-BE49-F238E27FC236}">
                    <a16:creationId xmlns:a16="http://schemas.microsoft.com/office/drawing/2014/main" id="{762658C8-CEEC-DC44-B233-27EBDCED5DC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BFC5C541-8631-D045-B193-719EB68035EB}"/>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32" name="Freeform 31">
                <a:extLst>
                  <a:ext uri="{FF2B5EF4-FFF2-40B4-BE49-F238E27FC236}">
                    <a16:creationId xmlns:a16="http://schemas.microsoft.com/office/drawing/2014/main" id="{F644FD35-1C3B-9448-9F94-7FCB36A0F44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33" name="Freeform 32">
                <a:extLst>
                  <a:ext uri="{FF2B5EF4-FFF2-40B4-BE49-F238E27FC236}">
                    <a16:creationId xmlns:a16="http://schemas.microsoft.com/office/drawing/2014/main" id="{E1117C03-F0A3-724B-965D-A4589FBCB8F0}"/>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27" name="Freeform 6">
              <a:extLst>
                <a:ext uri="{FF2B5EF4-FFF2-40B4-BE49-F238E27FC236}">
                  <a16:creationId xmlns:a16="http://schemas.microsoft.com/office/drawing/2014/main" id="{D31A31EB-5EDA-FD46-8C98-2C0D46C2719A}"/>
                </a:ext>
              </a:extLst>
            </p:cNvPr>
            <p:cNvSpPr>
              <a:spLocks noChangeAspect="1" noEditPoints="1"/>
            </p:cNvSpPr>
            <p:nvPr userDrawn="1"/>
          </p:nvSpPr>
          <p:spPr bwMode="auto">
            <a:xfrm>
              <a:off x="469642" y="391308"/>
              <a:ext cx="794683" cy="42217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pic>
        <p:nvPicPr>
          <p:cNvPr id="43" name="Picture 42">
            <a:extLst>
              <a:ext uri="{FF2B5EF4-FFF2-40B4-BE49-F238E27FC236}">
                <a16:creationId xmlns:a16="http://schemas.microsoft.com/office/drawing/2014/main" id="{A76D6D9A-FCAE-6A47-A41B-0CD9DD0BE3D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582506" y="1083244"/>
            <a:ext cx="3561494" cy="4070648"/>
          </a:xfrm>
          <a:prstGeom prst="rect">
            <a:avLst/>
          </a:prstGeom>
        </p:spPr>
      </p:pic>
    </p:spTree>
    <p:extLst>
      <p:ext uri="{BB962C8B-B14F-4D97-AF65-F5344CB8AC3E}">
        <p14:creationId xmlns:p14="http://schemas.microsoft.com/office/powerpoint/2010/main" val="2981129320"/>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preserve="1" userDrawn="1">
  <p:cSld name="Segue – Green">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
        <p:nvSpPr>
          <p:cNvPr id="4" name="Freeform 3">
            <a:extLst>
              <a:ext uri="{FF2B5EF4-FFF2-40B4-BE49-F238E27FC236}">
                <a16:creationId xmlns:a16="http://schemas.microsoft.com/office/drawing/2014/main" id="{EF3BC540-CDFF-9B4D-A038-78E4DE5E4A86}"/>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tx1"/>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371542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057917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Segue – Whit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1"/>
                </a:solidFill>
                <a:latin typeface="+mj-lt"/>
                <a:ea typeface="CiscoSansTT Thin" charset="0"/>
                <a:cs typeface="CiscoSansTT Thin" charset="0"/>
              </a:defRPr>
            </a:lvl1pPr>
          </a:lstStyle>
          <a:p>
            <a:r>
              <a:rPr lang="en-GB"/>
              <a:t>Section Title Goes Here</a:t>
            </a:r>
            <a:endParaRPr lang="en-US"/>
          </a:p>
        </p:txBody>
      </p:sp>
      <p:sp>
        <p:nvSpPr>
          <p:cNvPr id="42" name="Freeform 41">
            <a:extLst>
              <a:ext uri="{FF2B5EF4-FFF2-40B4-BE49-F238E27FC236}">
                <a16:creationId xmlns:a16="http://schemas.microsoft.com/office/drawing/2014/main" id="{2CA4B094-35CC-594D-B91E-64679CE86EC8}"/>
              </a:ext>
            </a:extLst>
          </p:cNvPr>
          <p:cNvSpPr/>
          <p:nvPr/>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183 w 2023931"/>
              <a:gd name="connsiteY31" fmla="*/ 1591288 h 2108808"/>
              <a:gd name="connsiteX32" fmla="*/ 461381 w 2023931"/>
              <a:gd name="connsiteY32" fmla="*/ 1591288 h 2108808"/>
              <a:gd name="connsiteX33" fmla="*/ 517668 w 2023931"/>
              <a:gd name="connsiteY33" fmla="*/ 1647971 h 2108808"/>
              <a:gd name="connsiteX34" fmla="*/ 517668 w 2023931"/>
              <a:gd name="connsiteY34" fmla="*/ 1648168 h 2108808"/>
              <a:gd name="connsiteX35" fmla="*/ 460787 w 2023931"/>
              <a:gd name="connsiteY35" fmla="*/ 1704653 h 2108808"/>
              <a:gd name="connsiteX36" fmla="*/ 404302 w 2023931"/>
              <a:gd name="connsiteY36" fmla="*/ 1647772 h 2108808"/>
              <a:gd name="connsiteX37" fmla="*/ 461183 w 2023931"/>
              <a:gd name="connsiteY37" fmla="*/ 1591288 h 2108808"/>
              <a:gd name="connsiteX38" fmla="*/ 65087 w 2023931"/>
              <a:gd name="connsiteY38" fmla="*/ 1589546 h 2108808"/>
              <a:gd name="connsiteX39" fmla="*/ 123746 w 2023931"/>
              <a:gd name="connsiteY39" fmla="*/ 1647818 h 2108808"/>
              <a:gd name="connsiteX40" fmla="*/ 65474 w 2023931"/>
              <a:gd name="connsiteY40" fmla="*/ 1706478 h 2108808"/>
              <a:gd name="connsiteX41" fmla="*/ 6814 w 2023931"/>
              <a:gd name="connsiteY41" fmla="*/ 1648206 h 2108808"/>
              <a:gd name="connsiteX42" fmla="*/ 65087 w 2023931"/>
              <a:gd name="connsiteY42" fmla="*/ 1589546 h 2108808"/>
              <a:gd name="connsiteX43" fmla="*/ 1605546 w 2023931"/>
              <a:gd name="connsiteY43" fmla="*/ 1582766 h 2108808"/>
              <a:gd name="connsiteX44" fmla="*/ 1605943 w 2023931"/>
              <a:gd name="connsiteY44" fmla="*/ 1582766 h 2108808"/>
              <a:gd name="connsiteX45" fmla="*/ 1670752 w 2023931"/>
              <a:gd name="connsiteY45" fmla="*/ 1647971 h 2108808"/>
              <a:gd name="connsiteX46" fmla="*/ 1605546 w 2023931"/>
              <a:gd name="connsiteY46" fmla="*/ 1713176 h 2108808"/>
              <a:gd name="connsiteX47" fmla="*/ 1540341 w 2023931"/>
              <a:gd name="connsiteY47" fmla="*/ 1647971 h 2108808"/>
              <a:gd name="connsiteX48" fmla="*/ 1605546 w 2023931"/>
              <a:gd name="connsiteY48" fmla="*/ 1582766 h 2108808"/>
              <a:gd name="connsiteX49" fmla="*/ 1958725 w 2023931"/>
              <a:gd name="connsiteY49" fmla="*/ 1582765 h 2108808"/>
              <a:gd name="connsiteX50" fmla="*/ 2023931 w 2023931"/>
              <a:gd name="connsiteY50" fmla="*/ 1647971 h 2108808"/>
              <a:gd name="connsiteX51" fmla="*/ 1958725 w 2023931"/>
              <a:gd name="connsiteY51" fmla="*/ 1713176 h 2108808"/>
              <a:gd name="connsiteX52" fmla="*/ 1893520 w 2023931"/>
              <a:gd name="connsiteY52" fmla="*/ 1647971 h 2108808"/>
              <a:gd name="connsiteX53" fmla="*/ 1958725 w 2023931"/>
              <a:gd name="connsiteY53" fmla="*/ 1582765 h 2108808"/>
              <a:gd name="connsiteX54" fmla="*/ 1252565 w 2023931"/>
              <a:gd name="connsiteY54" fmla="*/ 1582765 h 2108808"/>
              <a:gd name="connsiteX55" fmla="*/ 1317770 w 2023931"/>
              <a:gd name="connsiteY55" fmla="*/ 1647971 h 2108808"/>
              <a:gd name="connsiteX56" fmla="*/ 1252565 w 2023931"/>
              <a:gd name="connsiteY56" fmla="*/ 1713176 h 2108808"/>
              <a:gd name="connsiteX57" fmla="*/ 1187360 w 2023931"/>
              <a:gd name="connsiteY57" fmla="*/ 1647971 h 2108808"/>
              <a:gd name="connsiteX58" fmla="*/ 1252565 w 2023931"/>
              <a:gd name="connsiteY58" fmla="*/ 1582765 h 2108808"/>
              <a:gd name="connsiteX59" fmla="*/ 856775 w 2023931"/>
              <a:gd name="connsiteY59" fmla="*/ 1582765 h 2108808"/>
              <a:gd name="connsiteX60" fmla="*/ 921980 w 2023931"/>
              <a:gd name="connsiteY60" fmla="*/ 1647971 h 2108808"/>
              <a:gd name="connsiteX61" fmla="*/ 856775 w 2023931"/>
              <a:gd name="connsiteY61" fmla="*/ 1713176 h 2108808"/>
              <a:gd name="connsiteX62" fmla="*/ 791570 w 2023931"/>
              <a:gd name="connsiteY62" fmla="*/ 1647971 h 2108808"/>
              <a:gd name="connsiteX63" fmla="*/ 856775 w 2023931"/>
              <a:gd name="connsiteY63" fmla="*/ 1582765 h 2108808"/>
              <a:gd name="connsiteX64" fmla="*/ 65195 w 2023931"/>
              <a:gd name="connsiteY64" fmla="*/ 1202831 h 2108808"/>
              <a:gd name="connsiteX65" fmla="*/ 114545 w 2023931"/>
              <a:gd name="connsiteY65" fmla="*/ 1252181 h 2108808"/>
              <a:gd name="connsiteX66" fmla="*/ 114545 w 2023931"/>
              <a:gd name="connsiteY66" fmla="*/ 1252576 h 2108808"/>
              <a:gd name="connsiteX67" fmla="*/ 64799 w 2023931"/>
              <a:gd name="connsiteY67" fmla="*/ 1301926 h 2108808"/>
              <a:gd name="connsiteX68" fmla="*/ 15449 w 2023931"/>
              <a:gd name="connsiteY68" fmla="*/ 1252181 h 2108808"/>
              <a:gd name="connsiteX69" fmla="*/ 65195 w 2023931"/>
              <a:gd name="connsiteY69" fmla="*/ 1202831 h 2108808"/>
              <a:gd name="connsiteX70" fmla="*/ 461382 w 2023931"/>
              <a:gd name="connsiteY70" fmla="*/ 1202830 h 2108808"/>
              <a:gd name="connsiteX71" fmla="*/ 510732 w 2023931"/>
              <a:gd name="connsiteY71" fmla="*/ 1252181 h 2108808"/>
              <a:gd name="connsiteX72" fmla="*/ 510732 w 2023931"/>
              <a:gd name="connsiteY72" fmla="*/ 1252378 h 2108808"/>
              <a:gd name="connsiteX73" fmla="*/ 461184 w 2023931"/>
              <a:gd name="connsiteY73" fmla="*/ 1301927 h 2108808"/>
              <a:gd name="connsiteX74" fmla="*/ 411636 w 2023931"/>
              <a:gd name="connsiteY74" fmla="*/ 1252379 h 2108808"/>
              <a:gd name="connsiteX75" fmla="*/ 461184 w 2023931"/>
              <a:gd name="connsiteY75" fmla="*/ 1202831 h 2108808"/>
              <a:gd name="connsiteX76" fmla="*/ 461382 w 2023931"/>
              <a:gd name="connsiteY76" fmla="*/ 1202830 h 2108808"/>
              <a:gd name="connsiteX77" fmla="*/ 856775 w 2023931"/>
              <a:gd name="connsiteY77" fmla="*/ 1194902 h 2108808"/>
              <a:gd name="connsiteX78" fmla="*/ 856973 w 2023931"/>
              <a:gd name="connsiteY78" fmla="*/ 1194902 h 2108808"/>
              <a:gd name="connsiteX79" fmla="*/ 914845 w 2023931"/>
              <a:gd name="connsiteY79" fmla="*/ 1252774 h 2108808"/>
              <a:gd name="connsiteX80" fmla="*/ 857171 w 2023931"/>
              <a:gd name="connsiteY80" fmla="*/ 1310646 h 2108808"/>
              <a:gd name="connsiteX81" fmla="*/ 799101 w 2023931"/>
              <a:gd name="connsiteY81" fmla="*/ 1252972 h 2108808"/>
              <a:gd name="connsiteX82" fmla="*/ 856775 w 2023931"/>
              <a:gd name="connsiteY82" fmla="*/ 1194902 h 2108808"/>
              <a:gd name="connsiteX83" fmla="*/ 1958725 w 2023931"/>
              <a:gd name="connsiteY83" fmla="*/ 1187173 h 2108808"/>
              <a:gd name="connsiteX84" fmla="*/ 1958923 w 2023931"/>
              <a:gd name="connsiteY84" fmla="*/ 1187173 h 2108808"/>
              <a:gd name="connsiteX85" fmla="*/ 2023930 w 2023931"/>
              <a:gd name="connsiteY85" fmla="*/ 1252180 h 2108808"/>
              <a:gd name="connsiteX86" fmla="*/ 2023931 w 2023931"/>
              <a:gd name="connsiteY86" fmla="*/ 1252378 h 2108808"/>
              <a:gd name="connsiteX87" fmla="*/ 1958725 w 2023931"/>
              <a:gd name="connsiteY87" fmla="*/ 1317584 h 2108808"/>
              <a:gd name="connsiteX88" fmla="*/ 1893520 w 2023931"/>
              <a:gd name="connsiteY88" fmla="*/ 1252379 h 2108808"/>
              <a:gd name="connsiteX89" fmla="*/ 1958725 w 2023931"/>
              <a:gd name="connsiteY89" fmla="*/ 1187173 h 2108808"/>
              <a:gd name="connsiteX90" fmla="*/ 1605546 w 2023931"/>
              <a:gd name="connsiteY90" fmla="*/ 1187173 h 2108808"/>
              <a:gd name="connsiteX91" fmla="*/ 1605744 w 2023931"/>
              <a:gd name="connsiteY91" fmla="*/ 1187173 h 2108808"/>
              <a:gd name="connsiteX92" fmla="*/ 1670751 w 2023931"/>
              <a:gd name="connsiteY92" fmla="*/ 1252180 h 2108808"/>
              <a:gd name="connsiteX93" fmla="*/ 1670752 w 2023931"/>
              <a:gd name="connsiteY93" fmla="*/ 1252378 h 2108808"/>
              <a:gd name="connsiteX94" fmla="*/ 1605546 w 2023931"/>
              <a:gd name="connsiteY94" fmla="*/ 1317584 h 2108808"/>
              <a:gd name="connsiteX95" fmla="*/ 1540341 w 2023931"/>
              <a:gd name="connsiteY95" fmla="*/ 1252379 h 2108808"/>
              <a:gd name="connsiteX96" fmla="*/ 1605546 w 2023931"/>
              <a:gd name="connsiteY96" fmla="*/ 1187173 h 2108808"/>
              <a:gd name="connsiteX97" fmla="*/ 1252565 w 2023931"/>
              <a:gd name="connsiteY97" fmla="*/ 1187173 h 2108808"/>
              <a:gd name="connsiteX98" fmla="*/ 1252565 w 2023931"/>
              <a:gd name="connsiteY98" fmla="*/ 1187174 h 2108808"/>
              <a:gd name="connsiteX99" fmla="*/ 1317572 w 2023931"/>
              <a:gd name="connsiteY99" fmla="*/ 1252180 h 2108808"/>
              <a:gd name="connsiteX100" fmla="*/ 1317572 w 2023931"/>
              <a:gd name="connsiteY100" fmla="*/ 1252576 h 2108808"/>
              <a:gd name="connsiteX101" fmla="*/ 1252169 w 2023931"/>
              <a:gd name="connsiteY101" fmla="*/ 1317583 h 2108808"/>
              <a:gd name="connsiteX102" fmla="*/ 1187162 w 2023931"/>
              <a:gd name="connsiteY102" fmla="*/ 1252180 h 2108808"/>
              <a:gd name="connsiteX103" fmla="*/ 1252565 w 2023931"/>
              <a:gd name="connsiteY103" fmla="*/ 1187173 h 2108808"/>
              <a:gd name="connsiteX104" fmla="*/ 461182 w 2023931"/>
              <a:gd name="connsiteY104" fmla="*/ 811599 h 2108808"/>
              <a:gd name="connsiteX105" fmla="*/ 506172 w 2023931"/>
              <a:gd name="connsiteY105" fmla="*/ 856588 h 2108808"/>
              <a:gd name="connsiteX106" fmla="*/ 461182 w 2023931"/>
              <a:gd name="connsiteY106" fmla="*/ 901578 h 2108808"/>
              <a:gd name="connsiteX107" fmla="*/ 416193 w 2023931"/>
              <a:gd name="connsiteY107" fmla="*/ 856588 h 2108808"/>
              <a:gd name="connsiteX108" fmla="*/ 461182 w 2023931"/>
              <a:gd name="connsiteY108" fmla="*/ 811599 h 2108808"/>
              <a:gd name="connsiteX109" fmla="*/ 65193 w 2023931"/>
              <a:gd name="connsiteY109" fmla="*/ 811599 h 2108808"/>
              <a:gd name="connsiteX110" fmla="*/ 109985 w 2023931"/>
              <a:gd name="connsiteY110" fmla="*/ 856588 h 2108808"/>
              <a:gd name="connsiteX111" fmla="*/ 109984 w 2023931"/>
              <a:gd name="connsiteY111" fmla="*/ 856785 h 2108808"/>
              <a:gd name="connsiteX112" fmla="*/ 64797 w 2023931"/>
              <a:gd name="connsiteY112" fmla="*/ 901576 h 2108808"/>
              <a:gd name="connsiteX113" fmla="*/ 20006 w 2023931"/>
              <a:gd name="connsiteY113" fmla="*/ 856389 h 2108808"/>
              <a:gd name="connsiteX114" fmla="*/ 65193 w 2023931"/>
              <a:gd name="connsiteY114" fmla="*/ 811599 h 2108808"/>
              <a:gd name="connsiteX115" fmla="*/ 856775 w 2023931"/>
              <a:gd name="connsiteY115" fmla="*/ 801689 h 2108808"/>
              <a:gd name="connsiteX116" fmla="*/ 910881 w 2023931"/>
              <a:gd name="connsiteY116" fmla="*/ 856588 h 2108808"/>
              <a:gd name="connsiteX117" fmla="*/ 910875 w 2023931"/>
              <a:gd name="connsiteY117" fmla="*/ 857375 h 2108808"/>
              <a:gd name="connsiteX118" fmla="*/ 855189 w 2023931"/>
              <a:gd name="connsiteY118" fmla="*/ 911476 h 2108808"/>
              <a:gd name="connsiteX119" fmla="*/ 801089 w 2023931"/>
              <a:gd name="connsiteY119" fmla="*/ 855789 h 2108808"/>
              <a:gd name="connsiteX120" fmla="*/ 856775 w 2023931"/>
              <a:gd name="connsiteY120" fmla="*/ 801689 h 2108808"/>
              <a:gd name="connsiteX121" fmla="*/ 1252565 w 2023931"/>
              <a:gd name="connsiteY121" fmla="*/ 801689 h 2108808"/>
              <a:gd name="connsiteX122" fmla="*/ 1307266 w 2023931"/>
              <a:gd name="connsiteY122" fmla="*/ 856587 h 2108808"/>
              <a:gd name="connsiteX123" fmla="*/ 1307266 w 2023931"/>
              <a:gd name="connsiteY123" fmla="*/ 856785 h 2108808"/>
              <a:gd name="connsiteX124" fmla="*/ 1252168 w 2023931"/>
              <a:gd name="connsiteY124" fmla="*/ 911486 h 2108808"/>
              <a:gd name="connsiteX125" fmla="*/ 1197468 w 2023931"/>
              <a:gd name="connsiteY125" fmla="*/ 856389 h 2108808"/>
              <a:gd name="connsiteX126" fmla="*/ 1252565 w 2023931"/>
              <a:gd name="connsiteY126" fmla="*/ 801689 h 2108808"/>
              <a:gd name="connsiteX127" fmla="*/ 1958726 w 2023931"/>
              <a:gd name="connsiteY127" fmla="*/ 791382 h 2108808"/>
              <a:gd name="connsiteX128" fmla="*/ 1959122 w 2023931"/>
              <a:gd name="connsiteY128" fmla="*/ 791382 h 2108808"/>
              <a:gd name="connsiteX129" fmla="*/ 2023931 w 2023931"/>
              <a:gd name="connsiteY129" fmla="*/ 856587 h 2108808"/>
              <a:gd name="connsiteX130" fmla="*/ 1958726 w 2023931"/>
              <a:gd name="connsiteY130" fmla="*/ 921793 h 2108808"/>
              <a:gd name="connsiteX131" fmla="*/ 1893520 w 2023931"/>
              <a:gd name="connsiteY131" fmla="*/ 856587 h 2108808"/>
              <a:gd name="connsiteX132" fmla="*/ 1958726 w 2023931"/>
              <a:gd name="connsiteY132" fmla="*/ 791382 h 2108808"/>
              <a:gd name="connsiteX133" fmla="*/ 1605546 w 2023931"/>
              <a:gd name="connsiteY133" fmla="*/ 791382 h 2108808"/>
              <a:gd name="connsiteX134" fmla="*/ 1605943 w 2023931"/>
              <a:gd name="connsiteY134" fmla="*/ 791382 h 2108808"/>
              <a:gd name="connsiteX135" fmla="*/ 1670752 w 2023931"/>
              <a:gd name="connsiteY135" fmla="*/ 856587 h 2108808"/>
              <a:gd name="connsiteX136" fmla="*/ 1605546 w 2023931"/>
              <a:gd name="connsiteY136" fmla="*/ 921793 h 2108808"/>
              <a:gd name="connsiteX137" fmla="*/ 1540341 w 2023931"/>
              <a:gd name="connsiteY137" fmla="*/ 856587 h 2108808"/>
              <a:gd name="connsiteX138" fmla="*/ 1605546 w 2023931"/>
              <a:gd name="connsiteY138" fmla="*/ 791382 h 2108808"/>
              <a:gd name="connsiteX139" fmla="*/ 65010 w 2023931"/>
              <a:gd name="connsiteY139" fmla="*/ 430919 h 2108808"/>
              <a:gd name="connsiteX140" fmla="*/ 95036 w 2023931"/>
              <a:gd name="connsiteY140" fmla="*/ 460747 h 2108808"/>
              <a:gd name="connsiteX141" fmla="*/ 65208 w 2023931"/>
              <a:gd name="connsiteY141" fmla="*/ 490773 h 2108808"/>
              <a:gd name="connsiteX142" fmla="*/ 35182 w 2023931"/>
              <a:gd name="connsiteY142" fmla="*/ 460945 h 2108808"/>
              <a:gd name="connsiteX143" fmla="*/ 65010 w 2023931"/>
              <a:gd name="connsiteY143" fmla="*/ 430919 h 2108808"/>
              <a:gd name="connsiteX144" fmla="*/ 461183 w 2023931"/>
              <a:gd name="connsiteY144" fmla="*/ 414620 h 2108808"/>
              <a:gd name="connsiteX145" fmla="*/ 462181 w 2023931"/>
              <a:gd name="connsiteY145" fmla="*/ 414625 h 2108808"/>
              <a:gd name="connsiteX146" fmla="*/ 507560 w 2023931"/>
              <a:gd name="connsiteY146" fmla="*/ 461591 h 2108808"/>
              <a:gd name="connsiteX147" fmla="*/ 461191 w 2023931"/>
              <a:gd name="connsiteY147" fmla="*/ 507374 h 2108808"/>
              <a:gd name="connsiteX148" fmla="*/ 414810 w 2023931"/>
              <a:gd name="connsiteY148" fmla="*/ 461000 h 2108808"/>
              <a:gd name="connsiteX149" fmla="*/ 461183 w 2023931"/>
              <a:gd name="connsiteY149" fmla="*/ 414620 h 2108808"/>
              <a:gd name="connsiteX150" fmla="*/ 856775 w 2023931"/>
              <a:gd name="connsiteY150" fmla="*/ 414421 h 2108808"/>
              <a:gd name="connsiteX151" fmla="*/ 903152 w 2023931"/>
              <a:gd name="connsiteY151" fmla="*/ 460798 h 2108808"/>
              <a:gd name="connsiteX152" fmla="*/ 856775 w 2023931"/>
              <a:gd name="connsiteY152" fmla="*/ 507176 h 2108808"/>
              <a:gd name="connsiteX153" fmla="*/ 810398 w 2023931"/>
              <a:gd name="connsiteY153" fmla="*/ 460798 h 2108808"/>
              <a:gd name="connsiteX154" fmla="*/ 856775 w 2023931"/>
              <a:gd name="connsiteY154" fmla="*/ 414421 h 2108808"/>
              <a:gd name="connsiteX155" fmla="*/ 1605547 w 2023931"/>
              <a:gd name="connsiteY155" fmla="*/ 406890 h 2108808"/>
              <a:gd name="connsiteX156" fmla="*/ 1606543 w 2023931"/>
              <a:gd name="connsiteY156" fmla="*/ 406895 h 2108808"/>
              <a:gd name="connsiteX157" fmla="*/ 1659653 w 2023931"/>
              <a:gd name="connsiteY157" fmla="*/ 461590 h 2108808"/>
              <a:gd name="connsiteX158" fmla="*/ 1605553 w 2023931"/>
              <a:gd name="connsiteY158" fmla="*/ 515103 h 2108808"/>
              <a:gd name="connsiteX159" fmla="*/ 1551443 w 2023931"/>
              <a:gd name="connsiteY159" fmla="*/ 460999 h 2108808"/>
              <a:gd name="connsiteX160" fmla="*/ 1584486 w 2023931"/>
              <a:gd name="connsiteY160" fmla="*/ 411143 h 2108808"/>
              <a:gd name="connsiteX161" fmla="*/ 1252566 w 2023931"/>
              <a:gd name="connsiteY161" fmla="*/ 406692 h 2108808"/>
              <a:gd name="connsiteX162" fmla="*/ 1306672 w 2023931"/>
              <a:gd name="connsiteY162" fmla="*/ 460799 h 2108808"/>
              <a:gd name="connsiteX163" fmla="*/ 1252566 w 2023931"/>
              <a:gd name="connsiteY163" fmla="*/ 514905 h 2108808"/>
              <a:gd name="connsiteX164" fmla="*/ 1198459 w 2023931"/>
              <a:gd name="connsiteY164" fmla="*/ 460799 h 2108808"/>
              <a:gd name="connsiteX165" fmla="*/ 1252566 w 2023931"/>
              <a:gd name="connsiteY165" fmla="*/ 406692 h 2108808"/>
              <a:gd name="connsiteX166" fmla="*/ 1958725 w 2023931"/>
              <a:gd name="connsiteY166" fmla="*/ 395592 h 2108808"/>
              <a:gd name="connsiteX167" fmla="*/ 2023931 w 2023931"/>
              <a:gd name="connsiteY167" fmla="*/ 460797 h 2108808"/>
              <a:gd name="connsiteX168" fmla="*/ 1958725 w 2023931"/>
              <a:gd name="connsiteY168" fmla="*/ 526003 h 2108808"/>
              <a:gd name="connsiteX169" fmla="*/ 1893520 w 2023931"/>
              <a:gd name="connsiteY169" fmla="*/ 460797 h 2108808"/>
              <a:gd name="connsiteX170" fmla="*/ 1958725 w 2023931"/>
              <a:gd name="connsiteY170" fmla="*/ 395592 h 2108808"/>
              <a:gd name="connsiteX171" fmla="*/ 65106 w 2023931"/>
              <a:gd name="connsiteY171" fmla="*/ 41473 h 2108808"/>
              <a:gd name="connsiteX172" fmla="*/ 88968 w 2023931"/>
              <a:gd name="connsiteY172" fmla="*/ 65177 h 2108808"/>
              <a:gd name="connsiteX173" fmla="*/ 65264 w 2023931"/>
              <a:gd name="connsiteY173" fmla="*/ 89039 h 2108808"/>
              <a:gd name="connsiteX174" fmla="*/ 41402 w 2023931"/>
              <a:gd name="connsiteY174" fmla="*/ 65335 h 2108808"/>
              <a:gd name="connsiteX175" fmla="*/ 65106 w 2023931"/>
              <a:gd name="connsiteY175" fmla="*/ 41473 h 2108808"/>
              <a:gd name="connsiteX176" fmla="*/ 461783 w 2023931"/>
              <a:gd name="connsiteY176" fmla="*/ 32301 h 2108808"/>
              <a:gd name="connsiteX177" fmla="*/ 494677 w 2023931"/>
              <a:gd name="connsiteY177" fmla="*/ 65206 h 2108808"/>
              <a:gd name="connsiteX178" fmla="*/ 462372 w 2023931"/>
              <a:gd name="connsiteY178" fmla="*/ 98095 h 2108808"/>
              <a:gd name="connsiteX179" fmla="*/ 428883 w 2023931"/>
              <a:gd name="connsiteY179" fmla="*/ 65795 h 2108808"/>
              <a:gd name="connsiteX180" fmla="*/ 461183 w 2023931"/>
              <a:gd name="connsiteY180" fmla="*/ 32306 h 2108808"/>
              <a:gd name="connsiteX181" fmla="*/ 461783 w 2023931"/>
              <a:gd name="connsiteY181" fmla="*/ 32301 h 2108808"/>
              <a:gd name="connsiteX182" fmla="*/ 856774 w 2023931"/>
              <a:gd name="connsiteY182" fmla="*/ 22198 h 2108808"/>
              <a:gd name="connsiteX183" fmla="*/ 899782 w 2023931"/>
              <a:gd name="connsiteY183" fmla="*/ 65205 h 2108808"/>
              <a:gd name="connsiteX184" fmla="*/ 856774 w 2023931"/>
              <a:gd name="connsiteY184" fmla="*/ 108214 h 2108808"/>
              <a:gd name="connsiteX185" fmla="*/ 813767 w 2023931"/>
              <a:gd name="connsiteY185" fmla="*/ 65205 h 2108808"/>
              <a:gd name="connsiteX186" fmla="*/ 856774 w 2023931"/>
              <a:gd name="connsiteY186" fmla="*/ 22198 h 2108808"/>
              <a:gd name="connsiteX187" fmla="*/ 1252565 w 2023931"/>
              <a:gd name="connsiteY187" fmla="*/ 16253 h 2108808"/>
              <a:gd name="connsiteX188" fmla="*/ 1301518 w 2023931"/>
              <a:gd name="connsiteY188" fmla="*/ 65206 h 2108808"/>
              <a:gd name="connsiteX189" fmla="*/ 1252565 w 2023931"/>
              <a:gd name="connsiteY189" fmla="*/ 114160 h 2108808"/>
              <a:gd name="connsiteX190" fmla="*/ 1203612 w 2023931"/>
              <a:gd name="connsiteY190" fmla="*/ 65206 h 2108808"/>
              <a:gd name="connsiteX191" fmla="*/ 1252565 w 2023931"/>
              <a:gd name="connsiteY191" fmla="*/ 16253 h 2108808"/>
              <a:gd name="connsiteX192" fmla="*/ 1605745 w 2023931"/>
              <a:gd name="connsiteY192" fmla="*/ 9910 h 2108808"/>
              <a:gd name="connsiteX193" fmla="*/ 1661040 w 2023931"/>
              <a:gd name="connsiteY193" fmla="*/ 65206 h 2108808"/>
              <a:gd name="connsiteX194" fmla="*/ 1605943 w 2023931"/>
              <a:gd name="connsiteY194" fmla="*/ 120501 h 2108808"/>
              <a:gd name="connsiteX195" fmla="*/ 1550450 w 2023931"/>
              <a:gd name="connsiteY195" fmla="*/ 65404 h 2108808"/>
              <a:gd name="connsiteX196" fmla="*/ 1605546 w 2023931"/>
              <a:gd name="connsiteY196" fmla="*/ 9911 h 2108808"/>
              <a:gd name="connsiteX197" fmla="*/ 1605745 w 2023931"/>
              <a:gd name="connsiteY197" fmla="*/ 9910 h 2108808"/>
              <a:gd name="connsiteX198" fmla="*/ 1958725 w 2023931"/>
              <a:gd name="connsiteY198" fmla="*/ 0 h 2108808"/>
              <a:gd name="connsiteX199" fmla="*/ 2023931 w 2023931"/>
              <a:gd name="connsiteY199" fmla="*/ 65205 h 2108808"/>
              <a:gd name="connsiteX200" fmla="*/ 1958725 w 2023931"/>
              <a:gd name="connsiteY200" fmla="*/ 130411 h 2108808"/>
              <a:gd name="connsiteX201" fmla="*/ 1893520 w 2023931"/>
              <a:gd name="connsiteY201" fmla="*/ 65205 h 2108808"/>
              <a:gd name="connsiteX202" fmla="*/ 1958725 w 2023931"/>
              <a:gd name="connsiteY202"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lnTo>
                  <a:pt x="461183" y="1591288"/>
                </a:ln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65087" y="1589546"/>
                </a:moveTo>
                <a:cubicBezTo>
                  <a:pt x="97376" y="1589438"/>
                  <a:pt x="123639" y="1615528"/>
                  <a:pt x="123746" y="1647818"/>
                </a:cubicBezTo>
                <a:cubicBezTo>
                  <a:pt x="123854" y="1680108"/>
                  <a:pt x="97764" y="1706371"/>
                  <a:pt x="65474" y="1706478"/>
                </a:cubicBezTo>
                <a:cubicBezTo>
                  <a:pt x="33184" y="1706585"/>
                  <a:pt x="6921" y="1680495"/>
                  <a:pt x="6814" y="1648206"/>
                </a:cubicBezTo>
                <a:cubicBezTo>
                  <a:pt x="6707" y="1615916"/>
                  <a:pt x="32797" y="1589653"/>
                  <a:pt x="65087" y="1589546"/>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65195" y="1202831"/>
                </a:moveTo>
                <a:cubicBezTo>
                  <a:pt x="92450" y="1202831"/>
                  <a:pt x="114545" y="1224925"/>
                  <a:pt x="114545" y="1252181"/>
                </a:cubicBezTo>
                <a:cubicBezTo>
                  <a:pt x="114545" y="1252312"/>
                  <a:pt x="114545" y="1252444"/>
                  <a:pt x="114545" y="1252576"/>
                </a:cubicBezTo>
                <a:cubicBezTo>
                  <a:pt x="114435" y="1279940"/>
                  <a:pt x="92163" y="1302035"/>
                  <a:pt x="64799" y="1301926"/>
                </a:cubicBezTo>
                <a:cubicBezTo>
                  <a:pt x="37435" y="1301817"/>
                  <a:pt x="15340" y="1279545"/>
                  <a:pt x="15449" y="1252181"/>
                </a:cubicBezTo>
                <a:cubicBezTo>
                  <a:pt x="15559" y="1224816"/>
                  <a:pt x="37830" y="1202721"/>
                  <a:pt x="65195" y="1202831"/>
                </a:cubicBezTo>
                <a:close/>
                <a:moveTo>
                  <a:pt x="461382" y="1202830"/>
                </a:moveTo>
                <a:cubicBezTo>
                  <a:pt x="488637" y="1202830"/>
                  <a:pt x="510732" y="1224925"/>
                  <a:pt x="510732" y="1252181"/>
                </a:cubicBezTo>
                <a:cubicBezTo>
                  <a:pt x="510732" y="1252246"/>
                  <a:pt x="510732" y="1252312"/>
                  <a:pt x="510732" y="1252378"/>
                </a:cubicBezTo>
                <a:cubicBezTo>
                  <a:pt x="510732" y="1279743"/>
                  <a:pt x="488549" y="1301927"/>
                  <a:pt x="461184" y="1301927"/>
                </a:cubicBezTo>
                <a:cubicBezTo>
                  <a:pt x="433820" y="1301928"/>
                  <a:pt x="411636" y="1279744"/>
                  <a:pt x="411636" y="1252379"/>
                </a:cubicBezTo>
                <a:cubicBezTo>
                  <a:pt x="411636" y="1225015"/>
                  <a:pt x="433819" y="1202831"/>
                  <a:pt x="461184" y="1202831"/>
                </a:cubicBezTo>
                <a:cubicBezTo>
                  <a:pt x="461250" y="1202830"/>
                  <a:pt x="461316" y="1202830"/>
                  <a:pt x="461382" y="1202830"/>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461182" y="811599"/>
                </a:moveTo>
                <a:cubicBezTo>
                  <a:pt x="486029" y="811599"/>
                  <a:pt x="506172" y="831742"/>
                  <a:pt x="506172" y="856588"/>
                </a:cubicBezTo>
                <a:cubicBezTo>
                  <a:pt x="506172" y="881435"/>
                  <a:pt x="486029" y="901578"/>
                  <a:pt x="461182" y="901578"/>
                </a:cubicBezTo>
                <a:cubicBezTo>
                  <a:pt x="436336" y="901578"/>
                  <a:pt x="416193" y="881435"/>
                  <a:pt x="416193" y="856588"/>
                </a:cubicBezTo>
                <a:cubicBezTo>
                  <a:pt x="416193" y="831742"/>
                  <a:pt x="436336" y="811599"/>
                  <a:pt x="461182" y="811599"/>
                </a:cubicBezTo>
                <a:close/>
                <a:moveTo>
                  <a:pt x="65193" y="811599"/>
                </a:moveTo>
                <a:cubicBezTo>
                  <a:pt x="89963" y="811707"/>
                  <a:pt x="109985" y="831818"/>
                  <a:pt x="109985" y="856588"/>
                </a:cubicBezTo>
                <a:cubicBezTo>
                  <a:pt x="109985" y="856654"/>
                  <a:pt x="109985" y="856720"/>
                  <a:pt x="109984" y="856785"/>
                </a:cubicBezTo>
                <a:cubicBezTo>
                  <a:pt x="109875" y="881633"/>
                  <a:pt x="89644" y="901686"/>
                  <a:pt x="64797" y="901576"/>
                </a:cubicBezTo>
                <a:cubicBezTo>
                  <a:pt x="39951" y="901467"/>
                  <a:pt x="19896" y="881236"/>
                  <a:pt x="20006" y="856389"/>
                </a:cubicBezTo>
                <a:cubicBezTo>
                  <a:pt x="20116" y="831543"/>
                  <a:pt x="40347" y="811489"/>
                  <a:pt x="65193" y="811599"/>
                </a:cubicBezTo>
                <a:close/>
                <a:moveTo>
                  <a:pt x="856775" y="801689"/>
                </a:moveTo>
                <a:cubicBezTo>
                  <a:pt x="886784" y="802122"/>
                  <a:pt x="910884" y="826575"/>
                  <a:pt x="910881" y="856588"/>
                </a:cubicBezTo>
                <a:cubicBezTo>
                  <a:pt x="910881" y="856850"/>
                  <a:pt x="910879" y="857113"/>
                  <a:pt x="910875" y="857375"/>
                </a:cubicBezTo>
                <a:cubicBezTo>
                  <a:pt x="910438" y="887692"/>
                  <a:pt x="885506" y="911913"/>
                  <a:pt x="855189" y="911476"/>
                </a:cubicBezTo>
                <a:cubicBezTo>
                  <a:pt x="824873" y="911038"/>
                  <a:pt x="800651" y="886106"/>
                  <a:pt x="801089" y="855789"/>
                </a:cubicBezTo>
                <a:cubicBezTo>
                  <a:pt x="801526" y="825473"/>
                  <a:pt x="826458" y="801251"/>
                  <a:pt x="856775" y="801689"/>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65010" y="430919"/>
                </a:moveTo>
                <a:cubicBezTo>
                  <a:pt x="81538" y="430864"/>
                  <a:pt x="94981" y="444218"/>
                  <a:pt x="95036" y="460747"/>
                </a:cubicBezTo>
                <a:cubicBezTo>
                  <a:pt x="95090" y="477275"/>
                  <a:pt x="81736" y="490718"/>
                  <a:pt x="65208" y="490773"/>
                </a:cubicBezTo>
                <a:cubicBezTo>
                  <a:pt x="48680" y="490828"/>
                  <a:pt x="35237" y="477473"/>
                  <a:pt x="35182" y="460945"/>
                </a:cubicBezTo>
                <a:cubicBezTo>
                  <a:pt x="35127" y="444417"/>
                  <a:pt x="48481" y="430974"/>
                  <a:pt x="65010" y="430919"/>
                </a:cubicBezTo>
                <a:close/>
                <a:moveTo>
                  <a:pt x="461183" y="414620"/>
                </a:moveTo>
                <a:cubicBezTo>
                  <a:pt x="461516" y="414618"/>
                  <a:pt x="461849" y="414620"/>
                  <a:pt x="462181" y="414625"/>
                </a:cubicBezTo>
                <a:cubicBezTo>
                  <a:pt x="487681" y="415064"/>
                  <a:pt x="507998" y="436091"/>
                  <a:pt x="507560" y="461591"/>
                </a:cubicBezTo>
                <a:cubicBezTo>
                  <a:pt x="507235" y="486968"/>
                  <a:pt x="486571" y="507371"/>
                  <a:pt x="461191" y="507374"/>
                </a:cubicBezTo>
                <a:cubicBezTo>
                  <a:pt x="435577" y="507376"/>
                  <a:pt x="414812" y="486613"/>
                  <a:pt x="414810" y="461000"/>
                </a:cubicBezTo>
                <a:cubicBezTo>
                  <a:pt x="414808" y="435387"/>
                  <a:pt x="435570" y="414622"/>
                  <a:pt x="461183" y="414620"/>
                </a:cubicBezTo>
                <a:close/>
                <a:moveTo>
                  <a:pt x="856775" y="414421"/>
                </a:moveTo>
                <a:cubicBezTo>
                  <a:pt x="882388" y="414421"/>
                  <a:pt x="903152" y="435184"/>
                  <a:pt x="903152" y="460798"/>
                </a:cubicBezTo>
                <a:cubicBezTo>
                  <a:pt x="903152" y="486411"/>
                  <a:pt x="882388" y="507176"/>
                  <a:pt x="856775" y="507176"/>
                </a:cubicBezTo>
                <a:cubicBezTo>
                  <a:pt x="831161" y="507176"/>
                  <a:pt x="810398" y="486411"/>
                  <a:pt x="810398" y="460798"/>
                </a:cubicBezTo>
                <a:cubicBezTo>
                  <a:pt x="810398" y="435184"/>
                  <a:pt x="831161" y="414421"/>
                  <a:pt x="856775" y="414421"/>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252566" y="406692"/>
                </a:moveTo>
                <a:cubicBezTo>
                  <a:pt x="1282447" y="406692"/>
                  <a:pt x="1306672" y="430916"/>
                  <a:pt x="1306672" y="460799"/>
                </a:cubicBezTo>
                <a:cubicBezTo>
                  <a:pt x="1306672" y="490681"/>
                  <a:pt x="1282447" y="514905"/>
                  <a:pt x="1252566" y="514905"/>
                </a:cubicBezTo>
                <a:cubicBezTo>
                  <a:pt x="1222683" y="514905"/>
                  <a:pt x="1198459" y="490681"/>
                  <a:pt x="1198459" y="460799"/>
                </a:cubicBezTo>
                <a:cubicBezTo>
                  <a:pt x="1198459" y="430916"/>
                  <a:pt x="1222683" y="406692"/>
                  <a:pt x="1252566" y="406692"/>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65106" y="41473"/>
                </a:moveTo>
                <a:cubicBezTo>
                  <a:pt x="78241" y="41429"/>
                  <a:pt x="88925" y="52042"/>
                  <a:pt x="88968" y="65177"/>
                </a:cubicBezTo>
                <a:cubicBezTo>
                  <a:pt x="89012" y="78312"/>
                  <a:pt x="78399" y="88996"/>
                  <a:pt x="65264" y="89039"/>
                </a:cubicBezTo>
                <a:cubicBezTo>
                  <a:pt x="52129" y="89083"/>
                  <a:pt x="41445" y="78470"/>
                  <a:pt x="41402" y="65335"/>
                </a:cubicBezTo>
                <a:cubicBezTo>
                  <a:pt x="41358" y="52200"/>
                  <a:pt x="51971" y="41517"/>
                  <a:pt x="65106" y="41473"/>
                </a:cubicBezTo>
                <a:close/>
                <a:moveTo>
                  <a:pt x="461783" y="32301"/>
                </a:moveTo>
                <a:cubicBezTo>
                  <a:pt x="479953" y="32304"/>
                  <a:pt x="494680" y="47036"/>
                  <a:pt x="494677" y="65206"/>
                </a:cubicBezTo>
                <a:cubicBezTo>
                  <a:pt x="494674" y="83142"/>
                  <a:pt x="480305" y="97771"/>
                  <a:pt x="462372" y="98095"/>
                </a:cubicBezTo>
                <a:cubicBezTo>
                  <a:pt x="444205" y="98423"/>
                  <a:pt x="429212" y="83962"/>
                  <a:pt x="428883" y="65795"/>
                </a:cubicBezTo>
                <a:cubicBezTo>
                  <a:pt x="428555" y="47628"/>
                  <a:pt x="443016" y="32635"/>
                  <a:pt x="461183" y="32306"/>
                </a:cubicBezTo>
                <a:cubicBezTo>
                  <a:pt x="461383" y="32303"/>
                  <a:pt x="461583" y="32301"/>
                  <a:pt x="461783" y="32301"/>
                </a:cubicBezTo>
                <a:close/>
                <a:moveTo>
                  <a:pt x="856774" y="22198"/>
                </a:moveTo>
                <a:cubicBezTo>
                  <a:pt x="880527" y="22198"/>
                  <a:pt x="899782" y="41453"/>
                  <a:pt x="899782" y="65205"/>
                </a:cubicBezTo>
                <a:cubicBezTo>
                  <a:pt x="899782" y="88958"/>
                  <a:pt x="880527" y="108214"/>
                  <a:pt x="856774" y="108214"/>
                </a:cubicBezTo>
                <a:cubicBezTo>
                  <a:pt x="833022" y="108214"/>
                  <a:pt x="813767" y="88958"/>
                  <a:pt x="813767" y="65205"/>
                </a:cubicBezTo>
                <a:cubicBezTo>
                  <a:pt x="813767" y="41453"/>
                  <a:pt x="833022" y="22198"/>
                  <a:pt x="856774" y="22198"/>
                </a:cubicBezTo>
                <a:close/>
                <a:moveTo>
                  <a:pt x="1252565" y="16253"/>
                </a:moveTo>
                <a:cubicBezTo>
                  <a:pt x="1279601" y="16253"/>
                  <a:pt x="1301518" y="38170"/>
                  <a:pt x="1301518" y="65206"/>
                </a:cubicBezTo>
                <a:cubicBezTo>
                  <a:pt x="1301518" y="92243"/>
                  <a:pt x="1279601" y="114160"/>
                  <a:pt x="1252565" y="114160"/>
                </a:cubicBezTo>
                <a:cubicBezTo>
                  <a:pt x="1225529" y="114160"/>
                  <a:pt x="1203612" y="92243"/>
                  <a:pt x="1203612" y="65206"/>
                </a:cubicBezTo>
                <a:cubicBezTo>
                  <a:pt x="1203612" y="38170"/>
                  <a:pt x="1225529" y="16253"/>
                  <a:pt x="1252565" y="16253"/>
                </a:cubicBezTo>
                <a:close/>
                <a:moveTo>
                  <a:pt x="1605745" y="9910"/>
                </a:moveTo>
                <a:cubicBezTo>
                  <a:pt x="1636284" y="9910"/>
                  <a:pt x="1661041" y="34667"/>
                  <a:pt x="1661040" y="65206"/>
                </a:cubicBezTo>
                <a:cubicBezTo>
                  <a:pt x="1661040" y="95667"/>
                  <a:pt x="1636404" y="120392"/>
                  <a:pt x="1605943" y="120501"/>
                </a:cubicBezTo>
                <a:cubicBezTo>
                  <a:pt x="1575404" y="120610"/>
                  <a:pt x="1550559" y="95942"/>
                  <a:pt x="1550450" y="65404"/>
                </a:cubicBezTo>
                <a:cubicBezTo>
                  <a:pt x="1550340" y="34865"/>
                  <a:pt x="1575008" y="10020"/>
                  <a:pt x="1605546" y="9911"/>
                </a:cubicBezTo>
                <a:cubicBezTo>
                  <a:pt x="1605613" y="9910"/>
                  <a:pt x="1605679" y="9910"/>
                  <a:pt x="1605745" y="9910"/>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accent2"/>
          </a:solidFill>
          <a:ln w="29898" cap="flat">
            <a:noFill/>
            <a:prstDash val="solid"/>
            <a:miter/>
          </a:ln>
        </p:spPr>
        <p:txBody>
          <a:bodyPr rtlCol="0" anchor="ctr"/>
          <a:lstStyle/>
          <a:p>
            <a:endParaRPr lang="en-US" sz="1800"/>
          </a:p>
        </p:txBody>
      </p:sp>
    </p:spTree>
    <p:extLst>
      <p:ext uri="{BB962C8B-B14F-4D97-AF65-F5344CB8AC3E}">
        <p14:creationId xmlns:p14="http://schemas.microsoft.com/office/powerpoint/2010/main" val="1385474027"/>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Midnight">
    <p:bg>
      <p:bgPr>
        <a:solidFill>
          <a:schemeClr val="tx1"/>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2"/>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5" y="341313"/>
            <a:ext cx="4204117" cy="3931920"/>
          </a:xfrm>
        </p:spPr>
        <p:txBody>
          <a:bodyPr anchor="ctr">
            <a:noAutofit/>
          </a:bodyPr>
          <a:lstStyle>
            <a:lvl1pPr marL="238119" indent="-238119">
              <a:spcBef>
                <a:spcPts val="2400"/>
              </a:spcBef>
              <a:buClr>
                <a:schemeClr val="tx2"/>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Bullet one goes here</a:t>
            </a:r>
          </a:p>
          <a:p>
            <a:pPr lvl="0"/>
            <a:endParaRPr lang="en-US"/>
          </a:p>
        </p:txBody>
      </p:sp>
      <p:sp>
        <p:nvSpPr>
          <p:cNvPr id="6" name="Freeform 5">
            <a:extLst>
              <a:ext uri="{FF2B5EF4-FFF2-40B4-BE49-F238E27FC236}">
                <a16:creationId xmlns:a16="http://schemas.microsoft.com/office/drawing/2014/main" id="{DF7CC525-D3D2-DE40-B44A-77908C73C823}"/>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sz="1800"/>
          </a:p>
        </p:txBody>
      </p:sp>
    </p:spTree>
    <p:extLst>
      <p:ext uri="{BB962C8B-B14F-4D97-AF65-F5344CB8AC3E}">
        <p14:creationId xmlns:p14="http://schemas.microsoft.com/office/powerpoint/2010/main" val="1727565935"/>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Big Text + Bullets – Green">
    <p:bg>
      <p:bgPr>
        <a:solidFill>
          <a:schemeClr val="tx2"/>
        </a:solidFill>
        <a:effectLst/>
      </p:bgPr>
    </p:bg>
    <p:spTree>
      <p:nvGrpSpPr>
        <p:cNvPr id="1" name=""/>
        <p:cNvGrpSpPr/>
        <p:nvPr/>
      </p:nvGrpSpPr>
      <p:grpSpPr>
        <a:xfrm>
          <a:off x="0" y="0"/>
          <a:ext cx="0" cy="0"/>
          <a:chOff x="0" y="0"/>
          <a:chExt cx="0" cy="0"/>
        </a:xfrm>
      </p:grpSpPr>
      <p:sp>
        <p:nvSpPr>
          <p:cNvPr id="65" name="Title Text">
            <a:extLst>
              <a:ext uri="{FF2B5EF4-FFF2-40B4-BE49-F238E27FC236}">
                <a16:creationId xmlns:a16="http://schemas.microsoft.com/office/drawing/2014/main" id="{59ED322A-58A6-E644-9C54-51CAD6BFE383}"/>
              </a:ext>
            </a:extLst>
          </p:cNvPr>
          <p:cNvSpPr txBox="1">
            <a:spLocks noGrp="1"/>
          </p:cNvSpPr>
          <p:nvPr>
            <p:ph type="title" hasCustomPrompt="1"/>
          </p:nvPr>
        </p:nvSpPr>
        <p:spPr>
          <a:xfrm>
            <a:off x="420011" y="341313"/>
            <a:ext cx="3950370" cy="3931920"/>
          </a:xfrm>
          <a:prstGeom prst="rect">
            <a:avLst/>
          </a:prstGeom>
        </p:spPr>
        <p:txBody>
          <a:bodyPr anchor="ctr">
            <a:noAutofit/>
          </a:bodyPr>
          <a:lstStyle>
            <a:lvl1pPr>
              <a:lnSpc>
                <a:spcPct val="80000"/>
              </a:lnSpc>
              <a:defRPr sz="4000" baseline="0">
                <a:solidFill>
                  <a:schemeClr val="tx1"/>
                </a:solidFill>
              </a:defRPr>
            </a:lvl1pPr>
          </a:lstStyle>
          <a:p>
            <a:r>
              <a:rPr lang="en-US"/>
              <a:t>Big Text Here</a:t>
            </a:r>
            <a:endParaRPr/>
          </a:p>
        </p:txBody>
      </p:sp>
      <p:sp>
        <p:nvSpPr>
          <p:cNvPr id="68" name="Text Placeholder 3">
            <a:extLst>
              <a:ext uri="{FF2B5EF4-FFF2-40B4-BE49-F238E27FC236}">
                <a16:creationId xmlns:a16="http://schemas.microsoft.com/office/drawing/2014/main" id="{5807248C-03B3-624F-A91B-D023EA0D3DEE}"/>
              </a:ext>
            </a:extLst>
          </p:cNvPr>
          <p:cNvSpPr>
            <a:spLocks noGrp="1"/>
          </p:cNvSpPr>
          <p:nvPr>
            <p:ph type="body" sz="quarter" idx="10" hasCustomPrompt="1"/>
          </p:nvPr>
        </p:nvSpPr>
        <p:spPr>
          <a:xfrm>
            <a:off x="4444585" y="341313"/>
            <a:ext cx="4204117" cy="3931920"/>
          </a:xfrm>
        </p:spPr>
        <p:txBody>
          <a:bodyPr anchor="ctr">
            <a:noAutofit/>
          </a:bodyPr>
          <a:lstStyle>
            <a:lvl1pPr marL="238119" indent="-238119">
              <a:spcBef>
                <a:spcPts val="2400"/>
              </a:spcBef>
              <a:buClr>
                <a:schemeClr val="tx1"/>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Bullet one goes here</a:t>
            </a:r>
          </a:p>
          <a:p>
            <a:pPr lvl="0"/>
            <a:endParaRPr lang="en-US"/>
          </a:p>
        </p:txBody>
      </p:sp>
      <p:sp>
        <p:nvSpPr>
          <p:cNvPr id="7" name="Freeform 6">
            <a:extLst>
              <a:ext uri="{FF2B5EF4-FFF2-40B4-BE49-F238E27FC236}">
                <a16:creationId xmlns:a16="http://schemas.microsoft.com/office/drawing/2014/main" id="{F7966BA8-2C79-2844-B585-75E47B622E4F}"/>
              </a:ext>
            </a:extLst>
          </p:cNvPr>
          <p:cNvSpPr/>
          <p:nvPr userDrawn="1"/>
        </p:nvSpPr>
        <p:spPr>
          <a:xfrm>
            <a:off x="6856549" y="2789398"/>
            <a:ext cx="2023931" cy="2108808"/>
          </a:xfrm>
          <a:custGeom>
            <a:avLst/>
            <a:gdLst>
              <a:gd name="connsiteX0" fmla="*/ 64989 w 2023931"/>
              <a:gd name="connsiteY0" fmla="*/ 1978398 h 2108808"/>
              <a:gd name="connsiteX1" fmla="*/ 130410 w 2023931"/>
              <a:gd name="connsiteY1" fmla="*/ 2043386 h 2108808"/>
              <a:gd name="connsiteX2" fmla="*/ 65421 w 2023931"/>
              <a:gd name="connsiteY2" fmla="*/ 2108808 h 2108808"/>
              <a:gd name="connsiteX3" fmla="*/ 0 w 2023931"/>
              <a:gd name="connsiteY3" fmla="*/ 2043819 h 2108808"/>
              <a:gd name="connsiteX4" fmla="*/ 64989 w 2023931"/>
              <a:gd name="connsiteY4" fmla="*/ 1978398 h 2108808"/>
              <a:gd name="connsiteX5" fmla="*/ 1958725 w 2023931"/>
              <a:gd name="connsiteY5" fmla="*/ 1978358 h 2108808"/>
              <a:gd name="connsiteX6" fmla="*/ 2023931 w 2023931"/>
              <a:gd name="connsiteY6" fmla="*/ 2043564 h 2108808"/>
              <a:gd name="connsiteX7" fmla="*/ 1958725 w 2023931"/>
              <a:gd name="connsiteY7" fmla="*/ 2108769 h 2108808"/>
              <a:gd name="connsiteX8" fmla="*/ 1893520 w 2023931"/>
              <a:gd name="connsiteY8" fmla="*/ 2043564 h 2108808"/>
              <a:gd name="connsiteX9" fmla="*/ 1958725 w 2023931"/>
              <a:gd name="connsiteY9" fmla="*/ 1978358 h 2108808"/>
              <a:gd name="connsiteX10" fmla="*/ 1605546 w 2023931"/>
              <a:gd name="connsiteY10" fmla="*/ 1978358 h 2108808"/>
              <a:gd name="connsiteX11" fmla="*/ 1670752 w 2023931"/>
              <a:gd name="connsiteY11" fmla="*/ 2043564 h 2108808"/>
              <a:gd name="connsiteX12" fmla="*/ 1605546 w 2023931"/>
              <a:gd name="connsiteY12" fmla="*/ 2108769 h 2108808"/>
              <a:gd name="connsiteX13" fmla="*/ 1540341 w 2023931"/>
              <a:gd name="connsiteY13" fmla="*/ 2043564 h 2108808"/>
              <a:gd name="connsiteX14" fmla="*/ 1605546 w 2023931"/>
              <a:gd name="connsiteY14" fmla="*/ 1978358 h 2108808"/>
              <a:gd name="connsiteX15" fmla="*/ 1252565 w 2023931"/>
              <a:gd name="connsiteY15" fmla="*/ 1978358 h 2108808"/>
              <a:gd name="connsiteX16" fmla="*/ 1317770 w 2023931"/>
              <a:gd name="connsiteY16" fmla="*/ 2043564 h 2108808"/>
              <a:gd name="connsiteX17" fmla="*/ 1252565 w 2023931"/>
              <a:gd name="connsiteY17" fmla="*/ 2108769 h 2108808"/>
              <a:gd name="connsiteX18" fmla="*/ 1187360 w 2023931"/>
              <a:gd name="connsiteY18" fmla="*/ 2043564 h 2108808"/>
              <a:gd name="connsiteX19" fmla="*/ 1252565 w 2023931"/>
              <a:gd name="connsiteY19" fmla="*/ 1978358 h 2108808"/>
              <a:gd name="connsiteX20" fmla="*/ 856775 w 2023931"/>
              <a:gd name="connsiteY20" fmla="*/ 1978358 h 2108808"/>
              <a:gd name="connsiteX21" fmla="*/ 921980 w 2023931"/>
              <a:gd name="connsiteY21" fmla="*/ 2043564 h 2108808"/>
              <a:gd name="connsiteX22" fmla="*/ 856775 w 2023931"/>
              <a:gd name="connsiteY22" fmla="*/ 2108769 h 2108808"/>
              <a:gd name="connsiteX23" fmla="*/ 791570 w 2023931"/>
              <a:gd name="connsiteY23" fmla="*/ 2043564 h 2108808"/>
              <a:gd name="connsiteX24" fmla="*/ 856775 w 2023931"/>
              <a:gd name="connsiteY24" fmla="*/ 1978358 h 2108808"/>
              <a:gd name="connsiteX25" fmla="*/ 461183 w 2023931"/>
              <a:gd name="connsiteY25" fmla="*/ 1978358 h 2108808"/>
              <a:gd name="connsiteX26" fmla="*/ 526388 w 2023931"/>
              <a:gd name="connsiteY26" fmla="*/ 2043564 h 2108808"/>
              <a:gd name="connsiteX27" fmla="*/ 461183 w 2023931"/>
              <a:gd name="connsiteY27" fmla="*/ 2108769 h 2108808"/>
              <a:gd name="connsiteX28" fmla="*/ 395978 w 2023931"/>
              <a:gd name="connsiteY28" fmla="*/ 2043564 h 2108808"/>
              <a:gd name="connsiteX29" fmla="*/ 461183 w 2023931"/>
              <a:gd name="connsiteY29" fmla="*/ 1978358 h 2108808"/>
              <a:gd name="connsiteX30" fmla="*/ 461183 w 2023931"/>
              <a:gd name="connsiteY30" fmla="*/ 1591288 h 2108808"/>
              <a:gd name="connsiteX31" fmla="*/ 461381 w 2023931"/>
              <a:gd name="connsiteY31" fmla="*/ 1591288 h 2108808"/>
              <a:gd name="connsiteX32" fmla="*/ 517668 w 2023931"/>
              <a:gd name="connsiteY32" fmla="*/ 1647971 h 2108808"/>
              <a:gd name="connsiteX33" fmla="*/ 517668 w 2023931"/>
              <a:gd name="connsiteY33" fmla="*/ 1648168 h 2108808"/>
              <a:gd name="connsiteX34" fmla="*/ 460787 w 2023931"/>
              <a:gd name="connsiteY34" fmla="*/ 1704653 h 2108808"/>
              <a:gd name="connsiteX35" fmla="*/ 404302 w 2023931"/>
              <a:gd name="connsiteY35" fmla="*/ 1647772 h 2108808"/>
              <a:gd name="connsiteX36" fmla="*/ 461183 w 2023931"/>
              <a:gd name="connsiteY36" fmla="*/ 1591288 h 2108808"/>
              <a:gd name="connsiteX37" fmla="*/ 1605546 w 2023931"/>
              <a:gd name="connsiteY37" fmla="*/ 1582766 h 2108808"/>
              <a:gd name="connsiteX38" fmla="*/ 1605943 w 2023931"/>
              <a:gd name="connsiteY38" fmla="*/ 1582766 h 2108808"/>
              <a:gd name="connsiteX39" fmla="*/ 1670752 w 2023931"/>
              <a:gd name="connsiteY39" fmla="*/ 1647971 h 2108808"/>
              <a:gd name="connsiteX40" fmla="*/ 1605546 w 2023931"/>
              <a:gd name="connsiteY40" fmla="*/ 1713176 h 2108808"/>
              <a:gd name="connsiteX41" fmla="*/ 1540341 w 2023931"/>
              <a:gd name="connsiteY41" fmla="*/ 1647971 h 2108808"/>
              <a:gd name="connsiteX42" fmla="*/ 1605546 w 2023931"/>
              <a:gd name="connsiteY42" fmla="*/ 1582766 h 2108808"/>
              <a:gd name="connsiteX43" fmla="*/ 1958725 w 2023931"/>
              <a:gd name="connsiteY43" fmla="*/ 1582765 h 2108808"/>
              <a:gd name="connsiteX44" fmla="*/ 2023931 w 2023931"/>
              <a:gd name="connsiteY44" fmla="*/ 1647971 h 2108808"/>
              <a:gd name="connsiteX45" fmla="*/ 1958725 w 2023931"/>
              <a:gd name="connsiteY45" fmla="*/ 1713176 h 2108808"/>
              <a:gd name="connsiteX46" fmla="*/ 1893520 w 2023931"/>
              <a:gd name="connsiteY46" fmla="*/ 1647971 h 2108808"/>
              <a:gd name="connsiteX47" fmla="*/ 1958725 w 2023931"/>
              <a:gd name="connsiteY47" fmla="*/ 1582765 h 2108808"/>
              <a:gd name="connsiteX48" fmla="*/ 1252565 w 2023931"/>
              <a:gd name="connsiteY48" fmla="*/ 1582765 h 2108808"/>
              <a:gd name="connsiteX49" fmla="*/ 1317770 w 2023931"/>
              <a:gd name="connsiteY49" fmla="*/ 1647971 h 2108808"/>
              <a:gd name="connsiteX50" fmla="*/ 1252565 w 2023931"/>
              <a:gd name="connsiteY50" fmla="*/ 1713176 h 2108808"/>
              <a:gd name="connsiteX51" fmla="*/ 1187360 w 2023931"/>
              <a:gd name="connsiteY51" fmla="*/ 1647971 h 2108808"/>
              <a:gd name="connsiteX52" fmla="*/ 1252565 w 2023931"/>
              <a:gd name="connsiteY52" fmla="*/ 1582765 h 2108808"/>
              <a:gd name="connsiteX53" fmla="*/ 856775 w 2023931"/>
              <a:gd name="connsiteY53" fmla="*/ 1582765 h 2108808"/>
              <a:gd name="connsiteX54" fmla="*/ 921980 w 2023931"/>
              <a:gd name="connsiteY54" fmla="*/ 1647971 h 2108808"/>
              <a:gd name="connsiteX55" fmla="*/ 856775 w 2023931"/>
              <a:gd name="connsiteY55" fmla="*/ 1713176 h 2108808"/>
              <a:gd name="connsiteX56" fmla="*/ 791570 w 2023931"/>
              <a:gd name="connsiteY56" fmla="*/ 1647971 h 2108808"/>
              <a:gd name="connsiteX57" fmla="*/ 856775 w 2023931"/>
              <a:gd name="connsiteY57" fmla="*/ 1582765 h 2108808"/>
              <a:gd name="connsiteX58" fmla="*/ 856775 w 2023931"/>
              <a:gd name="connsiteY58" fmla="*/ 1194902 h 2108808"/>
              <a:gd name="connsiteX59" fmla="*/ 856973 w 2023931"/>
              <a:gd name="connsiteY59" fmla="*/ 1194902 h 2108808"/>
              <a:gd name="connsiteX60" fmla="*/ 914845 w 2023931"/>
              <a:gd name="connsiteY60" fmla="*/ 1252774 h 2108808"/>
              <a:gd name="connsiteX61" fmla="*/ 857171 w 2023931"/>
              <a:gd name="connsiteY61" fmla="*/ 1310646 h 2108808"/>
              <a:gd name="connsiteX62" fmla="*/ 799101 w 2023931"/>
              <a:gd name="connsiteY62" fmla="*/ 1252972 h 2108808"/>
              <a:gd name="connsiteX63" fmla="*/ 856775 w 2023931"/>
              <a:gd name="connsiteY63" fmla="*/ 1194902 h 2108808"/>
              <a:gd name="connsiteX64" fmla="*/ 1958725 w 2023931"/>
              <a:gd name="connsiteY64" fmla="*/ 1187173 h 2108808"/>
              <a:gd name="connsiteX65" fmla="*/ 1958923 w 2023931"/>
              <a:gd name="connsiteY65" fmla="*/ 1187173 h 2108808"/>
              <a:gd name="connsiteX66" fmla="*/ 2023930 w 2023931"/>
              <a:gd name="connsiteY66" fmla="*/ 1252180 h 2108808"/>
              <a:gd name="connsiteX67" fmla="*/ 2023931 w 2023931"/>
              <a:gd name="connsiteY67" fmla="*/ 1252378 h 2108808"/>
              <a:gd name="connsiteX68" fmla="*/ 1958725 w 2023931"/>
              <a:gd name="connsiteY68" fmla="*/ 1317584 h 2108808"/>
              <a:gd name="connsiteX69" fmla="*/ 1893520 w 2023931"/>
              <a:gd name="connsiteY69" fmla="*/ 1252379 h 2108808"/>
              <a:gd name="connsiteX70" fmla="*/ 1958725 w 2023931"/>
              <a:gd name="connsiteY70" fmla="*/ 1187173 h 2108808"/>
              <a:gd name="connsiteX71" fmla="*/ 1605546 w 2023931"/>
              <a:gd name="connsiteY71" fmla="*/ 1187173 h 2108808"/>
              <a:gd name="connsiteX72" fmla="*/ 1605744 w 2023931"/>
              <a:gd name="connsiteY72" fmla="*/ 1187173 h 2108808"/>
              <a:gd name="connsiteX73" fmla="*/ 1670751 w 2023931"/>
              <a:gd name="connsiteY73" fmla="*/ 1252180 h 2108808"/>
              <a:gd name="connsiteX74" fmla="*/ 1670752 w 2023931"/>
              <a:gd name="connsiteY74" fmla="*/ 1252378 h 2108808"/>
              <a:gd name="connsiteX75" fmla="*/ 1605546 w 2023931"/>
              <a:gd name="connsiteY75" fmla="*/ 1317584 h 2108808"/>
              <a:gd name="connsiteX76" fmla="*/ 1540341 w 2023931"/>
              <a:gd name="connsiteY76" fmla="*/ 1252379 h 2108808"/>
              <a:gd name="connsiteX77" fmla="*/ 1605546 w 2023931"/>
              <a:gd name="connsiteY77" fmla="*/ 1187173 h 2108808"/>
              <a:gd name="connsiteX78" fmla="*/ 1252565 w 2023931"/>
              <a:gd name="connsiteY78" fmla="*/ 1187173 h 2108808"/>
              <a:gd name="connsiteX79" fmla="*/ 1252565 w 2023931"/>
              <a:gd name="connsiteY79" fmla="*/ 1187174 h 2108808"/>
              <a:gd name="connsiteX80" fmla="*/ 1317572 w 2023931"/>
              <a:gd name="connsiteY80" fmla="*/ 1252180 h 2108808"/>
              <a:gd name="connsiteX81" fmla="*/ 1317572 w 2023931"/>
              <a:gd name="connsiteY81" fmla="*/ 1252576 h 2108808"/>
              <a:gd name="connsiteX82" fmla="*/ 1252169 w 2023931"/>
              <a:gd name="connsiteY82" fmla="*/ 1317583 h 2108808"/>
              <a:gd name="connsiteX83" fmla="*/ 1187162 w 2023931"/>
              <a:gd name="connsiteY83" fmla="*/ 1252180 h 2108808"/>
              <a:gd name="connsiteX84" fmla="*/ 1252565 w 2023931"/>
              <a:gd name="connsiteY84" fmla="*/ 1187173 h 2108808"/>
              <a:gd name="connsiteX85" fmla="*/ 1252565 w 2023931"/>
              <a:gd name="connsiteY85" fmla="*/ 801689 h 2108808"/>
              <a:gd name="connsiteX86" fmla="*/ 1307266 w 2023931"/>
              <a:gd name="connsiteY86" fmla="*/ 856587 h 2108808"/>
              <a:gd name="connsiteX87" fmla="*/ 1307266 w 2023931"/>
              <a:gd name="connsiteY87" fmla="*/ 856785 h 2108808"/>
              <a:gd name="connsiteX88" fmla="*/ 1252168 w 2023931"/>
              <a:gd name="connsiteY88" fmla="*/ 911486 h 2108808"/>
              <a:gd name="connsiteX89" fmla="*/ 1197468 w 2023931"/>
              <a:gd name="connsiteY89" fmla="*/ 856389 h 2108808"/>
              <a:gd name="connsiteX90" fmla="*/ 1252565 w 2023931"/>
              <a:gd name="connsiteY90" fmla="*/ 801689 h 2108808"/>
              <a:gd name="connsiteX91" fmla="*/ 1958726 w 2023931"/>
              <a:gd name="connsiteY91" fmla="*/ 791382 h 2108808"/>
              <a:gd name="connsiteX92" fmla="*/ 1959122 w 2023931"/>
              <a:gd name="connsiteY92" fmla="*/ 791382 h 2108808"/>
              <a:gd name="connsiteX93" fmla="*/ 2023931 w 2023931"/>
              <a:gd name="connsiteY93" fmla="*/ 856587 h 2108808"/>
              <a:gd name="connsiteX94" fmla="*/ 1958726 w 2023931"/>
              <a:gd name="connsiteY94" fmla="*/ 921793 h 2108808"/>
              <a:gd name="connsiteX95" fmla="*/ 1893520 w 2023931"/>
              <a:gd name="connsiteY95" fmla="*/ 856587 h 2108808"/>
              <a:gd name="connsiteX96" fmla="*/ 1958726 w 2023931"/>
              <a:gd name="connsiteY96" fmla="*/ 791382 h 2108808"/>
              <a:gd name="connsiteX97" fmla="*/ 1605546 w 2023931"/>
              <a:gd name="connsiteY97" fmla="*/ 791382 h 2108808"/>
              <a:gd name="connsiteX98" fmla="*/ 1605943 w 2023931"/>
              <a:gd name="connsiteY98" fmla="*/ 791382 h 2108808"/>
              <a:gd name="connsiteX99" fmla="*/ 1670752 w 2023931"/>
              <a:gd name="connsiteY99" fmla="*/ 856587 h 2108808"/>
              <a:gd name="connsiteX100" fmla="*/ 1605546 w 2023931"/>
              <a:gd name="connsiteY100" fmla="*/ 921793 h 2108808"/>
              <a:gd name="connsiteX101" fmla="*/ 1540341 w 2023931"/>
              <a:gd name="connsiteY101" fmla="*/ 856587 h 2108808"/>
              <a:gd name="connsiteX102" fmla="*/ 1605546 w 2023931"/>
              <a:gd name="connsiteY102" fmla="*/ 791382 h 2108808"/>
              <a:gd name="connsiteX103" fmla="*/ 1605547 w 2023931"/>
              <a:gd name="connsiteY103" fmla="*/ 406890 h 2108808"/>
              <a:gd name="connsiteX104" fmla="*/ 1606543 w 2023931"/>
              <a:gd name="connsiteY104" fmla="*/ 406895 h 2108808"/>
              <a:gd name="connsiteX105" fmla="*/ 1659653 w 2023931"/>
              <a:gd name="connsiteY105" fmla="*/ 461590 h 2108808"/>
              <a:gd name="connsiteX106" fmla="*/ 1605553 w 2023931"/>
              <a:gd name="connsiteY106" fmla="*/ 515103 h 2108808"/>
              <a:gd name="connsiteX107" fmla="*/ 1551443 w 2023931"/>
              <a:gd name="connsiteY107" fmla="*/ 460999 h 2108808"/>
              <a:gd name="connsiteX108" fmla="*/ 1584486 w 2023931"/>
              <a:gd name="connsiteY108" fmla="*/ 411143 h 2108808"/>
              <a:gd name="connsiteX109" fmla="*/ 1958725 w 2023931"/>
              <a:gd name="connsiteY109" fmla="*/ 395592 h 2108808"/>
              <a:gd name="connsiteX110" fmla="*/ 2023931 w 2023931"/>
              <a:gd name="connsiteY110" fmla="*/ 460797 h 2108808"/>
              <a:gd name="connsiteX111" fmla="*/ 1958725 w 2023931"/>
              <a:gd name="connsiteY111" fmla="*/ 526003 h 2108808"/>
              <a:gd name="connsiteX112" fmla="*/ 1893520 w 2023931"/>
              <a:gd name="connsiteY112" fmla="*/ 460797 h 2108808"/>
              <a:gd name="connsiteX113" fmla="*/ 1958725 w 2023931"/>
              <a:gd name="connsiteY113" fmla="*/ 395592 h 2108808"/>
              <a:gd name="connsiteX114" fmla="*/ 1958725 w 2023931"/>
              <a:gd name="connsiteY114" fmla="*/ 0 h 2108808"/>
              <a:gd name="connsiteX115" fmla="*/ 2023931 w 2023931"/>
              <a:gd name="connsiteY115" fmla="*/ 65205 h 2108808"/>
              <a:gd name="connsiteX116" fmla="*/ 1958725 w 2023931"/>
              <a:gd name="connsiteY116" fmla="*/ 130411 h 2108808"/>
              <a:gd name="connsiteX117" fmla="*/ 1893520 w 2023931"/>
              <a:gd name="connsiteY117" fmla="*/ 65205 h 2108808"/>
              <a:gd name="connsiteX118" fmla="*/ 1958725 w 2023931"/>
              <a:gd name="connsiteY118" fmla="*/ 0 h 210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2023931" h="2108808">
                <a:moveTo>
                  <a:pt x="64989" y="1978398"/>
                </a:moveTo>
                <a:cubicBezTo>
                  <a:pt x="101000" y="1978278"/>
                  <a:pt x="130291" y="2007374"/>
                  <a:pt x="130410" y="2043386"/>
                </a:cubicBezTo>
                <a:cubicBezTo>
                  <a:pt x="130529" y="2079398"/>
                  <a:pt x="101433" y="2108688"/>
                  <a:pt x="65421" y="2108808"/>
                </a:cubicBezTo>
                <a:cubicBezTo>
                  <a:pt x="29409" y="2108927"/>
                  <a:pt x="120" y="2079830"/>
                  <a:pt x="0" y="2043819"/>
                </a:cubicBezTo>
                <a:cubicBezTo>
                  <a:pt x="-119" y="2007807"/>
                  <a:pt x="28977" y="1978517"/>
                  <a:pt x="64989" y="1978398"/>
                </a:cubicBezTo>
                <a:close/>
                <a:moveTo>
                  <a:pt x="1958725" y="1978358"/>
                </a:moveTo>
                <a:cubicBezTo>
                  <a:pt x="1994737" y="1978358"/>
                  <a:pt x="2023931" y="2007551"/>
                  <a:pt x="2023931" y="2043564"/>
                </a:cubicBezTo>
                <a:cubicBezTo>
                  <a:pt x="2023931" y="2079575"/>
                  <a:pt x="1994737" y="2108769"/>
                  <a:pt x="1958725" y="2108769"/>
                </a:cubicBezTo>
                <a:cubicBezTo>
                  <a:pt x="1922714" y="2108769"/>
                  <a:pt x="1893520" y="2079575"/>
                  <a:pt x="1893520" y="2043564"/>
                </a:cubicBezTo>
                <a:cubicBezTo>
                  <a:pt x="1893520" y="2007551"/>
                  <a:pt x="1922714" y="1978358"/>
                  <a:pt x="1958725" y="1978358"/>
                </a:cubicBezTo>
                <a:close/>
                <a:moveTo>
                  <a:pt x="1605546" y="1978358"/>
                </a:moveTo>
                <a:cubicBezTo>
                  <a:pt x="1641558" y="1978358"/>
                  <a:pt x="1670752" y="2007551"/>
                  <a:pt x="1670752" y="2043564"/>
                </a:cubicBezTo>
                <a:cubicBezTo>
                  <a:pt x="1670752" y="2079575"/>
                  <a:pt x="1641558" y="2108769"/>
                  <a:pt x="1605546" y="2108769"/>
                </a:cubicBezTo>
                <a:cubicBezTo>
                  <a:pt x="1569534" y="2108769"/>
                  <a:pt x="1540341" y="2079575"/>
                  <a:pt x="1540341" y="2043564"/>
                </a:cubicBezTo>
                <a:cubicBezTo>
                  <a:pt x="1540341" y="2007551"/>
                  <a:pt x="1569534" y="1978358"/>
                  <a:pt x="1605546" y="1978358"/>
                </a:cubicBezTo>
                <a:close/>
                <a:moveTo>
                  <a:pt x="1252565" y="1978358"/>
                </a:moveTo>
                <a:cubicBezTo>
                  <a:pt x="1288577" y="1978358"/>
                  <a:pt x="1317770" y="2007551"/>
                  <a:pt x="1317770" y="2043564"/>
                </a:cubicBezTo>
                <a:cubicBezTo>
                  <a:pt x="1317770" y="2079575"/>
                  <a:pt x="1288577" y="2108769"/>
                  <a:pt x="1252565" y="2108769"/>
                </a:cubicBezTo>
                <a:cubicBezTo>
                  <a:pt x="1216553" y="2108769"/>
                  <a:pt x="1187360" y="2079575"/>
                  <a:pt x="1187360" y="2043564"/>
                </a:cubicBezTo>
                <a:cubicBezTo>
                  <a:pt x="1187360" y="2007551"/>
                  <a:pt x="1216553" y="1978358"/>
                  <a:pt x="1252565" y="1978358"/>
                </a:cubicBezTo>
                <a:close/>
                <a:moveTo>
                  <a:pt x="856775" y="1978358"/>
                </a:moveTo>
                <a:cubicBezTo>
                  <a:pt x="892787" y="1978358"/>
                  <a:pt x="921980" y="2007551"/>
                  <a:pt x="921980" y="2043564"/>
                </a:cubicBezTo>
                <a:cubicBezTo>
                  <a:pt x="921980" y="2079575"/>
                  <a:pt x="892787" y="2108769"/>
                  <a:pt x="856775" y="2108769"/>
                </a:cubicBezTo>
                <a:cubicBezTo>
                  <a:pt x="820763" y="2108769"/>
                  <a:pt x="791570" y="2079575"/>
                  <a:pt x="791570" y="2043564"/>
                </a:cubicBezTo>
                <a:cubicBezTo>
                  <a:pt x="791570" y="2007551"/>
                  <a:pt x="820763" y="1978358"/>
                  <a:pt x="856775" y="1978358"/>
                </a:cubicBezTo>
                <a:close/>
                <a:moveTo>
                  <a:pt x="461183" y="1978358"/>
                </a:moveTo>
                <a:cubicBezTo>
                  <a:pt x="497195" y="1978358"/>
                  <a:pt x="526388" y="2007551"/>
                  <a:pt x="526388" y="2043564"/>
                </a:cubicBezTo>
                <a:cubicBezTo>
                  <a:pt x="526388" y="2079575"/>
                  <a:pt x="497195" y="2108769"/>
                  <a:pt x="461183" y="2108769"/>
                </a:cubicBezTo>
                <a:cubicBezTo>
                  <a:pt x="425171" y="2108769"/>
                  <a:pt x="395978" y="2079575"/>
                  <a:pt x="395978" y="2043564"/>
                </a:cubicBezTo>
                <a:cubicBezTo>
                  <a:pt x="395978" y="2007551"/>
                  <a:pt x="425171" y="1978358"/>
                  <a:pt x="461183" y="1978358"/>
                </a:cubicBezTo>
                <a:close/>
                <a:moveTo>
                  <a:pt x="461183" y="1591288"/>
                </a:moveTo>
                <a:cubicBezTo>
                  <a:pt x="461249" y="1591288"/>
                  <a:pt x="461315" y="1591288"/>
                  <a:pt x="461381" y="1591288"/>
                </a:cubicBezTo>
                <a:cubicBezTo>
                  <a:pt x="492577" y="1591397"/>
                  <a:pt x="517778" y="1616775"/>
                  <a:pt x="517668" y="1647971"/>
                </a:cubicBezTo>
                <a:cubicBezTo>
                  <a:pt x="517668" y="1648036"/>
                  <a:pt x="517668" y="1648103"/>
                  <a:pt x="517668" y="1648168"/>
                </a:cubicBezTo>
                <a:cubicBezTo>
                  <a:pt x="517558" y="1679473"/>
                  <a:pt x="492092" y="1704763"/>
                  <a:pt x="460787" y="1704653"/>
                </a:cubicBezTo>
                <a:cubicBezTo>
                  <a:pt x="429482" y="1704543"/>
                  <a:pt x="404192" y="1679077"/>
                  <a:pt x="404302" y="1647772"/>
                </a:cubicBezTo>
                <a:cubicBezTo>
                  <a:pt x="404412" y="1616467"/>
                  <a:pt x="429878" y="1591178"/>
                  <a:pt x="461183" y="1591288"/>
                </a:cubicBezTo>
                <a:close/>
                <a:moveTo>
                  <a:pt x="1605546" y="1582766"/>
                </a:moveTo>
                <a:cubicBezTo>
                  <a:pt x="1605679" y="1582765"/>
                  <a:pt x="1605811" y="1582765"/>
                  <a:pt x="1605943" y="1582766"/>
                </a:cubicBezTo>
                <a:cubicBezTo>
                  <a:pt x="1641846" y="1582875"/>
                  <a:pt x="1670861" y="1612069"/>
                  <a:pt x="1670752" y="1647971"/>
                </a:cubicBezTo>
                <a:cubicBezTo>
                  <a:pt x="1670752" y="1683983"/>
                  <a:pt x="1641558" y="1713176"/>
                  <a:pt x="1605546" y="1713176"/>
                </a:cubicBezTo>
                <a:cubicBezTo>
                  <a:pt x="1569534" y="1713176"/>
                  <a:pt x="1540341" y="1683983"/>
                  <a:pt x="1540341" y="1647971"/>
                </a:cubicBezTo>
                <a:cubicBezTo>
                  <a:pt x="1540341" y="1611959"/>
                  <a:pt x="1569534" y="1582766"/>
                  <a:pt x="1605546" y="1582766"/>
                </a:cubicBezTo>
                <a:close/>
                <a:moveTo>
                  <a:pt x="1958725" y="1582765"/>
                </a:moveTo>
                <a:cubicBezTo>
                  <a:pt x="1994737" y="1582765"/>
                  <a:pt x="2023931" y="1611958"/>
                  <a:pt x="2023931" y="1647971"/>
                </a:cubicBezTo>
                <a:cubicBezTo>
                  <a:pt x="2023931" y="1683982"/>
                  <a:pt x="1994737" y="1713176"/>
                  <a:pt x="1958725" y="1713176"/>
                </a:cubicBezTo>
                <a:cubicBezTo>
                  <a:pt x="1922714" y="1713176"/>
                  <a:pt x="1893520" y="1683982"/>
                  <a:pt x="1893520" y="1647971"/>
                </a:cubicBezTo>
                <a:cubicBezTo>
                  <a:pt x="1893520" y="1611958"/>
                  <a:pt x="1922714" y="1582765"/>
                  <a:pt x="1958725" y="1582765"/>
                </a:cubicBezTo>
                <a:close/>
                <a:moveTo>
                  <a:pt x="1252565" y="1582765"/>
                </a:moveTo>
                <a:cubicBezTo>
                  <a:pt x="1288577" y="1582765"/>
                  <a:pt x="1317770" y="1611958"/>
                  <a:pt x="1317770" y="1647971"/>
                </a:cubicBezTo>
                <a:cubicBezTo>
                  <a:pt x="1317770" y="1683982"/>
                  <a:pt x="1288577" y="1713176"/>
                  <a:pt x="1252565" y="1713176"/>
                </a:cubicBezTo>
                <a:cubicBezTo>
                  <a:pt x="1216553" y="1713176"/>
                  <a:pt x="1187360" y="1683982"/>
                  <a:pt x="1187360" y="1647971"/>
                </a:cubicBezTo>
                <a:cubicBezTo>
                  <a:pt x="1187360" y="1611958"/>
                  <a:pt x="1216553" y="1582765"/>
                  <a:pt x="1252565" y="1582765"/>
                </a:cubicBezTo>
                <a:close/>
                <a:moveTo>
                  <a:pt x="856775" y="1582765"/>
                </a:moveTo>
                <a:cubicBezTo>
                  <a:pt x="892787" y="1582765"/>
                  <a:pt x="921980" y="1611958"/>
                  <a:pt x="921980" y="1647971"/>
                </a:cubicBezTo>
                <a:cubicBezTo>
                  <a:pt x="921980" y="1683982"/>
                  <a:pt x="892787" y="1713176"/>
                  <a:pt x="856775" y="1713176"/>
                </a:cubicBezTo>
                <a:cubicBezTo>
                  <a:pt x="820763" y="1713176"/>
                  <a:pt x="791570" y="1683982"/>
                  <a:pt x="791570" y="1647971"/>
                </a:cubicBezTo>
                <a:cubicBezTo>
                  <a:pt x="791570" y="1611958"/>
                  <a:pt x="820763" y="1582765"/>
                  <a:pt x="856775" y="1582765"/>
                </a:cubicBezTo>
                <a:close/>
                <a:moveTo>
                  <a:pt x="856775" y="1194902"/>
                </a:moveTo>
                <a:lnTo>
                  <a:pt x="856973" y="1194902"/>
                </a:lnTo>
                <a:cubicBezTo>
                  <a:pt x="888935" y="1194902"/>
                  <a:pt x="914845" y="1220812"/>
                  <a:pt x="914845" y="1252774"/>
                </a:cubicBezTo>
                <a:cubicBezTo>
                  <a:pt x="914845" y="1284659"/>
                  <a:pt x="889056" y="1310537"/>
                  <a:pt x="857171" y="1310646"/>
                </a:cubicBezTo>
                <a:cubicBezTo>
                  <a:pt x="825209" y="1310755"/>
                  <a:pt x="799211" y="1284934"/>
                  <a:pt x="799101" y="1252972"/>
                </a:cubicBezTo>
                <a:cubicBezTo>
                  <a:pt x="798991" y="1221010"/>
                  <a:pt x="824813" y="1195012"/>
                  <a:pt x="856775" y="1194902"/>
                </a:cubicBezTo>
                <a:close/>
                <a:moveTo>
                  <a:pt x="1958725" y="1187173"/>
                </a:moveTo>
                <a:cubicBezTo>
                  <a:pt x="1958791" y="1187173"/>
                  <a:pt x="1958857" y="1187173"/>
                  <a:pt x="1958923" y="1187173"/>
                </a:cubicBezTo>
                <a:cubicBezTo>
                  <a:pt x="1994826" y="1187173"/>
                  <a:pt x="2023931" y="1216278"/>
                  <a:pt x="2023930" y="1252180"/>
                </a:cubicBezTo>
                <a:cubicBezTo>
                  <a:pt x="2023931" y="1252247"/>
                  <a:pt x="2023931" y="1252312"/>
                  <a:pt x="2023931" y="1252378"/>
                </a:cubicBezTo>
                <a:cubicBezTo>
                  <a:pt x="2023931" y="1288390"/>
                  <a:pt x="1994738" y="1317584"/>
                  <a:pt x="1958725" y="1317584"/>
                </a:cubicBezTo>
                <a:cubicBezTo>
                  <a:pt x="1922714" y="1317584"/>
                  <a:pt x="1893520" y="1288391"/>
                  <a:pt x="1893520" y="1252379"/>
                </a:cubicBezTo>
                <a:cubicBezTo>
                  <a:pt x="1893520" y="1216367"/>
                  <a:pt x="1922713" y="1187174"/>
                  <a:pt x="1958725" y="1187173"/>
                </a:cubicBezTo>
                <a:close/>
                <a:moveTo>
                  <a:pt x="1605546" y="1187173"/>
                </a:moveTo>
                <a:cubicBezTo>
                  <a:pt x="1605612" y="1187173"/>
                  <a:pt x="1605678" y="1187173"/>
                  <a:pt x="1605744" y="1187173"/>
                </a:cubicBezTo>
                <a:cubicBezTo>
                  <a:pt x="1641647" y="1187173"/>
                  <a:pt x="1670752" y="1216278"/>
                  <a:pt x="1670751" y="1252180"/>
                </a:cubicBezTo>
                <a:cubicBezTo>
                  <a:pt x="1670752" y="1252247"/>
                  <a:pt x="1670752" y="1252312"/>
                  <a:pt x="1670752" y="1252378"/>
                </a:cubicBezTo>
                <a:cubicBezTo>
                  <a:pt x="1670752" y="1288390"/>
                  <a:pt x="1641559" y="1317584"/>
                  <a:pt x="1605546" y="1317584"/>
                </a:cubicBezTo>
                <a:cubicBezTo>
                  <a:pt x="1569535" y="1317584"/>
                  <a:pt x="1540341" y="1288391"/>
                  <a:pt x="1540341" y="1252379"/>
                </a:cubicBezTo>
                <a:cubicBezTo>
                  <a:pt x="1540341" y="1216367"/>
                  <a:pt x="1569534" y="1187174"/>
                  <a:pt x="1605546" y="1187173"/>
                </a:cubicBezTo>
                <a:close/>
                <a:moveTo>
                  <a:pt x="1252565" y="1187173"/>
                </a:moveTo>
                <a:lnTo>
                  <a:pt x="1252565" y="1187174"/>
                </a:lnTo>
                <a:cubicBezTo>
                  <a:pt x="1288467" y="1187174"/>
                  <a:pt x="1317572" y="1216278"/>
                  <a:pt x="1317572" y="1252180"/>
                </a:cubicBezTo>
                <a:cubicBezTo>
                  <a:pt x="1317572" y="1252312"/>
                  <a:pt x="1317572" y="1252444"/>
                  <a:pt x="1317572" y="1252576"/>
                </a:cubicBezTo>
                <a:cubicBezTo>
                  <a:pt x="1317462" y="1288588"/>
                  <a:pt x="1288181" y="1317692"/>
                  <a:pt x="1252169" y="1317583"/>
                </a:cubicBezTo>
                <a:cubicBezTo>
                  <a:pt x="1216157" y="1317474"/>
                  <a:pt x="1187052" y="1288192"/>
                  <a:pt x="1187162" y="1252180"/>
                </a:cubicBezTo>
                <a:cubicBezTo>
                  <a:pt x="1187272" y="1216169"/>
                  <a:pt x="1216554" y="1187064"/>
                  <a:pt x="1252565" y="1187173"/>
                </a:cubicBezTo>
                <a:close/>
                <a:moveTo>
                  <a:pt x="1252565" y="801689"/>
                </a:moveTo>
                <a:cubicBezTo>
                  <a:pt x="1282808" y="801797"/>
                  <a:pt x="1307266" y="826345"/>
                  <a:pt x="1307266" y="856587"/>
                </a:cubicBezTo>
                <a:cubicBezTo>
                  <a:pt x="1307266" y="856653"/>
                  <a:pt x="1307266" y="856719"/>
                  <a:pt x="1307266" y="856785"/>
                </a:cubicBezTo>
                <a:cubicBezTo>
                  <a:pt x="1307156" y="887105"/>
                  <a:pt x="1282489" y="911595"/>
                  <a:pt x="1252168" y="911486"/>
                </a:cubicBezTo>
                <a:cubicBezTo>
                  <a:pt x="1221849" y="911377"/>
                  <a:pt x="1197358" y="886709"/>
                  <a:pt x="1197468" y="856389"/>
                </a:cubicBezTo>
                <a:cubicBezTo>
                  <a:pt x="1197578" y="826069"/>
                  <a:pt x="1222246" y="801579"/>
                  <a:pt x="1252565" y="801689"/>
                </a:cubicBezTo>
                <a:close/>
                <a:moveTo>
                  <a:pt x="1958726" y="791382"/>
                </a:moveTo>
                <a:cubicBezTo>
                  <a:pt x="1958858" y="791382"/>
                  <a:pt x="1958990" y="791382"/>
                  <a:pt x="1959122" y="791382"/>
                </a:cubicBezTo>
                <a:cubicBezTo>
                  <a:pt x="1995025" y="791492"/>
                  <a:pt x="2024040" y="820685"/>
                  <a:pt x="2023931" y="856587"/>
                </a:cubicBezTo>
                <a:cubicBezTo>
                  <a:pt x="2023931" y="892600"/>
                  <a:pt x="1994737" y="921793"/>
                  <a:pt x="1958726" y="921793"/>
                </a:cubicBezTo>
                <a:cubicBezTo>
                  <a:pt x="1922713" y="921793"/>
                  <a:pt x="1893520" y="892600"/>
                  <a:pt x="1893520" y="856587"/>
                </a:cubicBezTo>
                <a:cubicBezTo>
                  <a:pt x="1893520" y="820576"/>
                  <a:pt x="1922713" y="791382"/>
                  <a:pt x="1958726" y="791382"/>
                </a:cubicBezTo>
                <a:close/>
                <a:moveTo>
                  <a:pt x="1605546" y="791382"/>
                </a:moveTo>
                <a:cubicBezTo>
                  <a:pt x="1605679" y="791382"/>
                  <a:pt x="1605811" y="791382"/>
                  <a:pt x="1605943" y="791382"/>
                </a:cubicBezTo>
                <a:cubicBezTo>
                  <a:pt x="1641846" y="791492"/>
                  <a:pt x="1670861" y="820685"/>
                  <a:pt x="1670752" y="856587"/>
                </a:cubicBezTo>
                <a:cubicBezTo>
                  <a:pt x="1670752" y="892600"/>
                  <a:pt x="1641558" y="921793"/>
                  <a:pt x="1605546" y="921793"/>
                </a:cubicBezTo>
                <a:cubicBezTo>
                  <a:pt x="1569534" y="921793"/>
                  <a:pt x="1540341" y="892600"/>
                  <a:pt x="1540341" y="856587"/>
                </a:cubicBezTo>
                <a:cubicBezTo>
                  <a:pt x="1540341" y="820576"/>
                  <a:pt x="1569534" y="791382"/>
                  <a:pt x="1605546" y="791382"/>
                </a:cubicBezTo>
                <a:close/>
                <a:moveTo>
                  <a:pt x="1605547" y="406890"/>
                </a:moveTo>
                <a:lnTo>
                  <a:pt x="1606543" y="406895"/>
                </a:lnTo>
                <a:cubicBezTo>
                  <a:pt x="1636313" y="407333"/>
                  <a:pt x="1660091" y="431821"/>
                  <a:pt x="1659653" y="461590"/>
                </a:cubicBezTo>
                <a:cubicBezTo>
                  <a:pt x="1659327" y="491238"/>
                  <a:pt x="1635202" y="515101"/>
                  <a:pt x="1605553" y="515103"/>
                </a:cubicBezTo>
                <a:cubicBezTo>
                  <a:pt x="1575671" y="515104"/>
                  <a:pt x="1551445" y="490882"/>
                  <a:pt x="1551443" y="460999"/>
                </a:cubicBezTo>
                <a:cubicBezTo>
                  <a:pt x="1551442" y="438588"/>
                  <a:pt x="1565067" y="419358"/>
                  <a:pt x="1584486" y="411143"/>
                </a:cubicBezTo>
                <a:close/>
                <a:moveTo>
                  <a:pt x="1958725" y="395592"/>
                </a:moveTo>
                <a:cubicBezTo>
                  <a:pt x="1994737" y="395592"/>
                  <a:pt x="2023931" y="424785"/>
                  <a:pt x="2023931" y="460797"/>
                </a:cubicBezTo>
                <a:cubicBezTo>
                  <a:pt x="2023931" y="496809"/>
                  <a:pt x="1994737" y="526003"/>
                  <a:pt x="1958725" y="526003"/>
                </a:cubicBezTo>
                <a:cubicBezTo>
                  <a:pt x="1922714" y="526003"/>
                  <a:pt x="1893520" y="496809"/>
                  <a:pt x="1893520" y="460797"/>
                </a:cubicBezTo>
                <a:cubicBezTo>
                  <a:pt x="1893520" y="424785"/>
                  <a:pt x="1922714" y="395592"/>
                  <a:pt x="1958725" y="395592"/>
                </a:cubicBezTo>
                <a:close/>
                <a:moveTo>
                  <a:pt x="1958725" y="0"/>
                </a:moveTo>
                <a:cubicBezTo>
                  <a:pt x="1994737" y="0"/>
                  <a:pt x="2023931" y="29193"/>
                  <a:pt x="2023931" y="65205"/>
                </a:cubicBezTo>
                <a:cubicBezTo>
                  <a:pt x="2023931" y="101217"/>
                  <a:pt x="1994737" y="130411"/>
                  <a:pt x="1958725" y="130411"/>
                </a:cubicBezTo>
                <a:cubicBezTo>
                  <a:pt x="1922714" y="130411"/>
                  <a:pt x="1893520" y="101217"/>
                  <a:pt x="1893520" y="65205"/>
                </a:cubicBezTo>
                <a:cubicBezTo>
                  <a:pt x="1893520" y="29193"/>
                  <a:pt x="1922714" y="0"/>
                  <a:pt x="1958725" y="0"/>
                </a:cubicBezTo>
                <a:close/>
              </a:path>
            </a:pathLst>
          </a:custGeom>
          <a:solidFill>
            <a:schemeClr val="bg1"/>
          </a:solidFill>
          <a:ln w="29898" cap="flat">
            <a:noFill/>
            <a:prstDash val="solid"/>
            <a:miter/>
          </a:ln>
        </p:spPr>
        <p:txBody>
          <a:bodyPr wrap="square" rtlCol="0" anchor="ctr">
            <a:noAutofit/>
          </a:bodyPr>
          <a:lstStyle/>
          <a:p>
            <a:endParaRPr lang="en-US" sz="1800"/>
          </a:p>
        </p:txBody>
      </p:sp>
    </p:spTree>
    <p:extLst>
      <p:ext uri="{BB962C8B-B14F-4D97-AF65-F5344CB8AC3E}">
        <p14:creationId xmlns:p14="http://schemas.microsoft.com/office/powerpoint/2010/main" val="248125178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3-Column Big Text, Small Text – White">
    <p:bg>
      <p:bgPr>
        <a:solidFill>
          <a:schemeClr val="bg1"/>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6"/>
            <a:ext cx="2576512" cy="731839"/>
          </a:xfrm>
          <a:prstGeom prst="rect">
            <a:avLst/>
          </a:prstGeom>
        </p:spPr>
        <p:txBody>
          <a:bodyPr anchor="ctr">
            <a:normAutofit/>
          </a:bodyPr>
          <a:lstStyle>
            <a:lvl1pPr>
              <a:lnSpc>
                <a:spcPct val="80000"/>
              </a:lnSpc>
              <a:defRPr sz="4000" baseline="0">
                <a:solidFill>
                  <a:schemeClr val="tx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9" y="2051050"/>
            <a:ext cx="2695575" cy="731838"/>
          </a:xfrm>
          <a:prstGeom prst="rect">
            <a:avLst/>
          </a:prstGeom>
        </p:spPr>
        <p:txBody>
          <a:bodyPr/>
          <a:lstStyle>
            <a:lvl1pPr marL="0" indent="0">
              <a:buNone/>
              <a:defRPr sz="4000" baseline="0">
                <a:solidFill>
                  <a:schemeClr val="tx1"/>
                </a:solidFill>
              </a:defRPr>
            </a:lvl1pPr>
          </a:lstStyle>
          <a:p>
            <a:pPr lvl="0"/>
            <a:r>
              <a:rPr lang="en-US"/>
              <a:t>##</a:t>
            </a:r>
          </a:p>
        </p:txBody>
      </p:sp>
      <p:sp>
        <p:nvSpPr>
          <p:cNvPr id="8" name="Text Placeholder 14">
            <a:extLst>
              <a:ext uri="{FF2B5EF4-FFF2-40B4-BE49-F238E27FC236}">
                <a16:creationId xmlns:a16="http://schemas.microsoft.com/office/drawing/2014/main" id="{D1FCB566-ADF6-AB48-8D05-7BE4EFEEAAC8}"/>
              </a:ext>
            </a:extLst>
          </p:cNvPr>
          <p:cNvSpPr>
            <a:spLocks noGrp="1"/>
          </p:cNvSpPr>
          <p:nvPr>
            <p:ph type="body" sz="quarter" idx="12" hasCustomPrompt="1"/>
          </p:nvPr>
        </p:nvSpPr>
        <p:spPr>
          <a:xfrm>
            <a:off x="542926" y="2905126"/>
            <a:ext cx="2576513" cy="1679575"/>
          </a:xfrm>
          <a:prstGeom prst="rect">
            <a:avLst/>
          </a:prstGeo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16">
            <a:extLst>
              <a:ext uri="{FF2B5EF4-FFF2-40B4-BE49-F238E27FC236}">
                <a16:creationId xmlns:a16="http://schemas.microsoft.com/office/drawing/2014/main" id="{F8F22DCF-40AA-BB45-967D-D84D73528A5D}"/>
              </a:ext>
            </a:extLst>
          </p:cNvPr>
          <p:cNvSpPr>
            <a:spLocks noGrp="1"/>
          </p:cNvSpPr>
          <p:nvPr>
            <p:ph type="body" sz="quarter" idx="13" hasCustomPrompt="1"/>
          </p:nvPr>
        </p:nvSpPr>
        <p:spPr>
          <a:xfrm>
            <a:off x="3414714" y="2905126"/>
            <a:ext cx="2576512" cy="1679575"/>
          </a:xfrm>
          <a:prstGeom prst="rect">
            <a:avLst/>
          </a:prstGeom>
        </p:spPr>
        <p:txBody>
          <a:bodyPr/>
          <a:lstStyle>
            <a:lvl1pPr marL="169859" indent="-169859">
              <a:buClr>
                <a:schemeClr val="accent2"/>
              </a:buClr>
              <a:defRPr lang="en-US" sz="1800" kern="1200" dirty="0">
                <a:solidFill>
                  <a:schemeClr val="tx1"/>
                </a:solidFill>
                <a:latin typeface="+mn-lt"/>
                <a:ea typeface="ＭＳ Ｐゴシック" charset="0"/>
                <a:cs typeface="CiscoSans"/>
              </a:defRPr>
            </a:lvl1pPr>
            <a:lvl2pPr marL="358766" indent="-187320">
              <a:buClr>
                <a:schemeClr val="accent2"/>
              </a:buClr>
              <a:defRPr lang="en-US" sz="1600" kern="1200" dirty="0">
                <a:solidFill>
                  <a:schemeClr val="tx1"/>
                </a:solidFill>
                <a:latin typeface="+mn-lt"/>
                <a:ea typeface="ＭＳ Ｐゴシック" charset="0"/>
                <a:cs typeface="CiscoSans"/>
              </a:defRPr>
            </a:lvl2pPr>
            <a:lvl3pPr marL="573073" indent="-285743">
              <a:buClr>
                <a:schemeClr val="accent2"/>
              </a:buClr>
              <a:defRPr lang="en-US" sz="1400" kern="1200" dirty="0">
                <a:solidFill>
                  <a:schemeClr val="tx1"/>
                </a:solidFill>
                <a:latin typeface="+mn-lt"/>
                <a:ea typeface="ＭＳ Ｐゴシック" charset="0"/>
                <a:cs typeface="CiscoSans"/>
              </a:defRPr>
            </a:lvl3pPr>
            <a:lvl4pPr marL="573074" indent="-171446">
              <a:buClr>
                <a:schemeClr val="accent2"/>
              </a:buClr>
              <a:defRPr lang="en-US" sz="1200" kern="1200" dirty="0">
                <a:solidFill>
                  <a:schemeClr val="tx1"/>
                </a:solidFill>
                <a:latin typeface="+mn-lt"/>
                <a:ea typeface="ＭＳ Ｐゴシック" charset="0"/>
                <a:cs typeface="CiscoSans"/>
              </a:defRPr>
            </a:lvl4pPr>
            <a:lvl5pPr marL="687370" indent="-171446">
              <a:buClr>
                <a:schemeClr val="accent2"/>
              </a:buClr>
              <a:defRPr lang="en-US" sz="1100" kern="1200" dirty="0">
                <a:solidFill>
                  <a:schemeClr val="tx1"/>
                </a:solidFill>
                <a:latin typeface="+mn-lt"/>
                <a:ea typeface="ＭＳ Ｐゴシック" charset="0"/>
                <a:cs typeface="CiscoSans"/>
              </a:defRPr>
            </a:lvl5pPr>
          </a:lstStyle>
          <a:p>
            <a:pPr marL="169859" lvl="0" indent="-169859" algn="l" defTabSz="684196"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1" lvl="1" indent="-115885" algn="l" defTabSz="684196" rtl="0" eaLnBrk="1" fontAlgn="base" hangingPunct="1">
              <a:lnSpc>
                <a:spcPct val="95000"/>
              </a:lnSpc>
              <a:spcBef>
                <a:spcPts val="600"/>
              </a:spcBef>
              <a:spcAft>
                <a:spcPct val="0"/>
              </a:spcAft>
              <a:buClr>
                <a:schemeClr val="accent2"/>
              </a:buClr>
              <a:buSzPct val="80000"/>
              <a:buFont typeface="System Font Regular"/>
              <a:buChar char="-"/>
              <a:tabLst>
                <a:tab pos="339716" algn="l"/>
              </a:tabLst>
            </a:pPr>
            <a:r>
              <a:rPr lang="en-US"/>
              <a:t>Second level</a:t>
            </a:r>
          </a:p>
          <a:p>
            <a:pPr marL="400040" lvl="2" indent="-112710" algn="l" defTabSz="684196"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25" lvl="3" indent="-114297" algn="l" defTabSz="684196"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09" lvl="4" indent="-115885" algn="l" defTabSz="684196"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10" name="Text Placeholder 18">
            <a:extLst>
              <a:ext uri="{FF2B5EF4-FFF2-40B4-BE49-F238E27FC236}">
                <a16:creationId xmlns:a16="http://schemas.microsoft.com/office/drawing/2014/main" id="{365CB7F7-C8B7-E647-A291-1E817E77E173}"/>
              </a:ext>
            </a:extLst>
          </p:cNvPr>
          <p:cNvSpPr>
            <a:spLocks noGrp="1"/>
          </p:cNvSpPr>
          <p:nvPr>
            <p:ph type="body" sz="quarter" idx="14" hasCustomPrompt="1"/>
          </p:nvPr>
        </p:nvSpPr>
        <p:spPr>
          <a:xfrm>
            <a:off x="6256339" y="2905125"/>
            <a:ext cx="2695575" cy="1679574"/>
          </a:xfrm>
          <a:prstGeom prst="rect">
            <a:avLst/>
          </a:prstGeom>
        </p:spPr>
        <p:txBody>
          <a:bodyPr/>
          <a:lstStyle>
            <a:lvl1pPr marL="169859" indent="-169859">
              <a:buClr>
                <a:schemeClr val="accent2"/>
              </a:buClr>
              <a:defRPr lang="en-US" sz="1800" kern="1200" dirty="0">
                <a:solidFill>
                  <a:schemeClr val="tx1"/>
                </a:solidFill>
                <a:latin typeface="+mn-lt"/>
                <a:ea typeface="ＭＳ Ｐゴシック" charset="0"/>
                <a:cs typeface="CiscoSans"/>
              </a:defRPr>
            </a:lvl1pPr>
            <a:lvl2pPr marL="358766" indent="-187320">
              <a:buClr>
                <a:schemeClr val="accent2"/>
              </a:buClr>
              <a:defRPr lang="en-US" sz="1600" kern="1200" dirty="0">
                <a:solidFill>
                  <a:schemeClr val="tx1"/>
                </a:solidFill>
                <a:latin typeface="+mn-lt"/>
                <a:ea typeface="ＭＳ Ｐゴシック" charset="0"/>
                <a:cs typeface="CiscoSans"/>
              </a:defRPr>
            </a:lvl2pPr>
            <a:lvl3pPr marL="573073" indent="-285743">
              <a:buClr>
                <a:schemeClr val="accent2"/>
              </a:buClr>
              <a:defRPr lang="en-US" sz="1400" kern="1200" dirty="0">
                <a:solidFill>
                  <a:schemeClr val="tx1"/>
                </a:solidFill>
                <a:latin typeface="+mn-lt"/>
                <a:ea typeface="ＭＳ Ｐゴシック" charset="0"/>
                <a:cs typeface="CiscoSans"/>
              </a:defRPr>
            </a:lvl3pPr>
            <a:lvl4pPr marL="573074" indent="-171446">
              <a:buClr>
                <a:schemeClr val="accent2"/>
              </a:buClr>
              <a:defRPr lang="en-US" sz="1200" kern="1200" dirty="0">
                <a:solidFill>
                  <a:schemeClr val="tx1"/>
                </a:solidFill>
                <a:latin typeface="+mn-lt"/>
                <a:ea typeface="ＭＳ Ｐゴシック" charset="0"/>
                <a:cs typeface="CiscoSans"/>
              </a:defRPr>
            </a:lvl4pPr>
            <a:lvl5pPr marL="687370" indent="-171446">
              <a:buClr>
                <a:schemeClr val="accent2"/>
              </a:buClr>
              <a:defRPr lang="en-US" sz="1100" kern="1200" dirty="0">
                <a:solidFill>
                  <a:schemeClr val="tx1"/>
                </a:solidFill>
                <a:latin typeface="+mn-lt"/>
                <a:ea typeface="ＭＳ Ｐゴシック" charset="0"/>
                <a:cs typeface="CiscoSans"/>
              </a:defRPr>
            </a:lvl5pPr>
          </a:lstStyle>
          <a:p>
            <a:pPr marL="169859" lvl="0" indent="-169859" algn="l" defTabSz="684196" rtl="0" eaLnBrk="1" fontAlgn="base" hangingPunct="1">
              <a:lnSpc>
                <a:spcPct val="95000"/>
              </a:lnSpc>
              <a:spcBef>
                <a:spcPts val="1075"/>
              </a:spcBef>
              <a:spcAft>
                <a:spcPct val="0"/>
              </a:spcAft>
              <a:buClr>
                <a:schemeClr val="accent2"/>
              </a:buClr>
              <a:buSzPct val="80000"/>
              <a:buFont typeface="Arial" charset="0"/>
              <a:buChar char="•"/>
            </a:pPr>
            <a:r>
              <a:rPr lang="en-US"/>
              <a:t>First level</a:t>
            </a:r>
          </a:p>
          <a:p>
            <a:pPr marL="287331" lvl="1" indent="-115885" algn="l" defTabSz="684196" rtl="0" eaLnBrk="1" fontAlgn="base" hangingPunct="1">
              <a:lnSpc>
                <a:spcPct val="95000"/>
              </a:lnSpc>
              <a:spcBef>
                <a:spcPts val="600"/>
              </a:spcBef>
              <a:spcAft>
                <a:spcPct val="0"/>
              </a:spcAft>
              <a:buClr>
                <a:schemeClr val="accent2"/>
              </a:buClr>
              <a:buSzPct val="80000"/>
              <a:buFont typeface="System Font Regular"/>
              <a:buChar char="-"/>
              <a:tabLst>
                <a:tab pos="339716" algn="l"/>
              </a:tabLst>
            </a:pPr>
            <a:r>
              <a:rPr lang="en-US"/>
              <a:t>Second level</a:t>
            </a:r>
          </a:p>
          <a:p>
            <a:pPr marL="400040" lvl="2" indent="-112710" algn="l" defTabSz="684196" rtl="0" eaLnBrk="1" fontAlgn="base" hangingPunct="1">
              <a:lnSpc>
                <a:spcPct val="95000"/>
              </a:lnSpc>
              <a:spcBef>
                <a:spcPts val="625"/>
              </a:spcBef>
              <a:spcAft>
                <a:spcPct val="0"/>
              </a:spcAft>
              <a:buClr>
                <a:schemeClr val="accent2"/>
              </a:buClr>
              <a:buSzPct val="80000"/>
              <a:buFont typeface="Arial" charset="0"/>
              <a:buChar char="•"/>
              <a:tabLst/>
            </a:pPr>
            <a:r>
              <a:rPr lang="en-US"/>
              <a:t>Third level</a:t>
            </a:r>
          </a:p>
          <a:p>
            <a:pPr marL="515925" lvl="3" indent="-114297" algn="l" defTabSz="684196" rtl="0" eaLnBrk="1" fontAlgn="base" hangingPunct="1">
              <a:lnSpc>
                <a:spcPct val="95000"/>
              </a:lnSpc>
              <a:spcBef>
                <a:spcPts val="625"/>
              </a:spcBef>
              <a:spcAft>
                <a:spcPct val="0"/>
              </a:spcAft>
              <a:buClr>
                <a:schemeClr val="accent2"/>
              </a:buClr>
              <a:buSzPct val="80000"/>
              <a:buFont typeface="System Font Regular"/>
              <a:buChar char="-"/>
              <a:tabLst/>
            </a:pPr>
            <a:r>
              <a:rPr lang="en-US"/>
              <a:t>Fourth level</a:t>
            </a:r>
          </a:p>
          <a:p>
            <a:pPr marL="631809" lvl="4" indent="-115885" algn="l" defTabSz="684196" rtl="0" eaLnBrk="1" fontAlgn="base" hangingPunct="1">
              <a:lnSpc>
                <a:spcPct val="95000"/>
              </a:lnSpc>
              <a:spcBef>
                <a:spcPts val="625"/>
              </a:spcBef>
              <a:spcAft>
                <a:spcPct val="0"/>
              </a:spcAft>
              <a:buClr>
                <a:schemeClr val="accent2"/>
              </a:buClr>
              <a:buSzPct val="80000"/>
              <a:buFont typeface="Arial" charset="0"/>
              <a:buChar char="•"/>
              <a:tabLst/>
            </a:pPr>
            <a:r>
              <a:rPr lang="en-US"/>
              <a:t>Fifth level</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tx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Tree>
    <p:extLst>
      <p:ext uri="{BB962C8B-B14F-4D97-AF65-F5344CB8AC3E}">
        <p14:creationId xmlns:p14="http://schemas.microsoft.com/office/powerpoint/2010/main" val="25550539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3-Column Big Text, Small Text – Green">
    <p:bg>
      <p:bgPr>
        <a:solidFill>
          <a:schemeClr val="tx2"/>
        </a:solidFill>
        <a:effectLst/>
      </p:bgPr>
    </p:bg>
    <p:spTree>
      <p:nvGrpSpPr>
        <p:cNvPr id="1" name=""/>
        <p:cNvGrpSpPr/>
        <p:nvPr/>
      </p:nvGrpSpPr>
      <p:grpSpPr>
        <a:xfrm>
          <a:off x="0" y="0"/>
          <a:ext cx="0" cy="0"/>
          <a:chOff x="0" y="0"/>
          <a:chExt cx="0" cy="0"/>
        </a:xfrm>
      </p:grpSpPr>
      <p:sp>
        <p:nvSpPr>
          <p:cNvPr id="5" name="Title Text">
            <a:extLst>
              <a:ext uri="{FF2B5EF4-FFF2-40B4-BE49-F238E27FC236}">
                <a16:creationId xmlns:a16="http://schemas.microsoft.com/office/drawing/2014/main" id="{58C69AF3-9B77-CB41-80AD-5756A4F491C5}"/>
              </a:ext>
            </a:extLst>
          </p:cNvPr>
          <p:cNvSpPr txBox="1">
            <a:spLocks noGrp="1"/>
          </p:cNvSpPr>
          <p:nvPr>
            <p:ph type="title" hasCustomPrompt="1"/>
          </p:nvPr>
        </p:nvSpPr>
        <p:spPr>
          <a:xfrm>
            <a:off x="542193" y="2050926"/>
            <a:ext cx="2576512" cy="731839"/>
          </a:xfrm>
          <a:prstGeom prst="rect">
            <a:avLst/>
          </a:prstGeom>
        </p:spPr>
        <p:txBody>
          <a:bodyPr anchor="ctr">
            <a:normAutofit/>
          </a:bodyPr>
          <a:lstStyle>
            <a:lvl1pPr>
              <a:lnSpc>
                <a:spcPct val="80000"/>
              </a:lnSpc>
              <a:defRPr sz="4000" baseline="0">
                <a:solidFill>
                  <a:schemeClr val="bg1"/>
                </a:solidFill>
              </a:defRPr>
            </a:lvl1pPr>
          </a:lstStyle>
          <a:p>
            <a:r>
              <a:rPr lang="en-US"/>
              <a:t>##</a:t>
            </a:r>
            <a:endParaRPr/>
          </a:p>
        </p:txBody>
      </p:sp>
      <p:sp>
        <p:nvSpPr>
          <p:cNvPr id="7" name="Text Placeholder 12">
            <a:extLst>
              <a:ext uri="{FF2B5EF4-FFF2-40B4-BE49-F238E27FC236}">
                <a16:creationId xmlns:a16="http://schemas.microsoft.com/office/drawing/2014/main" id="{678850EE-3C15-5541-97EC-04A275D0478D}"/>
              </a:ext>
            </a:extLst>
          </p:cNvPr>
          <p:cNvSpPr>
            <a:spLocks noGrp="1"/>
          </p:cNvSpPr>
          <p:nvPr>
            <p:ph type="body" sz="quarter" idx="11" hasCustomPrompt="1"/>
          </p:nvPr>
        </p:nvSpPr>
        <p:spPr>
          <a:xfrm>
            <a:off x="6256339" y="2051050"/>
            <a:ext cx="2695575" cy="731838"/>
          </a:xfrm>
          <a:prstGeom prst="rect">
            <a:avLst/>
          </a:prstGeom>
        </p:spPr>
        <p:txBody>
          <a:bodyPr/>
          <a:lstStyle>
            <a:lvl1pPr marL="0" indent="0">
              <a:buNone/>
              <a:defRPr sz="4000" baseline="0">
                <a:solidFill>
                  <a:schemeClr val="bg1"/>
                </a:solidFill>
              </a:defRPr>
            </a:lvl1pPr>
          </a:lstStyle>
          <a:p>
            <a:pPr lvl="0"/>
            <a:r>
              <a:rPr lang="en-US"/>
              <a:t>##</a:t>
            </a:r>
          </a:p>
        </p:txBody>
      </p:sp>
      <p:sp>
        <p:nvSpPr>
          <p:cNvPr id="3" name="Text Placeholder 2">
            <a:extLst>
              <a:ext uri="{FF2B5EF4-FFF2-40B4-BE49-F238E27FC236}">
                <a16:creationId xmlns:a16="http://schemas.microsoft.com/office/drawing/2014/main" id="{F3D4912F-5A13-2447-9CBF-DDC7997C5339}"/>
              </a:ext>
            </a:extLst>
          </p:cNvPr>
          <p:cNvSpPr>
            <a:spLocks noGrp="1"/>
          </p:cNvSpPr>
          <p:nvPr>
            <p:ph type="body" sz="quarter" idx="15" hasCustomPrompt="1"/>
          </p:nvPr>
        </p:nvSpPr>
        <p:spPr>
          <a:xfrm>
            <a:off x="3414713" y="2050925"/>
            <a:ext cx="2578608" cy="7315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normAutofit/>
          </a:bodyPr>
          <a:lstStyle>
            <a:lvl1pPr marL="0" indent="0">
              <a:buFontTx/>
              <a:buNone/>
              <a:defRPr lang="en-US" sz="4000" b="0" i="0" u="none" baseline="0" smtClean="0">
                <a:solidFill>
                  <a:schemeClr val="bg1"/>
                </a:solidFill>
                <a:latin typeface="+mj-lt"/>
                <a:ea typeface="CiscoSansTT Thin" charset="0"/>
                <a:cs typeface="CiscoSansTT Thin" charset="0"/>
              </a:defRPr>
            </a:lvl1pPr>
            <a:lvl2pPr>
              <a:defRPr lang="en-US" sz="3200" smtClean="0">
                <a:solidFill>
                  <a:srgbClr val="676767"/>
                </a:solidFill>
                <a:latin typeface="Arial" charset="0"/>
              </a:defRPr>
            </a:lvl2pPr>
            <a:lvl3pPr>
              <a:defRPr lang="en-US" sz="3200" smtClean="0">
                <a:solidFill>
                  <a:srgbClr val="676767"/>
                </a:solidFill>
                <a:latin typeface="Arial" charset="0"/>
              </a:defRPr>
            </a:lvl3pPr>
            <a:lvl4pPr>
              <a:defRPr lang="en-US" sz="3200" smtClean="0">
                <a:solidFill>
                  <a:srgbClr val="676767"/>
                </a:solidFill>
                <a:latin typeface="Arial" charset="0"/>
              </a:defRPr>
            </a:lvl4pPr>
            <a:lvl5pPr>
              <a:defRPr lang="en-US" sz="3200">
                <a:solidFill>
                  <a:srgbClr val="676767"/>
                </a:solidFill>
                <a:latin typeface="Arial" charset="0"/>
              </a:defRPr>
            </a:lvl5pPr>
          </a:lstStyle>
          <a:p>
            <a:pPr lvl="0">
              <a:lnSpc>
                <a:spcPct val="80000"/>
              </a:lnSpc>
              <a:spcBef>
                <a:spcPct val="0"/>
              </a:spcBef>
            </a:pPr>
            <a:r>
              <a:rPr lang="en-US"/>
              <a:t>##</a:t>
            </a:r>
          </a:p>
        </p:txBody>
      </p:sp>
      <p:sp>
        <p:nvSpPr>
          <p:cNvPr id="19" name="Rectangle 7">
            <a:extLst>
              <a:ext uri="{FF2B5EF4-FFF2-40B4-BE49-F238E27FC236}">
                <a16:creationId xmlns:a16="http://schemas.microsoft.com/office/drawing/2014/main" id="{FC36E454-11A2-D048-9654-66169FE73D5F}"/>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1">
                    <a:alpha val="50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1">
                  <a:alpha val="50000"/>
                </a:schemeClr>
              </a:solidFill>
              <a:latin typeface="+mn-lt"/>
              <a:ea typeface="+mn-ea"/>
              <a:cs typeface="CiscoSans Thin"/>
            </a:endParaRPr>
          </a:p>
        </p:txBody>
      </p:sp>
      <p:grpSp>
        <p:nvGrpSpPr>
          <p:cNvPr id="20" name="Group 19">
            <a:extLst>
              <a:ext uri="{FF2B5EF4-FFF2-40B4-BE49-F238E27FC236}">
                <a16:creationId xmlns:a16="http://schemas.microsoft.com/office/drawing/2014/main" id="{16640192-158F-F347-A27E-083FE16CB367}"/>
              </a:ext>
            </a:extLst>
          </p:cNvPr>
          <p:cNvGrpSpPr/>
          <p:nvPr userDrawn="1"/>
        </p:nvGrpSpPr>
        <p:grpSpPr>
          <a:xfrm>
            <a:off x="528764" y="4712482"/>
            <a:ext cx="921665" cy="191516"/>
            <a:chOff x="528763" y="4734321"/>
            <a:chExt cx="816561" cy="169676"/>
          </a:xfrm>
          <a:solidFill>
            <a:schemeClr val="bg1"/>
          </a:solidFill>
        </p:grpSpPr>
        <p:grpSp>
          <p:nvGrpSpPr>
            <p:cNvPr id="21" name="Graphic 2">
              <a:extLst>
                <a:ext uri="{FF2B5EF4-FFF2-40B4-BE49-F238E27FC236}">
                  <a16:creationId xmlns:a16="http://schemas.microsoft.com/office/drawing/2014/main" id="{608A3145-0BBF-2346-AEE8-B68BCDAACD04}"/>
                </a:ext>
              </a:extLst>
            </p:cNvPr>
            <p:cNvGrpSpPr/>
            <p:nvPr userDrawn="1"/>
          </p:nvGrpSpPr>
          <p:grpSpPr>
            <a:xfrm>
              <a:off x="896434" y="4795886"/>
              <a:ext cx="448890" cy="108111"/>
              <a:chOff x="4433187" y="1865375"/>
              <a:chExt cx="2298157" cy="553493"/>
            </a:xfrm>
            <a:grpFill/>
          </p:grpSpPr>
          <p:sp>
            <p:nvSpPr>
              <p:cNvPr id="23" name="Freeform 22">
                <a:extLst>
                  <a:ext uri="{FF2B5EF4-FFF2-40B4-BE49-F238E27FC236}">
                    <a16:creationId xmlns:a16="http://schemas.microsoft.com/office/drawing/2014/main" id="{F5DA23B2-074C-1D4F-9423-41E7D8533CCD}"/>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C89BB6E3-68B4-F74D-9660-AB5A26D4E391}"/>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5" name="Freeform 34">
                <a:extLst>
                  <a:ext uri="{FF2B5EF4-FFF2-40B4-BE49-F238E27FC236}">
                    <a16:creationId xmlns:a16="http://schemas.microsoft.com/office/drawing/2014/main" id="{E90E2323-5F45-A44A-AD72-AC92C87313BB}"/>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7" name="Freeform 36">
                <a:extLst>
                  <a:ext uri="{FF2B5EF4-FFF2-40B4-BE49-F238E27FC236}">
                    <a16:creationId xmlns:a16="http://schemas.microsoft.com/office/drawing/2014/main" id="{3E1005AF-D46E-2545-9FEF-16AA507425C8}"/>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38" name="Freeform 37">
                <a:extLst>
                  <a:ext uri="{FF2B5EF4-FFF2-40B4-BE49-F238E27FC236}">
                    <a16:creationId xmlns:a16="http://schemas.microsoft.com/office/drawing/2014/main" id="{80EC794F-06E5-C440-B28E-06EFCF42AC73}"/>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39" name="Freeform 38">
                <a:extLst>
                  <a:ext uri="{FF2B5EF4-FFF2-40B4-BE49-F238E27FC236}">
                    <a16:creationId xmlns:a16="http://schemas.microsoft.com/office/drawing/2014/main" id="{615B9127-EF05-FB47-8969-414A1766378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2" name="Freeform 6">
              <a:extLst>
                <a:ext uri="{FF2B5EF4-FFF2-40B4-BE49-F238E27FC236}">
                  <a16:creationId xmlns:a16="http://schemas.microsoft.com/office/drawing/2014/main" id="{4E043034-EC43-2241-8896-2BA86CD7995D}"/>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
        <p:nvSpPr>
          <p:cNvPr id="40" name="Rectangle 4">
            <a:extLst>
              <a:ext uri="{FF2B5EF4-FFF2-40B4-BE49-F238E27FC236}">
                <a16:creationId xmlns:a16="http://schemas.microsoft.com/office/drawing/2014/main" id="{A424C76B-B20A-BF40-BBAC-285AD907AC9D}"/>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
        <p:nvSpPr>
          <p:cNvPr id="42" name="Text Placeholder 16">
            <a:extLst>
              <a:ext uri="{FF2B5EF4-FFF2-40B4-BE49-F238E27FC236}">
                <a16:creationId xmlns:a16="http://schemas.microsoft.com/office/drawing/2014/main" id="{E2AD7E11-94E1-984F-8CCD-770A102CD3C6}"/>
              </a:ext>
            </a:extLst>
          </p:cNvPr>
          <p:cNvSpPr>
            <a:spLocks noGrp="1"/>
          </p:cNvSpPr>
          <p:nvPr>
            <p:ph type="body" sz="quarter" idx="13" hasCustomPrompt="1"/>
          </p:nvPr>
        </p:nvSpPr>
        <p:spPr>
          <a:xfrm>
            <a:off x="3414714" y="2905126"/>
            <a:ext cx="2576512"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3" name="Text Placeholder 18">
            <a:extLst>
              <a:ext uri="{FF2B5EF4-FFF2-40B4-BE49-F238E27FC236}">
                <a16:creationId xmlns:a16="http://schemas.microsoft.com/office/drawing/2014/main" id="{3949089B-9CE0-8C42-A85F-57D2D52A8E5E}"/>
              </a:ext>
            </a:extLst>
          </p:cNvPr>
          <p:cNvSpPr>
            <a:spLocks noGrp="1"/>
          </p:cNvSpPr>
          <p:nvPr>
            <p:ph type="body" sz="quarter" idx="14" hasCustomPrompt="1"/>
          </p:nvPr>
        </p:nvSpPr>
        <p:spPr>
          <a:xfrm>
            <a:off x="6256339" y="2905125"/>
            <a:ext cx="2695575" cy="1679574"/>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44" name="Text Placeholder 14">
            <a:extLst>
              <a:ext uri="{FF2B5EF4-FFF2-40B4-BE49-F238E27FC236}">
                <a16:creationId xmlns:a16="http://schemas.microsoft.com/office/drawing/2014/main" id="{3819789C-6A88-6F40-AFC6-E402BF814A68}"/>
              </a:ext>
            </a:extLst>
          </p:cNvPr>
          <p:cNvSpPr>
            <a:spLocks noGrp="1"/>
          </p:cNvSpPr>
          <p:nvPr>
            <p:ph type="body" sz="quarter" idx="12" hasCustomPrompt="1"/>
          </p:nvPr>
        </p:nvSpPr>
        <p:spPr>
          <a:xfrm>
            <a:off x="542926" y="2905126"/>
            <a:ext cx="2576513" cy="1679575"/>
          </a:xfrm>
          <a:prstGeom prst="rect">
            <a:avLst/>
          </a:prstGeom>
        </p:spPr>
        <p:txBody>
          <a:bodyPr vert="horz" lIns="91440" tIns="45720" rIns="91440" bIns="45720" rtlCol="0">
            <a:noAutofit/>
          </a:bodyPr>
          <a:lstStyle>
            <a:lvl1pPr>
              <a:buClr>
                <a:schemeClr val="tx1"/>
              </a:buClr>
              <a:defRPr lang="en-US" dirty="0">
                <a:solidFill>
                  <a:schemeClr val="bg1"/>
                </a:solidFill>
              </a:defRPr>
            </a:lvl1pPr>
            <a:lvl2pPr>
              <a:buClr>
                <a:schemeClr val="tx1"/>
              </a:buClr>
              <a:defRPr lang="en-US" dirty="0">
                <a:solidFill>
                  <a:schemeClr val="bg1"/>
                </a:solidFill>
              </a:defRPr>
            </a:lvl2pPr>
            <a:lvl3pPr>
              <a:buClr>
                <a:schemeClr val="tx1"/>
              </a:buClr>
              <a:defRPr lang="en-US" dirty="0">
                <a:solidFill>
                  <a:schemeClr val="bg1"/>
                </a:solidFill>
              </a:defRPr>
            </a:lvl3pPr>
            <a:lvl4pPr>
              <a:buClr>
                <a:schemeClr val="tx1"/>
              </a:buClr>
              <a:defRPr lang="en-US" dirty="0">
                <a:solidFill>
                  <a:schemeClr val="bg1"/>
                </a:solidFill>
              </a:defRPr>
            </a:lvl4pPr>
            <a:lvl5pPr>
              <a:buClr>
                <a:schemeClr val="tx1"/>
              </a:buClr>
              <a:defRPr lang="en-US" dirty="0">
                <a:solidFill>
                  <a:schemeClr val="bg1"/>
                </a:solidFill>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39797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83" name="Freeform 82">
            <a:extLst>
              <a:ext uri="{FF2B5EF4-FFF2-40B4-BE49-F238E27FC236}">
                <a16:creationId xmlns:a16="http://schemas.microsoft.com/office/drawing/2014/main" id="{B3B836F2-FBAA-0D4A-BB78-337068276E90}"/>
              </a:ext>
            </a:extLst>
          </p:cNvPr>
          <p:cNvSpPr/>
          <p:nvPr userDrawn="1"/>
        </p:nvSpPr>
        <p:spPr>
          <a:xfrm>
            <a:off x="0" y="861326"/>
            <a:ext cx="1628272" cy="2260939"/>
          </a:xfrm>
          <a:custGeom>
            <a:avLst/>
            <a:gdLst>
              <a:gd name="connsiteX0" fmla="*/ 1399180 w 1628272"/>
              <a:gd name="connsiteY0" fmla="*/ 1826799 h 2260939"/>
              <a:gd name="connsiteX1" fmla="*/ 1413256 w 1628272"/>
              <a:gd name="connsiteY1" fmla="*/ 1826799 h 2260939"/>
              <a:gd name="connsiteX2" fmla="*/ 1413314 w 1628272"/>
              <a:gd name="connsiteY2" fmla="*/ 1841018 h 2260939"/>
              <a:gd name="connsiteX3" fmla="*/ 1413256 w 1628272"/>
              <a:gd name="connsiteY3" fmla="*/ 1841076 h 2260939"/>
              <a:gd name="connsiteX4" fmla="*/ 1182010 w 1628272"/>
              <a:gd name="connsiteY4" fmla="*/ 2072322 h 2260939"/>
              <a:gd name="connsiteX5" fmla="*/ 1174771 w 1628272"/>
              <a:gd name="connsiteY5" fmla="*/ 2075338 h 2260939"/>
              <a:gd name="connsiteX6" fmla="*/ 1167733 w 1628272"/>
              <a:gd name="connsiteY6" fmla="*/ 2072322 h 2260939"/>
              <a:gd name="connsiteX7" fmla="*/ 1167675 w 1628272"/>
              <a:gd name="connsiteY7" fmla="*/ 2058103 h 2260939"/>
              <a:gd name="connsiteX8" fmla="*/ 1167733 w 1628272"/>
              <a:gd name="connsiteY8" fmla="*/ 2058045 h 2260939"/>
              <a:gd name="connsiteX9" fmla="*/ 1523391 w 1628272"/>
              <a:gd name="connsiteY9" fmla="*/ 1564528 h 2260939"/>
              <a:gd name="connsiteX10" fmla="*/ 1523449 w 1628272"/>
              <a:gd name="connsiteY10" fmla="*/ 1564586 h 2260939"/>
              <a:gd name="connsiteX11" fmla="*/ 1523449 w 1628272"/>
              <a:gd name="connsiteY11" fmla="*/ 1578863 h 2260939"/>
              <a:gd name="connsiteX12" fmla="*/ 927438 w 1628272"/>
              <a:gd name="connsiteY12" fmla="*/ 2174472 h 2260939"/>
              <a:gd name="connsiteX13" fmla="*/ 920199 w 1628272"/>
              <a:gd name="connsiteY13" fmla="*/ 2177488 h 2260939"/>
              <a:gd name="connsiteX14" fmla="*/ 910287 w 1628272"/>
              <a:gd name="connsiteY14" fmla="*/ 2167294 h 2260939"/>
              <a:gd name="connsiteX15" fmla="*/ 913161 w 1628272"/>
              <a:gd name="connsiteY15" fmla="*/ 2160396 h 2260939"/>
              <a:gd name="connsiteX16" fmla="*/ 1509172 w 1628272"/>
              <a:gd name="connsiteY16" fmla="*/ 1564586 h 2260939"/>
              <a:gd name="connsiteX17" fmla="*/ 1523391 w 1628272"/>
              <a:gd name="connsiteY17" fmla="*/ 1564528 h 2260939"/>
              <a:gd name="connsiteX18" fmla="*/ 1601010 w 1628272"/>
              <a:gd name="connsiteY18" fmla="*/ 1334690 h 2260939"/>
              <a:gd name="connsiteX19" fmla="*/ 1601068 w 1628272"/>
              <a:gd name="connsiteY19" fmla="*/ 1334748 h 2260939"/>
              <a:gd name="connsiteX20" fmla="*/ 1601068 w 1628272"/>
              <a:gd name="connsiteY20" fmla="*/ 1348824 h 2260939"/>
              <a:gd name="connsiteX21" fmla="*/ 709866 w 1628272"/>
              <a:gd name="connsiteY21" fmla="*/ 2239824 h 2260939"/>
              <a:gd name="connsiteX22" fmla="*/ 702828 w 1628272"/>
              <a:gd name="connsiteY22" fmla="*/ 2242841 h 2260939"/>
              <a:gd name="connsiteX23" fmla="*/ 695589 w 1628272"/>
              <a:gd name="connsiteY23" fmla="*/ 2239824 h 2260939"/>
              <a:gd name="connsiteX24" fmla="*/ 695589 w 1628272"/>
              <a:gd name="connsiteY24" fmla="*/ 2225547 h 2260939"/>
              <a:gd name="connsiteX25" fmla="*/ 1586791 w 1628272"/>
              <a:gd name="connsiteY25" fmla="*/ 1334748 h 2260939"/>
              <a:gd name="connsiteX26" fmla="*/ 1601010 w 1628272"/>
              <a:gd name="connsiteY26" fmla="*/ 1334690 h 2260939"/>
              <a:gd name="connsiteX27" fmla="*/ 1625340 w 1628272"/>
              <a:gd name="connsiteY27" fmla="*/ 1157737 h 2260939"/>
              <a:gd name="connsiteX28" fmla="*/ 1625398 w 1628272"/>
              <a:gd name="connsiteY28" fmla="*/ 1157795 h 2260939"/>
              <a:gd name="connsiteX29" fmla="*/ 1625398 w 1628272"/>
              <a:gd name="connsiteY29" fmla="*/ 1171871 h 2260939"/>
              <a:gd name="connsiteX30" fmla="*/ 539548 w 1628272"/>
              <a:gd name="connsiteY30" fmla="*/ 2257721 h 2260939"/>
              <a:gd name="connsiteX31" fmla="*/ 532309 w 1628272"/>
              <a:gd name="connsiteY31" fmla="*/ 2260939 h 2260939"/>
              <a:gd name="connsiteX32" fmla="*/ 525271 w 1628272"/>
              <a:gd name="connsiteY32" fmla="*/ 2257922 h 2260939"/>
              <a:gd name="connsiteX33" fmla="*/ 525213 w 1628272"/>
              <a:gd name="connsiteY33" fmla="*/ 2243704 h 2260939"/>
              <a:gd name="connsiteX34" fmla="*/ 525271 w 1628272"/>
              <a:gd name="connsiteY34" fmla="*/ 2243645 h 2260939"/>
              <a:gd name="connsiteX35" fmla="*/ 1611121 w 1628272"/>
              <a:gd name="connsiteY35" fmla="*/ 1157795 h 2260939"/>
              <a:gd name="connsiteX36" fmla="*/ 1625340 w 1628272"/>
              <a:gd name="connsiteY36" fmla="*/ 1157737 h 2260939"/>
              <a:gd name="connsiteX37" fmla="*/ 1610921 w 1628272"/>
              <a:gd name="connsiteY37" fmla="*/ 1005574 h 2260939"/>
              <a:gd name="connsiteX38" fmla="*/ 1624996 w 1628272"/>
              <a:gd name="connsiteY38" fmla="*/ 1005574 h 2260939"/>
              <a:gd name="connsiteX39" fmla="*/ 1624996 w 1628272"/>
              <a:gd name="connsiteY39" fmla="*/ 1019650 h 2260939"/>
              <a:gd name="connsiteX40" fmla="*/ 389139 w 1628272"/>
              <a:gd name="connsiteY40" fmla="*/ 2255911 h 2260939"/>
              <a:gd name="connsiteX41" fmla="*/ 382101 w 1628272"/>
              <a:gd name="connsiteY41" fmla="*/ 2258927 h 2260939"/>
              <a:gd name="connsiteX42" fmla="*/ 375063 w 1628272"/>
              <a:gd name="connsiteY42" fmla="*/ 2255911 h 2260939"/>
              <a:gd name="connsiteX43" fmla="*/ 375005 w 1628272"/>
              <a:gd name="connsiteY43" fmla="*/ 2241692 h 2260939"/>
              <a:gd name="connsiteX44" fmla="*/ 375063 w 1628272"/>
              <a:gd name="connsiteY44" fmla="*/ 2241634 h 2260939"/>
              <a:gd name="connsiteX45" fmla="*/ 1604830 w 1628272"/>
              <a:gd name="connsiteY45" fmla="*/ 874008 h 2260939"/>
              <a:gd name="connsiteX46" fmla="*/ 1604888 w 1628272"/>
              <a:gd name="connsiteY46" fmla="*/ 874066 h 2260939"/>
              <a:gd name="connsiteX47" fmla="*/ 1605321 w 1628272"/>
              <a:gd name="connsiteY47" fmla="*/ 887709 h 2260939"/>
              <a:gd name="connsiteX48" fmla="*/ 1604888 w 1628272"/>
              <a:gd name="connsiteY48" fmla="*/ 888142 h 2260939"/>
              <a:gd name="connsiteX49" fmla="*/ 262657 w 1628272"/>
              <a:gd name="connsiteY49" fmla="*/ 2230173 h 2260939"/>
              <a:gd name="connsiteX50" fmla="*/ 255418 w 1628272"/>
              <a:gd name="connsiteY50" fmla="*/ 2233189 h 2260939"/>
              <a:gd name="connsiteX51" fmla="*/ 248380 w 1628272"/>
              <a:gd name="connsiteY51" fmla="*/ 2230173 h 2260939"/>
              <a:gd name="connsiteX52" fmla="*/ 247947 w 1628272"/>
              <a:gd name="connsiteY52" fmla="*/ 2216529 h 2260939"/>
              <a:gd name="connsiteX53" fmla="*/ 248380 w 1628272"/>
              <a:gd name="connsiteY53" fmla="*/ 2216097 h 2260939"/>
              <a:gd name="connsiteX54" fmla="*/ 1590612 w 1628272"/>
              <a:gd name="connsiteY54" fmla="*/ 874066 h 2260939"/>
              <a:gd name="connsiteX55" fmla="*/ 1604830 w 1628272"/>
              <a:gd name="connsiteY55" fmla="*/ 874008 h 2260939"/>
              <a:gd name="connsiteX56" fmla="*/ 1550394 w 1628272"/>
              <a:gd name="connsiteY56" fmla="*/ 761861 h 2260939"/>
              <a:gd name="connsiteX57" fmla="*/ 1564671 w 1628272"/>
              <a:gd name="connsiteY57" fmla="*/ 761861 h 2260939"/>
              <a:gd name="connsiteX58" fmla="*/ 1564729 w 1628272"/>
              <a:gd name="connsiteY58" fmla="*/ 776080 h 2260939"/>
              <a:gd name="connsiteX59" fmla="*/ 1564671 w 1628272"/>
              <a:gd name="connsiteY59" fmla="*/ 776138 h 2260939"/>
              <a:gd name="connsiteX60" fmla="*/ 140801 w 1628272"/>
              <a:gd name="connsiteY60" fmla="*/ 2199608 h 2260939"/>
              <a:gd name="connsiteX61" fmla="*/ 133763 w 1628272"/>
              <a:gd name="connsiteY61" fmla="*/ 2202624 h 2260939"/>
              <a:gd name="connsiteX62" fmla="*/ 126725 w 1628272"/>
              <a:gd name="connsiteY62" fmla="*/ 2199608 h 2260939"/>
              <a:gd name="connsiteX63" fmla="*/ 126292 w 1628272"/>
              <a:gd name="connsiteY63" fmla="*/ 2185964 h 2260939"/>
              <a:gd name="connsiteX64" fmla="*/ 126725 w 1628272"/>
              <a:gd name="connsiteY64" fmla="*/ 2185532 h 2260939"/>
              <a:gd name="connsiteX65" fmla="*/ 1501331 w 1628272"/>
              <a:gd name="connsiteY65" fmla="*/ 658706 h 2260939"/>
              <a:gd name="connsiteX66" fmla="*/ 1515608 w 1628272"/>
              <a:gd name="connsiteY66" fmla="*/ 658706 h 2260939"/>
              <a:gd name="connsiteX67" fmla="*/ 1515608 w 1628272"/>
              <a:gd name="connsiteY67" fmla="*/ 672983 h 2260939"/>
              <a:gd name="connsiteX68" fmla="*/ 30808 w 1628272"/>
              <a:gd name="connsiteY68" fmla="*/ 2157380 h 2260939"/>
              <a:gd name="connsiteX69" fmla="*/ 23770 w 1628272"/>
              <a:gd name="connsiteY69" fmla="*/ 2160397 h 2260939"/>
              <a:gd name="connsiteX70" fmla="*/ 16531 w 1628272"/>
              <a:gd name="connsiteY70" fmla="*/ 2157380 h 2260939"/>
              <a:gd name="connsiteX71" fmla="*/ 16531 w 1628272"/>
              <a:gd name="connsiteY71" fmla="*/ 2143305 h 2260939"/>
              <a:gd name="connsiteX72" fmla="*/ 1464676 w 1628272"/>
              <a:gd name="connsiteY72" fmla="*/ 556899 h 2260939"/>
              <a:gd name="connsiteX73" fmla="*/ 1464734 w 1628272"/>
              <a:gd name="connsiteY73" fmla="*/ 556957 h 2260939"/>
              <a:gd name="connsiteX74" fmla="*/ 1465167 w 1628272"/>
              <a:gd name="connsiteY74" fmla="*/ 570600 h 2260939"/>
              <a:gd name="connsiteX75" fmla="*/ 1464734 w 1628272"/>
              <a:gd name="connsiteY75" fmla="*/ 571033 h 2260939"/>
              <a:gd name="connsiteX76" fmla="*/ 0 w 1628272"/>
              <a:gd name="connsiteY76" fmla="*/ 2035767 h 2260939"/>
              <a:gd name="connsiteX77" fmla="*/ 0 w 1628272"/>
              <a:gd name="connsiteY77" fmla="*/ 2007414 h 2260939"/>
              <a:gd name="connsiteX78" fmla="*/ 1450457 w 1628272"/>
              <a:gd name="connsiteY78" fmla="*/ 556957 h 2260939"/>
              <a:gd name="connsiteX79" fmla="*/ 1464676 w 1628272"/>
              <a:gd name="connsiteY79" fmla="*/ 556899 h 2260939"/>
              <a:gd name="connsiteX80" fmla="*/ 1409177 w 1628272"/>
              <a:gd name="connsiteY80" fmla="*/ 460580 h 2260939"/>
              <a:gd name="connsiteX81" fmla="*/ 1409235 w 1628272"/>
              <a:gd name="connsiteY81" fmla="*/ 460638 h 2260939"/>
              <a:gd name="connsiteX82" fmla="*/ 1409235 w 1628272"/>
              <a:gd name="connsiteY82" fmla="*/ 474714 h 2260939"/>
              <a:gd name="connsiteX83" fmla="*/ 0 w 1628272"/>
              <a:gd name="connsiteY83" fmla="*/ 1883768 h 2260939"/>
              <a:gd name="connsiteX84" fmla="*/ 0 w 1628272"/>
              <a:gd name="connsiteY84" fmla="*/ 1855417 h 2260939"/>
              <a:gd name="connsiteX85" fmla="*/ 1394958 w 1628272"/>
              <a:gd name="connsiteY85" fmla="*/ 460638 h 2260939"/>
              <a:gd name="connsiteX86" fmla="*/ 1409177 w 1628272"/>
              <a:gd name="connsiteY86" fmla="*/ 460580 h 2260939"/>
              <a:gd name="connsiteX87" fmla="*/ 1325584 w 1628272"/>
              <a:gd name="connsiteY87" fmla="*/ 377591 h 2260939"/>
              <a:gd name="connsiteX88" fmla="*/ 1339861 w 1628272"/>
              <a:gd name="connsiteY88" fmla="*/ 377591 h 2260939"/>
              <a:gd name="connsiteX89" fmla="*/ 1339861 w 1628272"/>
              <a:gd name="connsiteY89" fmla="*/ 391868 h 2260939"/>
              <a:gd name="connsiteX90" fmla="*/ 0 w 1628272"/>
              <a:gd name="connsiteY90" fmla="*/ 1731558 h 2260939"/>
              <a:gd name="connsiteX91" fmla="*/ 0 w 1628272"/>
              <a:gd name="connsiteY91" fmla="*/ 1703005 h 2260939"/>
              <a:gd name="connsiteX92" fmla="*/ 1251787 w 1628272"/>
              <a:gd name="connsiteY92" fmla="*/ 299369 h 2260939"/>
              <a:gd name="connsiteX93" fmla="*/ 1265863 w 1628272"/>
              <a:gd name="connsiteY93" fmla="*/ 299369 h 2260939"/>
              <a:gd name="connsiteX94" fmla="*/ 1265863 w 1628272"/>
              <a:gd name="connsiteY94" fmla="*/ 313445 h 2260939"/>
              <a:gd name="connsiteX95" fmla="*/ 0 w 1628272"/>
              <a:gd name="connsiteY95" fmla="*/ 1579308 h 2260939"/>
              <a:gd name="connsiteX96" fmla="*/ 0 w 1628272"/>
              <a:gd name="connsiteY96" fmla="*/ 1550837 h 2260939"/>
              <a:gd name="connsiteX97" fmla="*/ 1182555 w 1628272"/>
              <a:gd name="connsiteY97" fmla="*/ 230139 h 2260939"/>
              <a:gd name="connsiteX98" fmla="*/ 1182613 w 1628272"/>
              <a:gd name="connsiteY98" fmla="*/ 230197 h 2260939"/>
              <a:gd name="connsiteX99" fmla="*/ 1182613 w 1628272"/>
              <a:gd name="connsiteY99" fmla="*/ 244474 h 2260939"/>
              <a:gd name="connsiteX100" fmla="*/ 0 w 1628272"/>
              <a:gd name="connsiteY100" fmla="*/ 1427087 h 2260939"/>
              <a:gd name="connsiteX101" fmla="*/ 0 w 1628272"/>
              <a:gd name="connsiteY101" fmla="*/ 1398534 h 2260939"/>
              <a:gd name="connsiteX102" fmla="*/ 1168337 w 1628272"/>
              <a:gd name="connsiteY102" fmla="*/ 230197 h 2260939"/>
              <a:gd name="connsiteX103" fmla="*/ 1182555 w 1628272"/>
              <a:gd name="connsiteY103" fmla="*/ 230139 h 2260939"/>
              <a:gd name="connsiteX104" fmla="*/ 1074833 w 1628272"/>
              <a:gd name="connsiteY104" fmla="*/ 171682 h 2260939"/>
              <a:gd name="connsiteX105" fmla="*/ 1088909 w 1628272"/>
              <a:gd name="connsiteY105" fmla="*/ 171682 h 2260939"/>
              <a:gd name="connsiteX106" fmla="*/ 1088967 w 1628272"/>
              <a:gd name="connsiteY106" fmla="*/ 185901 h 2260939"/>
              <a:gd name="connsiteX107" fmla="*/ 1088909 w 1628272"/>
              <a:gd name="connsiteY107" fmla="*/ 185959 h 2260939"/>
              <a:gd name="connsiteX108" fmla="*/ 0 w 1628272"/>
              <a:gd name="connsiteY108" fmla="*/ 1274440 h 2260939"/>
              <a:gd name="connsiteX109" fmla="*/ 0 w 1628272"/>
              <a:gd name="connsiteY109" fmla="*/ 1246374 h 2260939"/>
              <a:gd name="connsiteX110" fmla="*/ 977308 w 1628272"/>
              <a:gd name="connsiteY110" fmla="*/ 116786 h 2260939"/>
              <a:gd name="connsiteX111" fmla="*/ 991585 w 1628272"/>
              <a:gd name="connsiteY111" fmla="*/ 116786 h 2260939"/>
              <a:gd name="connsiteX112" fmla="*/ 991585 w 1628272"/>
              <a:gd name="connsiteY112" fmla="*/ 131063 h 2260939"/>
              <a:gd name="connsiteX113" fmla="*/ 0 w 1628272"/>
              <a:gd name="connsiteY113" fmla="*/ 1122514 h 2260939"/>
              <a:gd name="connsiteX114" fmla="*/ 0 w 1628272"/>
              <a:gd name="connsiteY114" fmla="*/ 1093962 h 2260939"/>
              <a:gd name="connsiteX115" fmla="*/ 99579 w 1628272"/>
              <a:gd name="connsiteY115" fmla="*/ 80591 h 2260939"/>
              <a:gd name="connsiteX116" fmla="*/ 113856 w 1628272"/>
              <a:gd name="connsiteY116" fmla="*/ 80591 h 2260939"/>
              <a:gd name="connsiteX117" fmla="*/ 113856 w 1628272"/>
              <a:gd name="connsiteY117" fmla="*/ 94868 h 2260939"/>
              <a:gd name="connsiteX118" fmla="*/ 0 w 1628272"/>
              <a:gd name="connsiteY118" fmla="*/ 208724 h 2260939"/>
              <a:gd name="connsiteX119" fmla="*/ 0 w 1628272"/>
              <a:gd name="connsiteY119" fmla="*/ 180201 h 2260939"/>
              <a:gd name="connsiteX120" fmla="*/ 886158 w 1628272"/>
              <a:gd name="connsiteY120" fmla="*/ 69875 h 2260939"/>
              <a:gd name="connsiteX121" fmla="*/ 886217 w 1628272"/>
              <a:gd name="connsiteY121" fmla="*/ 69933 h 2260939"/>
              <a:gd name="connsiteX122" fmla="*/ 886217 w 1628272"/>
              <a:gd name="connsiteY122" fmla="*/ 84210 h 2260939"/>
              <a:gd name="connsiteX123" fmla="*/ 0 w 1628272"/>
              <a:gd name="connsiteY123" fmla="*/ 970303 h 2260939"/>
              <a:gd name="connsiteX124" fmla="*/ 0 w 1628272"/>
              <a:gd name="connsiteY124" fmla="*/ 941751 h 2260939"/>
              <a:gd name="connsiteX125" fmla="*/ 871940 w 1628272"/>
              <a:gd name="connsiteY125" fmla="*/ 69933 h 2260939"/>
              <a:gd name="connsiteX126" fmla="*/ 886158 w 1628272"/>
              <a:gd name="connsiteY126" fmla="*/ 69875 h 2260939"/>
              <a:gd name="connsiteX127" fmla="*/ 753100 w 1628272"/>
              <a:gd name="connsiteY127" fmla="*/ 36352 h 2260939"/>
              <a:gd name="connsiteX128" fmla="*/ 767377 w 1628272"/>
              <a:gd name="connsiteY128" fmla="*/ 36352 h 2260939"/>
              <a:gd name="connsiteX129" fmla="*/ 767435 w 1628272"/>
              <a:gd name="connsiteY129" fmla="*/ 50571 h 2260939"/>
              <a:gd name="connsiteX130" fmla="*/ 767377 w 1628272"/>
              <a:gd name="connsiteY130" fmla="*/ 50629 h 2260939"/>
              <a:gd name="connsiteX131" fmla="*/ 0 w 1628272"/>
              <a:gd name="connsiteY131" fmla="*/ 817892 h 2260939"/>
              <a:gd name="connsiteX132" fmla="*/ 0 w 1628272"/>
              <a:gd name="connsiteY132" fmla="*/ 789340 h 2260939"/>
              <a:gd name="connsiteX133" fmla="*/ 320110 w 1628272"/>
              <a:gd name="connsiteY133" fmla="*/ 26844 h 2260939"/>
              <a:gd name="connsiteX134" fmla="*/ 320168 w 1628272"/>
              <a:gd name="connsiteY134" fmla="*/ 26902 h 2260939"/>
              <a:gd name="connsiteX135" fmla="*/ 320168 w 1628272"/>
              <a:gd name="connsiteY135" fmla="*/ 40978 h 2260939"/>
              <a:gd name="connsiteX136" fmla="*/ 0 w 1628272"/>
              <a:gd name="connsiteY136" fmla="*/ 361075 h 2260939"/>
              <a:gd name="connsiteX137" fmla="*/ 0 w 1628272"/>
              <a:gd name="connsiteY137" fmla="*/ 332726 h 2260939"/>
              <a:gd name="connsiteX138" fmla="*/ 305891 w 1628272"/>
              <a:gd name="connsiteY138" fmla="*/ 26902 h 2260939"/>
              <a:gd name="connsiteX139" fmla="*/ 320110 w 1628272"/>
              <a:gd name="connsiteY139" fmla="*/ 26844 h 2260939"/>
              <a:gd name="connsiteX140" fmla="*/ 631788 w 1628272"/>
              <a:gd name="connsiteY140" fmla="*/ 20208 h 2260939"/>
              <a:gd name="connsiteX141" fmla="*/ 631846 w 1628272"/>
              <a:gd name="connsiteY141" fmla="*/ 20266 h 2260939"/>
              <a:gd name="connsiteX142" fmla="*/ 631846 w 1628272"/>
              <a:gd name="connsiteY142" fmla="*/ 34342 h 2260939"/>
              <a:gd name="connsiteX143" fmla="*/ 0 w 1628272"/>
              <a:gd name="connsiteY143" fmla="*/ 665776 h 2260939"/>
              <a:gd name="connsiteX144" fmla="*/ 0 w 1628272"/>
              <a:gd name="connsiteY144" fmla="*/ 637332 h 2260939"/>
              <a:gd name="connsiteX145" fmla="*/ 617570 w 1628272"/>
              <a:gd name="connsiteY145" fmla="*/ 20266 h 2260939"/>
              <a:gd name="connsiteX146" fmla="*/ 631788 w 1628272"/>
              <a:gd name="connsiteY146" fmla="*/ 20208 h 2260939"/>
              <a:gd name="connsiteX147" fmla="*/ 496661 w 1628272"/>
              <a:gd name="connsiteY147" fmla="*/ 2915 h 2260939"/>
              <a:gd name="connsiteX148" fmla="*/ 496720 w 1628272"/>
              <a:gd name="connsiteY148" fmla="*/ 2973 h 2260939"/>
              <a:gd name="connsiteX149" fmla="*/ 497152 w 1628272"/>
              <a:gd name="connsiteY149" fmla="*/ 16616 h 2260939"/>
              <a:gd name="connsiteX150" fmla="*/ 496720 w 1628272"/>
              <a:gd name="connsiteY150" fmla="*/ 17049 h 2260939"/>
              <a:gd name="connsiteX151" fmla="*/ 0 w 1628272"/>
              <a:gd name="connsiteY151" fmla="*/ 513769 h 2260939"/>
              <a:gd name="connsiteX152" fmla="*/ 0 w 1628272"/>
              <a:gd name="connsiteY152" fmla="*/ 485416 h 2260939"/>
              <a:gd name="connsiteX153" fmla="*/ 482443 w 1628272"/>
              <a:gd name="connsiteY153" fmla="*/ 2973 h 2260939"/>
              <a:gd name="connsiteX154" fmla="*/ 496661 w 1628272"/>
              <a:gd name="connsiteY154" fmla="*/ 2915 h 226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628272" h="2260939">
                <a:moveTo>
                  <a:pt x="1399180" y="1826799"/>
                </a:moveTo>
                <a:cubicBezTo>
                  <a:pt x="1403089" y="1822967"/>
                  <a:pt x="1409346" y="1822967"/>
                  <a:pt x="1413256" y="1826799"/>
                </a:cubicBezTo>
                <a:cubicBezTo>
                  <a:pt x="1417198" y="1830709"/>
                  <a:pt x="1417224" y="1837075"/>
                  <a:pt x="1413314" y="1841018"/>
                </a:cubicBezTo>
                <a:cubicBezTo>
                  <a:pt x="1413295" y="1841037"/>
                  <a:pt x="1413275" y="1841057"/>
                  <a:pt x="1413256" y="1841076"/>
                </a:cubicBezTo>
                <a:lnTo>
                  <a:pt x="1182010" y="2072322"/>
                </a:lnTo>
                <a:cubicBezTo>
                  <a:pt x="1180092" y="2074247"/>
                  <a:pt x="1177488" y="2075332"/>
                  <a:pt x="1174771" y="2075338"/>
                </a:cubicBezTo>
                <a:cubicBezTo>
                  <a:pt x="1172119" y="2075300"/>
                  <a:pt x="1169589" y="2074216"/>
                  <a:pt x="1167733" y="2072322"/>
                </a:cubicBezTo>
                <a:cubicBezTo>
                  <a:pt x="1163791" y="2068412"/>
                  <a:pt x="1163764" y="2062046"/>
                  <a:pt x="1167675" y="2058103"/>
                </a:cubicBezTo>
                <a:cubicBezTo>
                  <a:pt x="1167694" y="2058084"/>
                  <a:pt x="1167714" y="2058064"/>
                  <a:pt x="1167733" y="2058045"/>
                </a:cubicBezTo>
                <a:close/>
                <a:moveTo>
                  <a:pt x="1523391" y="1564528"/>
                </a:moveTo>
                <a:cubicBezTo>
                  <a:pt x="1523410" y="1564547"/>
                  <a:pt x="1523430" y="1564567"/>
                  <a:pt x="1523449" y="1564586"/>
                </a:cubicBezTo>
                <a:cubicBezTo>
                  <a:pt x="1527306" y="1568564"/>
                  <a:pt x="1527306" y="1574885"/>
                  <a:pt x="1523449" y="1578863"/>
                </a:cubicBezTo>
                <a:lnTo>
                  <a:pt x="927438" y="2174472"/>
                </a:lnTo>
                <a:cubicBezTo>
                  <a:pt x="925520" y="2176397"/>
                  <a:pt x="922916" y="2177481"/>
                  <a:pt x="920199" y="2177488"/>
                </a:cubicBezTo>
                <a:cubicBezTo>
                  <a:pt x="914647" y="2177410"/>
                  <a:pt x="910209" y="2172846"/>
                  <a:pt x="910287" y="2167294"/>
                </a:cubicBezTo>
                <a:cubicBezTo>
                  <a:pt x="910323" y="2164711"/>
                  <a:pt x="911352" y="2162241"/>
                  <a:pt x="913161" y="2160396"/>
                </a:cubicBezTo>
                <a:lnTo>
                  <a:pt x="1509172" y="1564586"/>
                </a:lnTo>
                <a:cubicBezTo>
                  <a:pt x="1513083" y="1560644"/>
                  <a:pt x="1519448" y="1560617"/>
                  <a:pt x="1523391" y="1564528"/>
                </a:cubicBezTo>
                <a:close/>
                <a:moveTo>
                  <a:pt x="1601010" y="1334690"/>
                </a:moveTo>
                <a:cubicBezTo>
                  <a:pt x="1601029" y="1334709"/>
                  <a:pt x="1601048" y="1334729"/>
                  <a:pt x="1601068" y="1334748"/>
                </a:cubicBezTo>
                <a:cubicBezTo>
                  <a:pt x="1604900" y="1338657"/>
                  <a:pt x="1604900" y="1344914"/>
                  <a:pt x="1601068" y="1348824"/>
                </a:cubicBezTo>
                <a:lnTo>
                  <a:pt x="709866" y="2239824"/>
                </a:lnTo>
                <a:cubicBezTo>
                  <a:pt x="708010" y="2241719"/>
                  <a:pt x="705480" y="2242803"/>
                  <a:pt x="702828" y="2242841"/>
                </a:cubicBezTo>
                <a:cubicBezTo>
                  <a:pt x="700111" y="2242834"/>
                  <a:pt x="697507" y="2241749"/>
                  <a:pt x="695589" y="2239824"/>
                </a:cubicBezTo>
                <a:cubicBezTo>
                  <a:pt x="691733" y="2235847"/>
                  <a:pt x="691733" y="2229525"/>
                  <a:pt x="695589" y="2225547"/>
                </a:cubicBezTo>
                <a:lnTo>
                  <a:pt x="1586791" y="1334748"/>
                </a:lnTo>
                <a:cubicBezTo>
                  <a:pt x="1590701" y="1330806"/>
                  <a:pt x="1597067" y="1330779"/>
                  <a:pt x="1601010" y="1334690"/>
                </a:cubicBezTo>
                <a:close/>
                <a:moveTo>
                  <a:pt x="1625340" y="1157737"/>
                </a:moveTo>
                <a:cubicBezTo>
                  <a:pt x="1625359" y="1157756"/>
                  <a:pt x="1625379" y="1157776"/>
                  <a:pt x="1625398" y="1157795"/>
                </a:cubicBezTo>
                <a:cubicBezTo>
                  <a:pt x="1629230" y="1161704"/>
                  <a:pt x="1629230" y="1167961"/>
                  <a:pt x="1625398" y="1171871"/>
                </a:cubicBezTo>
                <a:lnTo>
                  <a:pt x="539548" y="2257721"/>
                </a:lnTo>
                <a:cubicBezTo>
                  <a:pt x="537723" y="2259802"/>
                  <a:pt x="535077" y="2260978"/>
                  <a:pt x="532309" y="2260939"/>
                </a:cubicBezTo>
                <a:cubicBezTo>
                  <a:pt x="529652" y="2260923"/>
                  <a:pt x="527114" y="2259836"/>
                  <a:pt x="525271" y="2257922"/>
                </a:cubicBezTo>
                <a:cubicBezTo>
                  <a:pt x="521329" y="2254012"/>
                  <a:pt x="521302" y="2247646"/>
                  <a:pt x="525213" y="2243704"/>
                </a:cubicBezTo>
                <a:cubicBezTo>
                  <a:pt x="525232" y="2243684"/>
                  <a:pt x="525252" y="2243665"/>
                  <a:pt x="525271" y="2243645"/>
                </a:cubicBezTo>
                <a:lnTo>
                  <a:pt x="1611121" y="1157795"/>
                </a:lnTo>
                <a:cubicBezTo>
                  <a:pt x="1615032" y="1153853"/>
                  <a:pt x="1621397" y="1153826"/>
                  <a:pt x="1625340" y="1157737"/>
                </a:cubicBezTo>
                <a:close/>
                <a:moveTo>
                  <a:pt x="1610921" y="1005574"/>
                </a:moveTo>
                <a:cubicBezTo>
                  <a:pt x="1614807" y="1001687"/>
                  <a:pt x="1621109" y="1001687"/>
                  <a:pt x="1624996" y="1005574"/>
                </a:cubicBezTo>
                <a:cubicBezTo>
                  <a:pt x="1628883" y="1009461"/>
                  <a:pt x="1628883" y="1015763"/>
                  <a:pt x="1624996" y="1019650"/>
                </a:cubicBezTo>
                <a:lnTo>
                  <a:pt x="389139" y="2255911"/>
                </a:lnTo>
                <a:cubicBezTo>
                  <a:pt x="387323" y="2257864"/>
                  <a:pt x="384767" y="2258960"/>
                  <a:pt x="382101" y="2258927"/>
                </a:cubicBezTo>
                <a:cubicBezTo>
                  <a:pt x="379444" y="2258912"/>
                  <a:pt x="376906" y="2257824"/>
                  <a:pt x="375063" y="2255911"/>
                </a:cubicBezTo>
                <a:cubicBezTo>
                  <a:pt x="371121" y="2252001"/>
                  <a:pt x="371094" y="2245635"/>
                  <a:pt x="375005" y="2241692"/>
                </a:cubicBezTo>
                <a:cubicBezTo>
                  <a:pt x="375024" y="2241673"/>
                  <a:pt x="375044" y="2241653"/>
                  <a:pt x="375063" y="2241634"/>
                </a:cubicBezTo>
                <a:close/>
                <a:moveTo>
                  <a:pt x="1604830" y="874008"/>
                </a:moveTo>
                <a:cubicBezTo>
                  <a:pt x="1604850" y="874027"/>
                  <a:pt x="1604869" y="874047"/>
                  <a:pt x="1604888" y="874066"/>
                </a:cubicBezTo>
                <a:cubicBezTo>
                  <a:pt x="1608775" y="877714"/>
                  <a:pt x="1608969" y="883822"/>
                  <a:pt x="1605321" y="887709"/>
                </a:cubicBezTo>
                <a:cubicBezTo>
                  <a:pt x="1605181" y="887858"/>
                  <a:pt x="1605037" y="888002"/>
                  <a:pt x="1604888" y="888142"/>
                </a:cubicBezTo>
                <a:lnTo>
                  <a:pt x="262657" y="2230173"/>
                </a:lnTo>
                <a:cubicBezTo>
                  <a:pt x="260739" y="2232097"/>
                  <a:pt x="258135" y="2233182"/>
                  <a:pt x="255418" y="2233189"/>
                </a:cubicBezTo>
                <a:cubicBezTo>
                  <a:pt x="252766" y="2233151"/>
                  <a:pt x="250236" y="2232067"/>
                  <a:pt x="248380" y="2230173"/>
                </a:cubicBezTo>
                <a:cubicBezTo>
                  <a:pt x="244493" y="2226525"/>
                  <a:pt x="244299" y="2220416"/>
                  <a:pt x="247947" y="2216529"/>
                </a:cubicBezTo>
                <a:cubicBezTo>
                  <a:pt x="248087" y="2216381"/>
                  <a:pt x="248231" y="2216236"/>
                  <a:pt x="248380" y="2216097"/>
                </a:cubicBezTo>
                <a:lnTo>
                  <a:pt x="1590612" y="874066"/>
                </a:lnTo>
                <a:cubicBezTo>
                  <a:pt x="1594522" y="870124"/>
                  <a:pt x="1600888" y="870097"/>
                  <a:pt x="1604830" y="874008"/>
                </a:cubicBezTo>
                <a:close/>
                <a:moveTo>
                  <a:pt x="1550394" y="761861"/>
                </a:moveTo>
                <a:cubicBezTo>
                  <a:pt x="1554372" y="758005"/>
                  <a:pt x="1560693" y="758005"/>
                  <a:pt x="1564671" y="761861"/>
                </a:cubicBezTo>
                <a:cubicBezTo>
                  <a:pt x="1568614" y="765772"/>
                  <a:pt x="1568640" y="772138"/>
                  <a:pt x="1564729" y="776080"/>
                </a:cubicBezTo>
                <a:cubicBezTo>
                  <a:pt x="1564710" y="776099"/>
                  <a:pt x="1564691" y="776119"/>
                  <a:pt x="1564671" y="776138"/>
                </a:cubicBezTo>
                <a:lnTo>
                  <a:pt x="140801" y="2199608"/>
                </a:lnTo>
                <a:cubicBezTo>
                  <a:pt x="138985" y="2201561"/>
                  <a:pt x="136429" y="2202656"/>
                  <a:pt x="133763" y="2202624"/>
                </a:cubicBezTo>
                <a:cubicBezTo>
                  <a:pt x="131096" y="2202656"/>
                  <a:pt x="128540" y="2201561"/>
                  <a:pt x="126725" y="2199608"/>
                </a:cubicBezTo>
                <a:cubicBezTo>
                  <a:pt x="122838" y="2195960"/>
                  <a:pt x="122644" y="2189851"/>
                  <a:pt x="126292" y="2185964"/>
                </a:cubicBezTo>
                <a:cubicBezTo>
                  <a:pt x="126432" y="2185816"/>
                  <a:pt x="126576" y="2185671"/>
                  <a:pt x="126725" y="2185532"/>
                </a:cubicBezTo>
                <a:close/>
                <a:moveTo>
                  <a:pt x="1501331" y="658706"/>
                </a:moveTo>
                <a:cubicBezTo>
                  <a:pt x="1505273" y="654763"/>
                  <a:pt x="1511665" y="654763"/>
                  <a:pt x="1515608" y="658706"/>
                </a:cubicBezTo>
                <a:cubicBezTo>
                  <a:pt x="1519550" y="662648"/>
                  <a:pt x="1519550" y="669040"/>
                  <a:pt x="1515608" y="672983"/>
                </a:cubicBezTo>
                <a:lnTo>
                  <a:pt x="30808" y="2157380"/>
                </a:lnTo>
                <a:cubicBezTo>
                  <a:pt x="28965" y="2159293"/>
                  <a:pt x="26427" y="2160381"/>
                  <a:pt x="23770" y="2160397"/>
                </a:cubicBezTo>
                <a:cubicBezTo>
                  <a:pt x="21053" y="2160390"/>
                  <a:pt x="18449" y="2159305"/>
                  <a:pt x="16531" y="2157380"/>
                </a:cubicBezTo>
                <a:cubicBezTo>
                  <a:pt x="12699" y="2153471"/>
                  <a:pt x="12699" y="2147214"/>
                  <a:pt x="16531" y="2143305"/>
                </a:cubicBezTo>
                <a:close/>
                <a:moveTo>
                  <a:pt x="1464676" y="556899"/>
                </a:moveTo>
                <a:cubicBezTo>
                  <a:pt x="1464695" y="556918"/>
                  <a:pt x="1464715" y="556937"/>
                  <a:pt x="1464734" y="556957"/>
                </a:cubicBezTo>
                <a:cubicBezTo>
                  <a:pt x="1468621" y="560605"/>
                  <a:pt x="1468815" y="566713"/>
                  <a:pt x="1465167" y="570600"/>
                </a:cubicBezTo>
                <a:cubicBezTo>
                  <a:pt x="1465027" y="570749"/>
                  <a:pt x="1464883" y="570893"/>
                  <a:pt x="1464734" y="571033"/>
                </a:cubicBezTo>
                <a:lnTo>
                  <a:pt x="0" y="2035767"/>
                </a:lnTo>
                <a:lnTo>
                  <a:pt x="0" y="2007414"/>
                </a:lnTo>
                <a:lnTo>
                  <a:pt x="1450457" y="556957"/>
                </a:lnTo>
                <a:cubicBezTo>
                  <a:pt x="1454367" y="553015"/>
                  <a:pt x="1460733" y="552988"/>
                  <a:pt x="1464676" y="556899"/>
                </a:cubicBezTo>
                <a:close/>
                <a:moveTo>
                  <a:pt x="1409177" y="460580"/>
                </a:moveTo>
                <a:cubicBezTo>
                  <a:pt x="1409196" y="460599"/>
                  <a:pt x="1409216" y="460618"/>
                  <a:pt x="1409235" y="460638"/>
                </a:cubicBezTo>
                <a:cubicBezTo>
                  <a:pt x="1413067" y="464547"/>
                  <a:pt x="1413067" y="470804"/>
                  <a:pt x="1409235" y="474714"/>
                </a:cubicBezTo>
                <a:lnTo>
                  <a:pt x="0" y="1883768"/>
                </a:lnTo>
                <a:lnTo>
                  <a:pt x="0" y="1855417"/>
                </a:lnTo>
                <a:lnTo>
                  <a:pt x="1394958" y="460638"/>
                </a:lnTo>
                <a:cubicBezTo>
                  <a:pt x="1398868" y="456696"/>
                  <a:pt x="1405234" y="456669"/>
                  <a:pt x="1409177" y="460580"/>
                </a:cubicBezTo>
                <a:close/>
                <a:moveTo>
                  <a:pt x="1325584" y="377591"/>
                </a:moveTo>
                <a:cubicBezTo>
                  <a:pt x="1329526" y="373648"/>
                  <a:pt x="1335918" y="373648"/>
                  <a:pt x="1339861" y="377591"/>
                </a:cubicBezTo>
                <a:cubicBezTo>
                  <a:pt x="1343803" y="381533"/>
                  <a:pt x="1343803" y="387925"/>
                  <a:pt x="1339861" y="391868"/>
                </a:cubicBezTo>
                <a:lnTo>
                  <a:pt x="0" y="1731558"/>
                </a:lnTo>
                <a:lnTo>
                  <a:pt x="0" y="1703005"/>
                </a:lnTo>
                <a:close/>
                <a:moveTo>
                  <a:pt x="1251787" y="299369"/>
                </a:moveTo>
                <a:cubicBezTo>
                  <a:pt x="1255674" y="295482"/>
                  <a:pt x="1261976" y="295482"/>
                  <a:pt x="1265863" y="299369"/>
                </a:cubicBezTo>
                <a:cubicBezTo>
                  <a:pt x="1269750" y="303256"/>
                  <a:pt x="1269750" y="309558"/>
                  <a:pt x="1265863" y="313445"/>
                </a:cubicBezTo>
                <a:lnTo>
                  <a:pt x="0" y="1579308"/>
                </a:lnTo>
                <a:lnTo>
                  <a:pt x="0" y="1550837"/>
                </a:lnTo>
                <a:close/>
                <a:moveTo>
                  <a:pt x="1182555" y="230139"/>
                </a:moveTo>
                <a:cubicBezTo>
                  <a:pt x="1182575" y="230158"/>
                  <a:pt x="1182594" y="230178"/>
                  <a:pt x="1182613" y="230197"/>
                </a:cubicBezTo>
                <a:cubicBezTo>
                  <a:pt x="1186470" y="234175"/>
                  <a:pt x="1186470" y="240496"/>
                  <a:pt x="1182613" y="244474"/>
                </a:cubicBezTo>
                <a:lnTo>
                  <a:pt x="0" y="1427087"/>
                </a:lnTo>
                <a:lnTo>
                  <a:pt x="0" y="1398534"/>
                </a:lnTo>
                <a:lnTo>
                  <a:pt x="1168337" y="230197"/>
                </a:lnTo>
                <a:cubicBezTo>
                  <a:pt x="1172247" y="226255"/>
                  <a:pt x="1178613" y="226228"/>
                  <a:pt x="1182555" y="230139"/>
                </a:cubicBezTo>
                <a:close/>
                <a:moveTo>
                  <a:pt x="1074833" y="171682"/>
                </a:moveTo>
                <a:cubicBezTo>
                  <a:pt x="1078743" y="167850"/>
                  <a:pt x="1085000" y="167850"/>
                  <a:pt x="1088909" y="171682"/>
                </a:cubicBezTo>
                <a:cubicBezTo>
                  <a:pt x="1092851" y="175592"/>
                  <a:pt x="1092877" y="181958"/>
                  <a:pt x="1088967" y="185901"/>
                </a:cubicBezTo>
                <a:cubicBezTo>
                  <a:pt x="1088948" y="185920"/>
                  <a:pt x="1088928" y="185940"/>
                  <a:pt x="1088909" y="185959"/>
                </a:cubicBezTo>
                <a:lnTo>
                  <a:pt x="0" y="1274440"/>
                </a:lnTo>
                <a:lnTo>
                  <a:pt x="0" y="1246374"/>
                </a:lnTo>
                <a:close/>
                <a:moveTo>
                  <a:pt x="977308" y="116786"/>
                </a:moveTo>
                <a:cubicBezTo>
                  <a:pt x="981250" y="112843"/>
                  <a:pt x="987643" y="112843"/>
                  <a:pt x="991585" y="116786"/>
                </a:cubicBezTo>
                <a:cubicBezTo>
                  <a:pt x="995527" y="120728"/>
                  <a:pt x="995527" y="127120"/>
                  <a:pt x="991585" y="131063"/>
                </a:cubicBezTo>
                <a:lnTo>
                  <a:pt x="0" y="1122514"/>
                </a:lnTo>
                <a:lnTo>
                  <a:pt x="0" y="1093962"/>
                </a:lnTo>
                <a:close/>
                <a:moveTo>
                  <a:pt x="99579" y="80591"/>
                </a:moveTo>
                <a:cubicBezTo>
                  <a:pt x="103522" y="76648"/>
                  <a:pt x="109914" y="76648"/>
                  <a:pt x="113856" y="80591"/>
                </a:cubicBezTo>
                <a:cubicBezTo>
                  <a:pt x="117799" y="84533"/>
                  <a:pt x="117799" y="90925"/>
                  <a:pt x="113856" y="94868"/>
                </a:cubicBezTo>
                <a:lnTo>
                  <a:pt x="0" y="208724"/>
                </a:lnTo>
                <a:lnTo>
                  <a:pt x="0" y="180201"/>
                </a:lnTo>
                <a:close/>
                <a:moveTo>
                  <a:pt x="886158" y="69875"/>
                </a:moveTo>
                <a:cubicBezTo>
                  <a:pt x="886178" y="69895"/>
                  <a:pt x="886197" y="69913"/>
                  <a:pt x="886217" y="69933"/>
                </a:cubicBezTo>
                <a:cubicBezTo>
                  <a:pt x="890073" y="73911"/>
                  <a:pt x="890073" y="80232"/>
                  <a:pt x="886217" y="84210"/>
                </a:cubicBezTo>
                <a:lnTo>
                  <a:pt x="0" y="970303"/>
                </a:lnTo>
                <a:lnTo>
                  <a:pt x="0" y="941751"/>
                </a:lnTo>
                <a:lnTo>
                  <a:pt x="871940" y="69933"/>
                </a:lnTo>
                <a:cubicBezTo>
                  <a:pt x="875850" y="65991"/>
                  <a:pt x="882216" y="65964"/>
                  <a:pt x="886158" y="69875"/>
                </a:cubicBezTo>
                <a:close/>
                <a:moveTo>
                  <a:pt x="753100" y="36352"/>
                </a:moveTo>
                <a:cubicBezTo>
                  <a:pt x="757078" y="32496"/>
                  <a:pt x="763399" y="32496"/>
                  <a:pt x="767377" y="36352"/>
                </a:cubicBezTo>
                <a:cubicBezTo>
                  <a:pt x="771319" y="40263"/>
                  <a:pt x="771345" y="46628"/>
                  <a:pt x="767435" y="50571"/>
                </a:cubicBezTo>
                <a:cubicBezTo>
                  <a:pt x="767416" y="50590"/>
                  <a:pt x="767396" y="50610"/>
                  <a:pt x="767377" y="50629"/>
                </a:cubicBezTo>
                <a:lnTo>
                  <a:pt x="0" y="817892"/>
                </a:lnTo>
                <a:lnTo>
                  <a:pt x="0" y="789340"/>
                </a:lnTo>
                <a:close/>
                <a:moveTo>
                  <a:pt x="320110" y="26844"/>
                </a:moveTo>
                <a:cubicBezTo>
                  <a:pt x="320129" y="26863"/>
                  <a:pt x="320149" y="26882"/>
                  <a:pt x="320168" y="26902"/>
                </a:cubicBezTo>
                <a:cubicBezTo>
                  <a:pt x="324000" y="30812"/>
                  <a:pt x="324000" y="37068"/>
                  <a:pt x="320168" y="40978"/>
                </a:cubicBezTo>
                <a:lnTo>
                  <a:pt x="0" y="361075"/>
                </a:lnTo>
                <a:lnTo>
                  <a:pt x="0" y="332726"/>
                </a:lnTo>
                <a:lnTo>
                  <a:pt x="305891" y="26902"/>
                </a:lnTo>
                <a:cubicBezTo>
                  <a:pt x="309801" y="22961"/>
                  <a:pt x="316167" y="22933"/>
                  <a:pt x="320110" y="26844"/>
                </a:cubicBezTo>
                <a:close/>
                <a:moveTo>
                  <a:pt x="631788" y="20208"/>
                </a:moveTo>
                <a:cubicBezTo>
                  <a:pt x="631808" y="20227"/>
                  <a:pt x="631827" y="20246"/>
                  <a:pt x="631846" y="20266"/>
                </a:cubicBezTo>
                <a:cubicBezTo>
                  <a:pt x="635679" y="24176"/>
                  <a:pt x="635679" y="30432"/>
                  <a:pt x="631846" y="34342"/>
                </a:cubicBezTo>
                <a:lnTo>
                  <a:pt x="0" y="665776"/>
                </a:lnTo>
                <a:lnTo>
                  <a:pt x="0" y="637332"/>
                </a:lnTo>
                <a:lnTo>
                  <a:pt x="617570" y="20266"/>
                </a:lnTo>
                <a:cubicBezTo>
                  <a:pt x="621480" y="16324"/>
                  <a:pt x="627846" y="16297"/>
                  <a:pt x="631788" y="20208"/>
                </a:cubicBezTo>
                <a:close/>
                <a:moveTo>
                  <a:pt x="496661" y="2915"/>
                </a:moveTo>
                <a:cubicBezTo>
                  <a:pt x="496681" y="2934"/>
                  <a:pt x="496700" y="2953"/>
                  <a:pt x="496720" y="2973"/>
                </a:cubicBezTo>
                <a:cubicBezTo>
                  <a:pt x="500607" y="6621"/>
                  <a:pt x="500799" y="12729"/>
                  <a:pt x="497152" y="16616"/>
                </a:cubicBezTo>
                <a:cubicBezTo>
                  <a:pt x="497013" y="16765"/>
                  <a:pt x="496868" y="16909"/>
                  <a:pt x="496720" y="17049"/>
                </a:cubicBezTo>
                <a:lnTo>
                  <a:pt x="0" y="513769"/>
                </a:lnTo>
                <a:lnTo>
                  <a:pt x="0" y="485416"/>
                </a:lnTo>
                <a:lnTo>
                  <a:pt x="482443" y="2973"/>
                </a:lnTo>
                <a:cubicBezTo>
                  <a:pt x="486353" y="-969"/>
                  <a:pt x="492719" y="-996"/>
                  <a:pt x="496661" y="2915"/>
                </a:cubicBezTo>
                <a:close/>
              </a:path>
            </a:pathLst>
          </a:custGeom>
          <a:solidFill>
            <a:schemeClr val="accent4">
              <a:alpha val="50000"/>
            </a:schemeClr>
          </a:solidFill>
          <a:ln w="20071" cap="flat">
            <a:noFill/>
            <a:prstDash val="solid"/>
            <a:miter/>
          </a:ln>
        </p:spPr>
        <p:txBody>
          <a:bodyPr rtlCol="0" anchor="ctr"/>
          <a:lstStyle/>
          <a:p>
            <a:endParaRPr lang="en-US" sz="1800"/>
          </a:p>
        </p:txBody>
      </p:sp>
      <p:grpSp>
        <p:nvGrpSpPr>
          <p:cNvPr id="68" name="Group 67">
            <a:extLst>
              <a:ext uri="{FF2B5EF4-FFF2-40B4-BE49-F238E27FC236}">
                <a16:creationId xmlns:a16="http://schemas.microsoft.com/office/drawing/2014/main" id="{2C8D71F1-F450-3540-B0DB-5E198AFD6884}"/>
              </a:ext>
            </a:extLst>
          </p:cNvPr>
          <p:cNvGrpSpPr/>
          <p:nvPr userDrawn="1"/>
        </p:nvGrpSpPr>
        <p:grpSpPr>
          <a:xfrm>
            <a:off x="282293" y="2563082"/>
            <a:ext cx="3178762" cy="580089"/>
            <a:chOff x="5098310" y="621568"/>
            <a:chExt cx="1477115" cy="269557"/>
          </a:xfrm>
          <a:gradFill>
            <a:gsLst>
              <a:gs pos="18000">
                <a:schemeClr val="accent4">
                  <a:alpha val="8000"/>
                </a:schemeClr>
              </a:gs>
              <a:gs pos="48000">
                <a:schemeClr val="accent4">
                  <a:alpha val="47000"/>
                </a:schemeClr>
              </a:gs>
              <a:gs pos="78000">
                <a:schemeClr val="accent4"/>
              </a:gs>
            </a:gsLst>
            <a:lin ang="600000" scaled="0"/>
          </a:gradFill>
        </p:grpSpPr>
        <p:sp>
          <p:nvSpPr>
            <p:cNvPr id="69" name="Freeform 68">
              <a:extLst>
                <a:ext uri="{FF2B5EF4-FFF2-40B4-BE49-F238E27FC236}">
                  <a16:creationId xmlns:a16="http://schemas.microsoft.com/office/drawing/2014/main" id="{6E61787F-F6EE-7A4C-BEC3-3F8FB657CA58}"/>
                </a:ext>
              </a:extLst>
            </p:cNvPr>
            <p:cNvSpPr/>
            <p:nvPr/>
          </p:nvSpPr>
          <p:spPr>
            <a:xfrm>
              <a:off x="5976866"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sz="1800"/>
            </a:p>
          </p:txBody>
        </p:sp>
        <p:sp>
          <p:nvSpPr>
            <p:cNvPr id="70" name="Freeform 69">
              <a:extLst>
                <a:ext uri="{FF2B5EF4-FFF2-40B4-BE49-F238E27FC236}">
                  <a16:creationId xmlns:a16="http://schemas.microsoft.com/office/drawing/2014/main" id="{96B83B50-0CCF-A845-A364-EA85E6261AFF}"/>
                </a:ext>
              </a:extLst>
            </p:cNvPr>
            <p:cNvSpPr/>
            <p:nvPr/>
          </p:nvSpPr>
          <p:spPr>
            <a:xfrm>
              <a:off x="5683964" y="621949"/>
              <a:ext cx="305937" cy="269176"/>
            </a:xfrm>
            <a:custGeom>
              <a:avLst/>
              <a:gdLst>
                <a:gd name="connsiteX0" fmla="*/ 16238 w 305937"/>
                <a:gd name="connsiteY0" fmla="*/ 269177 h 269176"/>
                <a:gd name="connsiteX1" fmla="*/ 174353 w 305937"/>
                <a:gd name="connsiteY1" fmla="*/ 269177 h 269176"/>
                <a:gd name="connsiteX2" fmla="*/ 188926 w 305937"/>
                <a:gd name="connsiteY2" fmla="*/ 259652 h 269176"/>
                <a:gd name="connsiteX3" fmla="*/ 304274 w 305937"/>
                <a:gd name="connsiteY3" fmla="*/ 23336 h 269176"/>
                <a:gd name="connsiteX4" fmla="*/ 296883 w 305937"/>
                <a:gd name="connsiteY4" fmla="*/ 1661 h 269176"/>
                <a:gd name="connsiteX5" fmla="*/ 289701 w 305937"/>
                <a:gd name="connsiteY5" fmla="*/ 0 h 269176"/>
                <a:gd name="connsiteX6" fmla="*/ 131586 w 305937"/>
                <a:gd name="connsiteY6" fmla="*/ 0 h 269176"/>
                <a:gd name="connsiteX7" fmla="*/ 117012 w 305937"/>
                <a:gd name="connsiteY7" fmla="*/ 9525 h 269176"/>
                <a:gd name="connsiteX8" fmla="*/ 1665 w 305937"/>
                <a:gd name="connsiteY8" fmla="*/ 245840 h 269176"/>
                <a:gd name="connsiteX9" fmla="*/ 9052 w 305937"/>
                <a:gd name="connsiteY9" fmla="*/ 267515 h 269176"/>
                <a:gd name="connsiteX10" fmla="*/ 16238 w 305937"/>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937" h="269176">
                  <a:moveTo>
                    <a:pt x="16238" y="269177"/>
                  </a:moveTo>
                  <a:lnTo>
                    <a:pt x="174353" y="269177"/>
                  </a:lnTo>
                  <a:cubicBezTo>
                    <a:pt x="180657" y="269129"/>
                    <a:pt x="186352" y="265407"/>
                    <a:pt x="188926" y="259652"/>
                  </a:cubicBezTo>
                  <a:lnTo>
                    <a:pt x="304274" y="23336"/>
                  </a:lnTo>
                  <a:cubicBezTo>
                    <a:pt x="308217" y="15311"/>
                    <a:pt x="304912" y="5606"/>
                    <a:pt x="296883" y="1661"/>
                  </a:cubicBezTo>
                  <a:cubicBezTo>
                    <a:pt x="294654" y="562"/>
                    <a:pt x="292196" y="-7"/>
                    <a:pt x="289701" y="0"/>
                  </a:cubicBezTo>
                  <a:lnTo>
                    <a:pt x="131586" y="0"/>
                  </a:lnTo>
                  <a:cubicBezTo>
                    <a:pt x="125289" y="71"/>
                    <a:pt x="119605" y="3786"/>
                    <a:pt x="117012"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sz="1800"/>
            </a:p>
          </p:txBody>
        </p:sp>
        <p:sp>
          <p:nvSpPr>
            <p:cNvPr id="71" name="Freeform 70">
              <a:extLst>
                <a:ext uri="{FF2B5EF4-FFF2-40B4-BE49-F238E27FC236}">
                  <a16:creationId xmlns:a16="http://schemas.microsoft.com/office/drawing/2014/main" id="{D454FE6A-A3E3-664E-A4C7-74EAC738E1FE}"/>
                </a:ext>
              </a:extLst>
            </p:cNvPr>
            <p:cNvSpPr/>
            <p:nvPr/>
          </p:nvSpPr>
          <p:spPr>
            <a:xfrm>
              <a:off x="5391118" y="621949"/>
              <a:ext cx="305881" cy="269176"/>
            </a:xfrm>
            <a:custGeom>
              <a:avLst/>
              <a:gdLst>
                <a:gd name="connsiteX0" fmla="*/ 16238 w 305881"/>
                <a:gd name="connsiteY0" fmla="*/ 269176 h 269176"/>
                <a:gd name="connsiteX1" fmla="*/ 174353 w 305881"/>
                <a:gd name="connsiteY1" fmla="*/ 269176 h 269176"/>
                <a:gd name="connsiteX2" fmla="*/ 188926 w 305881"/>
                <a:gd name="connsiteY2" fmla="*/ 259651 h 269176"/>
                <a:gd name="connsiteX3" fmla="*/ 304274 w 305881"/>
                <a:gd name="connsiteY3" fmla="*/ 23336 h 269176"/>
                <a:gd name="connsiteX4" fmla="*/ 296639 w 305881"/>
                <a:gd name="connsiteY4" fmla="*/ 1604 h 269176"/>
                <a:gd name="connsiteX5" fmla="*/ 289605 w 305881"/>
                <a:gd name="connsiteY5" fmla="*/ 0 h 269176"/>
                <a:gd name="connsiteX6" fmla="*/ 131586 w 305881"/>
                <a:gd name="connsiteY6" fmla="*/ 0 h 269176"/>
                <a:gd name="connsiteX7" fmla="*/ 116917 w 305881"/>
                <a:gd name="connsiteY7" fmla="*/ 9525 h 269176"/>
                <a:gd name="connsiteX8" fmla="*/ 1665 w 305881"/>
                <a:gd name="connsiteY8" fmla="*/ 245840 h 269176"/>
                <a:gd name="connsiteX9" fmla="*/ 9052 w 305881"/>
                <a:gd name="connsiteY9" fmla="*/ 267515 h 269176"/>
                <a:gd name="connsiteX10" fmla="*/ 16238 w 305881"/>
                <a:gd name="connsiteY10" fmla="*/ 269176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81" h="269176">
                  <a:moveTo>
                    <a:pt x="16238" y="269176"/>
                  </a:moveTo>
                  <a:lnTo>
                    <a:pt x="174353" y="269176"/>
                  </a:lnTo>
                  <a:cubicBezTo>
                    <a:pt x="180657" y="269129"/>
                    <a:pt x="186353" y="265406"/>
                    <a:pt x="188926" y="259651"/>
                  </a:cubicBezTo>
                  <a:lnTo>
                    <a:pt x="304274" y="23336"/>
                  </a:lnTo>
                  <a:cubicBezTo>
                    <a:pt x="308167" y="15227"/>
                    <a:pt x="304748" y="5497"/>
                    <a:pt x="296639" y="1604"/>
                  </a:cubicBezTo>
                  <a:cubicBezTo>
                    <a:pt x="294444" y="551"/>
                    <a:pt x="292040" y="2"/>
                    <a:pt x="289605" y="0"/>
                  </a:cubicBezTo>
                  <a:lnTo>
                    <a:pt x="131586" y="0"/>
                  </a:lnTo>
                  <a:cubicBezTo>
                    <a:pt x="125269" y="81"/>
                    <a:pt x="119561" y="3787"/>
                    <a:pt x="116917" y="9525"/>
                  </a:cubicBezTo>
                  <a:lnTo>
                    <a:pt x="1665" y="245840"/>
                  </a:lnTo>
                  <a:cubicBezTo>
                    <a:pt x="-2281" y="253866"/>
                    <a:pt x="1026" y="263570"/>
                    <a:pt x="9052" y="267515"/>
                  </a:cubicBezTo>
                  <a:cubicBezTo>
                    <a:pt x="11288" y="268615"/>
                    <a:pt x="13747" y="269183"/>
                    <a:pt x="16238" y="269176"/>
                  </a:cubicBezTo>
                  <a:close/>
                </a:path>
              </a:pathLst>
            </a:custGeom>
            <a:grpFill/>
            <a:ln w="9525" cap="flat">
              <a:noFill/>
              <a:prstDash val="solid"/>
              <a:miter/>
            </a:ln>
          </p:spPr>
          <p:txBody>
            <a:bodyPr rtlCol="0" anchor="ctr"/>
            <a:lstStyle/>
            <a:p>
              <a:endParaRPr lang="en-US" sz="1800"/>
            </a:p>
          </p:txBody>
        </p:sp>
        <p:sp>
          <p:nvSpPr>
            <p:cNvPr id="72" name="Freeform 71">
              <a:extLst>
                <a:ext uri="{FF2B5EF4-FFF2-40B4-BE49-F238E27FC236}">
                  <a16:creationId xmlns:a16="http://schemas.microsoft.com/office/drawing/2014/main" id="{8D479E64-D1F6-B047-94D5-E82B46763710}"/>
                </a:ext>
              </a:extLst>
            </p:cNvPr>
            <p:cNvSpPr/>
            <p:nvPr/>
          </p:nvSpPr>
          <p:spPr>
            <a:xfrm>
              <a:off x="5098310" y="621949"/>
              <a:ext cx="305843" cy="269176"/>
            </a:xfrm>
            <a:custGeom>
              <a:avLst/>
              <a:gdLst>
                <a:gd name="connsiteX0" fmla="*/ 16238 w 305843"/>
                <a:gd name="connsiteY0" fmla="*/ 269177 h 269176"/>
                <a:gd name="connsiteX1" fmla="*/ 174353 w 305843"/>
                <a:gd name="connsiteY1" fmla="*/ 269177 h 269176"/>
                <a:gd name="connsiteX2" fmla="*/ 188926 w 305843"/>
                <a:gd name="connsiteY2" fmla="*/ 259652 h 269176"/>
                <a:gd name="connsiteX3" fmla="*/ 304179 w 305843"/>
                <a:gd name="connsiteY3" fmla="*/ 23336 h 269176"/>
                <a:gd name="connsiteX4" fmla="*/ 296791 w 305843"/>
                <a:gd name="connsiteY4" fmla="*/ 1661 h 269176"/>
                <a:gd name="connsiteX5" fmla="*/ 289605 w 305843"/>
                <a:gd name="connsiteY5" fmla="*/ 0 h 269176"/>
                <a:gd name="connsiteX6" fmla="*/ 131490 w 305843"/>
                <a:gd name="connsiteY6" fmla="*/ 0 h 269176"/>
                <a:gd name="connsiteX7" fmla="*/ 116917 w 305843"/>
                <a:gd name="connsiteY7" fmla="*/ 9525 h 269176"/>
                <a:gd name="connsiteX8" fmla="*/ 1665 w 305843"/>
                <a:gd name="connsiteY8" fmla="*/ 245840 h 269176"/>
                <a:gd name="connsiteX9" fmla="*/ 9052 w 305843"/>
                <a:gd name="connsiteY9" fmla="*/ 267515 h 269176"/>
                <a:gd name="connsiteX10" fmla="*/ 16238 w 305843"/>
                <a:gd name="connsiteY10" fmla="*/ 269177 h 26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843" h="269176">
                  <a:moveTo>
                    <a:pt x="16238" y="269177"/>
                  </a:moveTo>
                  <a:lnTo>
                    <a:pt x="174353" y="269177"/>
                  </a:lnTo>
                  <a:cubicBezTo>
                    <a:pt x="180650" y="269105"/>
                    <a:pt x="186334" y="265390"/>
                    <a:pt x="188926" y="259652"/>
                  </a:cubicBezTo>
                  <a:lnTo>
                    <a:pt x="304179" y="23336"/>
                  </a:lnTo>
                  <a:cubicBezTo>
                    <a:pt x="308124" y="15311"/>
                    <a:pt x="304817" y="5606"/>
                    <a:pt x="296791" y="1661"/>
                  </a:cubicBezTo>
                  <a:cubicBezTo>
                    <a:pt x="294556" y="562"/>
                    <a:pt x="292096" y="-7"/>
                    <a:pt x="289605" y="0"/>
                  </a:cubicBezTo>
                  <a:lnTo>
                    <a:pt x="131490" y="0"/>
                  </a:lnTo>
                  <a:cubicBezTo>
                    <a:pt x="125201" y="94"/>
                    <a:pt x="119528" y="3802"/>
                    <a:pt x="116917" y="9525"/>
                  </a:cubicBezTo>
                  <a:lnTo>
                    <a:pt x="1665" y="245840"/>
                  </a:lnTo>
                  <a:cubicBezTo>
                    <a:pt x="-2281" y="253866"/>
                    <a:pt x="1027" y="263570"/>
                    <a:pt x="9052" y="267515"/>
                  </a:cubicBezTo>
                  <a:cubicBezTo>
                    <a:pt x="11288" y="268615"/>
                    <a:pt x="13747" y="269183"/>
                    <a:pt x="16238" y="269177"/>
                  </a:cubicBezTo>
                  <a:close/>
                </a:path>
              </a:pathLst>
            </a:custGeom>
            <a:grpFill/>
            <a:ln w="9525" cap="flat">
              <a:noFill/>
              <a:prstDash val="solid"/>
              <a:miter/>
            </a:ln>
          </p:spPr>
          <p:txBody>
            <a:bodyPr rtlCol="0" anchor="ctr"/>
            <a:lstStyle/>
            <a:p>
              <a:endParaRPr lang="en-US" sz="1800"/>
            </a:p>
          </p:txBody>
        </p:sp>
        <p:sp>
          <p:nvSpPr>
            <p:cNvPr id="73" name="Freeform 72">
              <a:extLst>
                <a:ext uri="{FF2B5EF4-FFF2-40B4-BE49-F238E27FC236}">
                  <a16:creationId xmlns:a16="http://schemas.microsoft.com/office/drawing/2014/main" id="{9D6FCB8E-2ABB-764A-9A10-2B11150949E3}"/>
                </a:ext>
              </a:extLst>
            </p:cNvPr>
            <p:cNvSpPr/>
            <p:nvPr/>
          </p:nvSpPr>
          <p:spPr>
            <a:xfrm>
              <a:off x="6269628" y="621568"/>
              <a:ext cx="305797" cy="269557"/>
            </a:xfrm>
            <a:custGeom>
              <a:avLst/>
              <a:gdLst>
                <a:gd name="connsiteX0" fmla="*/ 16193 w 305797"/>
                <a:gd name="connsiteY0" fmla="*/ 269558 h 269557"/>
                <a:gd name="connsiteX1" fmla="*/ 174308 w 305797"/>
                <a:gd name="connsiteY1" fmla="*/ 269558 h 269557"/>
                <a:gd name="connsiteX2" fmla="*/ 188882 w 305797"/>
                <a:gd name="connsiteY2" fmla="*/ 260033 h 269557"/>
                <a:gd name="connsiteX3" fmla="*/ 304134 w 305797"/>
                <a:gd name="connsiteY3" fmla="*/ 23336 h 269557"/>
                <a:gd name="connsiteX4" fmla="*/ 296743 w 305797"/>
                <a:gd name="connsiteY4" fmla="*/ 1661 h 269557"/>
                <a:gd name="connsiteX5" fmla="*/ 289561 w 305797"/>
                <a:gd name="connsiteY5" fmla="*/ 0 h 269557"/>
                <a:gd name="connsiteX6" fmla="*/ 131446 w 305797"/>
                <a:gd name="connsiteY6" fmla="*/ 0 h 269557"/>
                <a:gd name="connsiteX7" fmla="*/ 116873 w 305797"/>
                <a:gd name="connsiteY7" fmla="*/ 9525 h 269557"/>
                <a:gd name="connsiteX8" fmla="*/ 1620 w 305797"/>
                <a:gd name="connsiteY8" fmla="*/ 246317 h 269557"/>
                <a:gd name="connsiteX9" fmla="*/ 9145 w 305797"/>
                <a:gd name="connsiteY9" fmla="*/ 267943 h 269557"/>
                <a:gd name="connsiteX10" fmla="*/ 16193 w 305797"/>
                <a:gd name="connsiteY10" fmla="*/ 269558 h 26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5797" h="269557">
                  <a:moveTo>
                    <a:pt x="16193" y="269558"/>
                  </a:moveTo>
                  <a:lnTo>
                    <a:pt x="174308" y="269558"/>
                  </a:lnTo>
                  <a:cubicBezTo>
                    <a:pt x="180604" y="269486"/>
                    <a:pt x="186291" y="265771"/>
                    <a:pt x="188882" y="260033"/>
                  </a:cubicBezTo>
                  <a:lnTo>
                    <a:pt x="304134" y="23336"/>
                  </a:lnTo>
                  <a:cubicBezTo>
                    <a:pt x="308077" y="15311"/>
                    <a:pt x="304772" y="5606"/>
                    <a:pt x="296743" y="1661"/>
                  </a:cubicBezTo>
                  <a:cubicBezTo>
                    <a:pt x="294514" y="562"/>
                    <a:pt x="292056" y="-7"/>
                    <a:pt x="289561" y="0"/>
                  </a:cubicBezTo>
                  <a:lnTo>
                    <a:pt x="131446" y="0"/>
                  </a:lnTo>
                  <a:cubicBezTo>
                    <a:pt x="125159" y="94"/>
                    <a:pt x="119482" y="3802"/>
                    <a:pt x="116873" y="9525"/>
                  </a:cubicBezTo>
                  <a:lnTo>
                    <a:pt x="1620" y="246317"/>
                  </a:lnTo>
                  <a:cubicBezTo>
                    <a:pt x="-2276" y="254368"/>
                    <a:pt x="1096" y="264050"/>
                    <a:pt x="9145" y="267943"/>
                  </a:cubicBezTo>
                  <a:cubicBezTo>
                    <a:pt x="11345" y="269005"/>
                    <a:pt x="13755" y="269557"/>
                    <a:pt x="16193" y="269558"/>
                  </a:cubicBezTo>
                  <a:close/>
                </a:path>
              </a:pathLst>
            </a:custGeom>
            <a:grpFill/>
            <a:ln w="9525" cap="flat">
              <a:noFill/>
              <a:prstDash val="solid"/>
              <a:miter/>
            </a:ln>
          </p:spPr>
          <p:txBody>
            <a:bodyPr rtlCol="0" anchor="ctr"/>
            <a:lstStyle/>
            <a:p>
              <a:endParaRPr lang="en-US" sz="1800"/>
            </a:p>
          </p:txBody>
        </p:sp>
      </p:grpSp>
      <p:grpSp>
        <p:nvGrpSpPr>
          <p:cNvPr id="74" name="Group 73">
            <a:extLst>
              <a:ext uri="{FF2B5EF4-FFF2-40B4-BE49-F238E27FC236}">
                <a16:creationId xmlns:a16="http://schemas.microsoft.com/office/drawing/2014/main" id="{6E7AA431-B148-DE41-ACCF-557D55B3AAA1}"/>
              </a:ext>
            </a:extLst>
          </p:cNvPr>
          <p:cNvGrpSpPr/>
          <p:nvPr userDrawn="1"/>
        </p:nvGrpSpPr>
        <p:grpSpPr>
          <a:xfrm>
            <a:off x="532640" y="2827448"/>
            <a:ext cx="589578" cy="716724"/>
            <a:chOff x="1558649" y="860856"/>
            <a:chExt cx="852361" cy="1036178"/>
          </a:xfrm>
        </p:grpSpPr>
        <p:sp>
          <p:nvSpPr>
            <p:cNvPr id="75" name="Freeform 4">
              <a:extLst>
                <a:ext uri="{FF2B5EF4-FFF2-40B4-BE49-F238E27FC236}">
                  <a16:creationId xmlns:a16="http://schemas.microsoft.com/office/drawing/2014/main" id="{2726E3D1-AC76-4549-8A59-F0AB0B1B859D}"/>
                </a:ext>
              </a:extLst>
            </p:cNvPr>
            <p:cNvSpPr/>
            <p:nvPr/>
          </p:nvSpPr>
          <p:spPr>
            <a:xfrm>
              <a:off x="1558649" y="860856"/>
              <a:ext cx="852361" cy="1036178"/>
            </a:xfrm>
            <a:custGeom>
              <a:avLst/>
              <a:gdLst/>
              <a:ahLst/>
              <a:cxnLst/>
              <a:rect l="0" t="0" r="r" b="b"/>
              <a:pathLst>
                <a:path w="3262" h="4406">
                  <a:moveTo>
                    <a:pt x="1628" y="0"/>
                  </a:moveTo>
                  <a:cubicBezTo>
                    <a:pt x="1594" y="0"/>
                    <a:pt x="1561" y="9"/>
                    <a:pt x="1530" y="27"/>
                  </a:cubicBezTo>
                  <a:cubicBezTo>
                    <a:pt x="1141" y="257"/>
                    <a:pt x="1141" y="257"/>
                    <a:pt x="1141" y="257"/>
                  </a:cubicBezTo>
                  <a:cubicBezTo>
                    <a:pt x="935" y="383"/>
                    <a:pt x="710" y="468"/>
                    <a:pt x="477" y="510"/>
                  </a:cubicBezTo>
                  <a:cubicBezTo>
                    <a:pt x="262" y="548"/>
                    <a:pt x="262" y="548"/>
                    <a:pt x="262" y="548"/>
                  </a:cubicBezTo>
                  <a:cubicBezTo>
                    <a:pt x="127" y="573"/>
                    <a:pt x="30" y="698"/>
                    <a:pt x="32" y="845"/>
                  </a:cubicBezTo>
                  <a:cubicBezTo>
                    <a:pt x="42" y="2150"/>
                    <a:pt x="42" y="2150"/>
                    <a:pt x="42" y="2150"/>
                  </a:cubicBezTo>
                  <a:cubicBezTo>
                    <a:pt x="42" y="2391"/>
                    <a:pt x="0" y="2666"/>
                    <a:pt x="296" y="3129"/>
                  </a:cubicBezTo>
                  <a:cubicBezTo>
                    <a:pt x="527" y="3489"/>
                    <a:pt x="1210" y="4103"/>
                    <a:pt x="1498" y="4354"/>
                  </a:cubicBezTo>
                  <a:cubicBezTo>
                    <a:pt x="1537" y="4389"/>
                    <a:pt x="1583" y="4405"/>
                    <a:pt x="1629" y="4405"/>
                  </a:cubicBezTo>
                  <a:cubicBezTo>
                    <a:pt x="1677" y="4405"/>
                    <a:pt x="1723" y="4389"/>
                    <a:pt x="1760" y="4354"/>
                  </a:cubicBezTo>
                  <a:cubicBezTo>
                    <a:pt x="2050" y="4103"/>
                    <a:pt x="2733" y="3489"/>
                    <a:pt x="2964" y="3129"/>
                  </a:cubicBezTo>
                  <a:cubicBezTo>
                    <a:pt x="3261" y="2666"/>
                    <a:pt x="3217" y="2391"/>
                    <a:pt x="3218" y="2150"/>
                  </a:cubicBezTo>
                  <a:cubicBezTo>
                    <a:pt x="3228" y="847"/>
                    <a:pt x="3228" y="847"/>
                    <a:pt x="3228" y="847"/>
                  </a:cubicBezTo>
                  <a:cubicBezTo>
                    <a:pt x="3228" y="839"/>
                    <a:pt x="3228" y="839"/>
                    <a:pt x="3228" y="839"/>
                  </a:cubicBezTo>
                  <a:cubicBezTo>
                    <a:pt x="3227" y="695"/>
                    <a:pt x="3129" y="573"/>
                    <a:pt x="2998" y="548"/>
                  </a:cubicBezTo>
                  <a:cubicBezTo>
                    <a:pt x="2783" y="510"/>
                    <a:pt x="2783" y="510"/>
                    <a:pt x="2783" y="510"/>
                  </a:cubicBezTo>
                  <a:cubicBezTo>
                    <a:pt x="2550" y="468"/>
                    <a:pt x="2325" y="383"/>
                    <a:pt x="2120" y="257"/>
                  </a:cubicBezTo>
                  <a:cubicBezTo>
                    <a:pt x="1730" y="27"/>
                    <a:pt x="1730" y="27"/>
                    <a:pt x="1730" y="27"/>
                  </a:cubicBezTo>
                  <a:cubicBezTo>
                    <a:pt x="1699" y="9"/>
                    <a:pt x="1664" y="0"/>
                    <a:pt x="1630" y="0"/>
                  </a:cubicBezTo>
                  <a:lnTo>
                    <a:pt x="1628" y="0"/>
                  </a:lnTo>
                </a:path>
              </a:pathLst>
            </a:custGeom>
            <a:solidFill>
              <a:schemeClr val="accent2"/>
            </a:solidFill>
            <a:ln w="9525" cap="flat">
              <a:noFill/>
              <a:prstDash val="solid"/>
              <a:miter/>
            </a:ln>
          </p:spPr>
        </p:sp>
        <p:sp>
          <p:nvSpPr>
            <p:cNvPr id="76" name="Freeform 2">
              <a:extLst>
                <a:ext uri="{FF2B5EF4-FFF2-40B4-BE49-F238E27FC236}">
                  <a16:creationId xmlns:a16="http://schemas.microsoft.com/office/drawing/2014/main" id="{21F2F591-FAD5-5549-9504-7F25FDC299F3}"/>
                </a:ext>
              </a:extLst>
            </p:cNvPr>
            <p:cNvSpPr>
              <a:spLocks noChangeAspect="1"/>
            </p:cNvSpPr>
            <p:nvPr/>
          </p:nvSpPr>
          <p:spPr>
            <a:xfrm>
              <a:off x="1764647" y="1128039"/>
              <a:ext cx="440364" cy="439188"/>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bg2"/>
            </a:solidFill>
            <a:ln>
              <a:noFill/>
            </a:ln>
          </p:spPr>
        </p:sp>
      </p:grpSp>
      <p:grpSp>
        <p:nvGrpSpPr>
          <p:cNvPr id="77" name="Group 76">
            <a:extLst>
              <a:ext uri="{FF2B5EF4-FFF2-40B4-BE49-F238E27FC236}">
                <a16:creationId xmlns:a16="http://schemas.microsoft.com/office/drawing/2014/main" id="{D1043783-2090-2740-8A9B-64C1822CEE04}"/>
              </a:ext>
            </a:extLst>
          </p:cNvPr>
          <p:cNvGrpSpPr/>
          <p:nvPr userDrawn="1"/>
        </p:nvGrpSpPr>
        <p:grpSpPr>
          <a:xfrm rot="10800000" flipH="1">
            <a:off x="1302263" y="3349457"/>
            <a:ext cx="1128042" cy="207621"/>
            <a:chOff x="4467257" y="275609"/>
            <a:chExt cx="1102102" cy="202847"/>
          </a:xfrm>
          <a:solidFill>
            <a:schemeClr val="accent3"/>
          </a:solidFill>
        </p:grpSpPr>
        <p:sp>
          <p:nvSpPr>
            <p:cNvPr id="78" name="Freeform 77">
              <a:extLst>
                <a:ext uri="{FF2B5EF4-FFF2-40B4-BE49-F238E27FC236}">
                  <a16:creationId xmlns:a16="http://schemas.microsoft.com/office/drawing/2014/main" id="{A0E1DC6A-2DF2-C44F-99CE-B3F9CACACAB2}"/>
                </a:ext>
              </a:extLst>
            </p:cNvPr>
            <p:cNvSpPr/>
            <p:nvPr/>
          </p:nvSpPr>
          <p:spPr>
            <a:xfrm rot="16200000">
              <a:off x="4756970" y="278468"/>
              <a:ext cx="196823" cy="197130"/>
            </a:xfrm>
            <a:custGeom>
              <a:avLst/>
              <a:gdLst>
                <a:gd name="connsiteX0" fmla="*/ 194997 w 196823"/>
                <a:gd name="connsiteY0" fmla="*/ 25432 h 197130"/>
                <a:gd name="connsiteX1" fmla="*/ 114129 w 196823"/>
                <a:gd name="connsiteY1" fmla="*/ 187357 h 197130"/>
                <a:gd name="connsiteX2" fmla="*/ 90657 w 196823"/>
                <a:gd name="connsiteY2" fmla="*/ 195317 h 197130"/>
                <a:gd name="connsiteX3" fmla="*/ 82697 w 196823"/>
                <a:gd name="connsiteY3" fmla="*/ 187357 h 197130"/>
                <a:gd name="connsiteX4" fmla="*/ 1830 w 196823"/>
                <a:gd name="connsiteY4" fmla="*/ 25432 h 197130"/>
                <a:gd name="connsiteX5" fmla="*/ 9814 w 196823"/>
                <a:gd name="connsiteY5" fmla="*/ 1826 h 197130"/>
                <a:gd name="connsiteX6" fmla="*/ 17546 w 196823"/>
                <a:gd name="connsiteY6" fmla="*/ 0 h 197130"/>
                <a:gd name="connsiteX7" fmla="*/ 179471 w 196823"/>
                <a:gd name="connsiteY7" fmla="*/ 0 h 197130"/>
                <a:gd name="connsiteX8" fmla="*/ 196822 w 196823"/>
                <a:gd name="connsiteY8" fmla="*/ 17888 h 197130"/>
                <a:gd name="connsiteX9" fmla="*/ 194997 w 196823"/>
                <a:gd name="connsiteY9" fmla="*/ 25432 h 19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823" h="197130">
                  <a:moveTo>
                    <a:pt x="194997" y="25432"/>
                  </a:moveTo>
                  <a:lnTo>
                    <a:pt x="114129" y="187357"/>
                  </a:lnTo>
                  <a:cubicBezTo>
                    <a:pt x="109846" y="196037"/>
                    <a:pt x="99337" y="199600"/>
                    <a:pt x="90657" y="195317"/>
                  </a:cubicBezTo>
                  <a:cubicBezTo>
                    <a:pt x="87200" y="193611"/>
                    <a:pt x="84403" y="190813"/>
                    <a:pt x="82697" y="187357"/>
                  </a:cubicBezTo>
                  <a:lnTo>
                    <a:pt x="1830" y="25432"/>
                  </a:lnTo>
                  <a:cubicBezTo>
                    <a:pt x="-2484" y="16708"/>
                    <a:pt x="1091" y="6139"/>
                    <a:pt x="9814" y="1826"/>
                  </a:cubicBezTo>
                  <a:cubicBezTo>
                    <a:pt x="12220" y="636"/>
                    <a:pt x="14864" y="12"/>
                    <a:pt x="17546" y="0"/>
                  </a:cubicBezTo>
                  <a:lnTo>
                    <a:pt x="179471" y="0"/>
                  </a:lnTo>
                  <a:cubicBezTo>
                    <a:pt x="189202" y="149"/>
                    <a:pt x="196969" y="8157"/>
                    <a:pt x="196822" y="17888"/>
                  </a:cubicBezTo>
                  <a:cubicBezTo>
                    <a:pt x="196782" y="20507"/>
                    <a:pt x="196158" y="23084"/>
                    <a:pt x="194997" y="25432"/>
                  </a:cubicBezTo>
                  <a:close/>
                </a:path>
              </a:pathLst>
            </a:custGeom>
            <a:grpFill/>
            <a:ln w="9525" cap="flat">
              <a:noFill/>
              <a:prstDash val="solid"/>
              <a:miter/>
            </a:ln>
          </p:spPr>
          <p:txBody>
            <a:bodyPr rtlCol="0" anchor="ctr"/>
            <a:lstStyle/>
            <a:p>
              <a:endParaRPr lang="en-US" sz="1800"/>
            </a:p>
          </p:txBody>
        </p:sp>
        <p:sp>
          <p:nvSpPr>
            <p:cNvPr id="79" name="Freeform 78">
              <a:extLst>
                <a:ext uri="{FF2B5EF4-FFF2-40B4-BE49-F238E27FC236}">
                  <a16:creationId xmlns:a16="http://schemas.microsoft.com/office/drawing/2014/main" id="{7E75A8C3-88F7-CB4D-85FF-AC3527A7F278}"/>
                </a:ext>
              </a:extLst>
            </p:cNvPr>
            <p:cNvSpPr/>
            <p:nvPr/>
          </p:nvSpPr>
          <p:spPr>
            <a:xfrm rot="16200000">
              <a:off x="5366512" y="275610"/>
              <a:ext cx="202847" cy="202846"/>
            </a:xfrm>
            <a:custGeom>
              <a:avLst/>
              <a:gdLst>
                <a:gd name="connsiteX0" fmla="*/ 201533 w 202847"/>
                <a:gd name="connsiteY0" fmla="*/ 18288 h 202846"/>
                <a:gd name="connsiteX1" fmla="*/ 112760 w 202847"/>
                <a:gd name="connsiteY1" fmla="*/ 195834 h 202846"/>
                <a:gd name="connsiteX2" fmla="*/ 95767 w 202847"/>
                <a:gd name="connsiteY2" fmla="*/ 201511 h 202846"/>
                <a:gd name="connsiteX3" fmla="*/ 90090 w 202847"/>
                <a:gd name="connsiteY3" fmla="*/ 195834 h 202846"/>
                <a:gd name="connsiteX4" fmla="*/ 1317 w 202847"/>
                <a:gd name="connsiteY4" fmla="*/ 18288 h 202846"/>
                <a:gd name="connsiteX5" fmla="*/ 7051 w 202847"/>
                <a:gd name="connsiteY5" fmla="*/ 1314 h 202846"/>
                <a:gd name="connsiteX6" fmla="*/ 12652 w 202847"/>
                <a:gd name="connsiteY6" fmla="*/ 0 h 202846"/>
                <a:gd name="connsiteX7" fmla="*/ 190198 w 202847"/>
                <a:gd name="connsiteY7" fmla="*/ 0 h 202846"/>
                <a:gd name="connsiteX8" fmla="*/ 202847 w 202847"/>
                <a:gd name="connsiteY8" fmla="*/ 12687 h 202846"/>
                <a:gd name="connsiteX9" fmla="*/ 201533 w 202847"/>
                <a:gd name="connsiteY9" fmla="*/ 18288 h 20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2847" h="202846">
                  <a:moveTo>
                    <a:pt x="201533" y="18288"/>
                  </a:moveTo>
                  <a:lnTo>
                    <a:pt x="112760" y="195834"/>
                  </a:lnTo>
                  <a:cubicBezTo>
                    <a:pt x="109636" y="202092"/>
                    <a:pt x="102028" y="204635"/>
                    <a:pt x="95767" y="201511"/>
                  </a:cubicBezTo>
                  <a:cubicBezTo>
                    <a:pt x="93310" y="200282"/>
                    <a:pt x="91317" y="198291"/>
                    <a:pt x="90090" y="195834"/>
                  </a:cubicBezTo>
                  <a:lnTo>
                    <a:pt x="1317" y="18288"/>
                  </a:lnTo>
                  <a:cubicBezTo>
                    <a:pt x="-1786" y="12021"/>
                    <a:pt x="781" y="4420"/>
                    <a:pt x="7051" y="1314"/>
                  </a:cubicBezTo>
                  <a:cubicBezTo>
                    <a:pt x="8792" y="457"/>
                    <a:pt x="10709" y="0"/>
                    <a:pt x="12652" y="0"/>
                  </a:cubicBezTo>
                  <a:lnTo>
                    <a:pt x="190198" y="0"/>
                  </a:lnTo>
                  <a:cubicBezTo>
                    <a:pt x="197194" y="10"/>
                    <a:pt x="202858" y="5686"/>
                    <a:pt x="202847" y="12687"/>
                  </a:cubicBezTo>
                  <a:cubicBezTo>
                    <a:pt x="202844" y="14630"/>
                    <a:pt x="202395" y="16545"/>
                    <a:pt x="201533" y="18288"/>
                  </a:cubicBezTo>
                  <a:close/>
                </a:path>
              </a:pathLst>
            </a:custGeom>
            <a:grpFill/>
            <a:ln w="9525" cap="flat">
              <a:noFill/>
              <a:prstDash val="solid"/>
              <a:miter/>
            </a:ln>
          </p:spPr>
          <p:txBody>
            <a:bodyPr rtlCol="0" anchor="ctr"/>
            <a:lstStyle/>
            <a:p>
              <a:endParaRPr lang="en-US" sz="1800"/>
            </a:p>
          </p:txBody>
        </p:sp>
        <p:sp>
          <p:nvSpPr>
            <p:cNvPr id="80" name="Freeform 79">
              <a:extLst>
                <a:ext uri="{FF2B5EF4-FFF2-40B4-BE49-F238E27FC236}">
                  <a16:creationId xmlns:a16="http://schemas.microsoft.com/office/drawing/2014/main" id="{649EF03E-5723-2948-B32F-E583CF15D160}"/>
                </a:ext>
              </a:extLst>
            </p:cNvPr>
            <p:cNvSpPr/>
            <p:nvPr/>
          </p:nvSpPr>
          <p:spPr>
            <a:xfrm rot="16200000">
              <a:off x="4467256" y="279200"/>
              <a:ext cx="195667" cy="195666"/>
            </a:xfrm>
            <a:custGeom>
              <a:avLst/>
              <a:gdLst>
                <a:gd name="connsiteX0" fmla="*/ 193753 w 195667"/>
                <a:gd name="connsiteY0" fmla="*/ 26670 h 195666"/>
                <a:gd name="connsiteX1" fmla="*/ 114409 w 195667"/>
                <a:gd name="connsiteY1" fmla="*/ 185452 h 195666"/>
                <a:gd name="connsiteX2" fmla="*/ 89616 w 195667"/>
                <a:gd name="connsiteY2" fmla="*/ 193710 h 195666"/>
                <a:gd name="connsiteX3" fmla="*/ 81358 w 195667"/>
                <a:gd name="connsiteY3" fmla="*/ 185452 h 195666"/>
                <a:gd name="connsiteX4" fmla="*/ 1919 w 195667"/>
                <a:gd name="connsiteY4" fmla="*/ 26670 h 195666"/>
                <a:gd name="connsiteX5" fmla="*/ 10292 w 195667"/>
                <a:gd name="connsiteY5" fmla="*/ 1915 h 195666"/>
                <a:gd name="connsiteX6" fmla="*/ 18493 w 195667"/>
                <a:gd name="connsiteY6" fmla="*/ 0 h 195666"/>
                <a:gd name="connsiteX7" fmla="*/ 177179 w 195667"/>
                <a:gd name="connsiteY7" fmla="*/ 0 h 195666"/>
                <a:gd name="connsiteX8" fmla="*/ 195667 w 195667"/>
                <a:gd name="connsiteY8" fmla="*/ 18469 h 195666"/>
                <a:gd name="connsiteX9" fmla="*/ 193753 w 195667"/>
                <a:gd name="connsiteY9" fmla="*/ 26670 h 19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67" h="195666">
                  <a:moveTo>
                    <a:pt x="193753" y="26670"/>
                  </a:moveTo>
                  <a:lnTo>
                    <a:pt x="114409" y="185452"/>
                  </a:lnTo>
                  <a:cubicBezTo>
                    <a:pt x="109843" y="194579"/>
                    <a:pt x="98743" y="198276"/>
                    <a:pt x="89616" y="193710"/>
                  </a:cubicBezTo>
                  <a:cubicBezTo>
                    <a:pt x="86043" y="191923"/>
                    <a:pt x="83145" y="189025"/>
                    <a:pt x="81358" y="185452"/>
                  </a:cubicBezTo>
                  <a:lnTo>
                    <a:pt x="1919" y="26670"/>
                  </a:lnTo>
                  <a:cubicBezTo>
                    <a:pt x="-2605" y="17522"/>
                    <a:pt x="1144" y="6439"/>
                    <a:pt x="10292" y="1915"/>
                  </a:cubicBezTo>
                  <a:cubicBezTo>
                    <a:pt x="12841" y="653"/>
                    <a:pt x="15647" y="-2"/>
                    <a:pt x="18493" y="0"/>
                  </a:cubicBezTo>
                  <a:lnTo>
                    <a:pt x="177179" y="0"/>
                  </a:lnTo>
                  <a:cubicBezTo>
                    <a:pt x="187384" y="-6"/>
                    <a:pt x="195662" y="8263"/>
                    <a:pt x="195667" y="18469"/>
                  </a:cubicBezTo>
                  <a:cubicBezTo>
                    <a:pt x="195669" y="21313"/>
                    <a:pt x="195014" y="24120"/>
                    <a:pt x="193753" y="26670"/>
                  </a:cubicBezTo>
                  <a:close/>
                </a:path>
              </a:pathLst>
            </a:custGeom>
            <a:grpFill/>
            <a:ln w="9525" cap="flat">
              <a:noFill/>
              <a:prstDash val="solid"/>
              <a:miter/>
            </a:ln>
          </p:spPr>
          <p:txBody>
            <a:bodyPr rtlCol="0" anchor="ctr"/>
            <a:lstStyle/>
            <a:p>
              <a:endParaRPr lang="en-US" sz="1800"/>
            </a:p>
          </p:txBody>
        </p:sp>
        <p:sp>
          <p:nvSpPr>
            <p:cNvPr id="81" name="Freeform 80">
              <a:extLst>
                <a:ext uri="{FF2B5EF4-FFF2-40B4-BE49-F238E27FC236}">
                  <a16:creationId xmlns:a16="http://schemas.microsoft.com/office/drawing/2014/main" id="{08955D74-1137-144B-B2F9-137E05ABF8A0}"/>
                </a:ext>
              </a:extLst>
            </p:cNvPr>
            <p:cNvSpPr/>
            <p:nvPr/>
          </p:nvSpPr>
          <p:spPr>
            <a:xfrm rot="16200000">
              <a:off x="5061616" y="277858"/>
              <a:ext cx="198352" cy="198351"/>
            </a:xfrm>
            <a:custGeom>
              <a:avLst/>
              <a:gdLst>
                <a:gd name="connsiteX0" fmla="*/ 196619 w 198352"/>
                <a:gd name="connsiteY0" fmla="*/ 23717 h 198351"/>
                <a:gd name="connsiteX1" fmla="*/ 113846 w 198352"/>
                <a:gd name="connsiteY1" fmla="*/ 189262 h 198351"/>
                <a:gd name="connsiteX2" fmla="*/ 91882 w 198352"/>
                <a:gd name="connsiteY2" fmla="*/ 196634 h 198351"/>
                <a:gd name="connsiteX3" fmla="*/ 84509 w 198352"/>
                <a:gd name="connsiteY3" fmla="*/ 189262 h 198351"/>
                <a:gd name="connsiteX4" fmla="*/ 1737 w 198352"/>
                <a:gd name="connsiteY4" fmla="*/ 23717 h 198351"/>
                <a:gd name="connsiteX5" fmla="*/ 9052 w 198352"/>
                <a:gd name="connsiteY5" fmla="*/ 1734 h 198351"/>
                <a:gd name="connsiteX6" fmla="*/ 16406 w 198352"/>
                <a:gd name="connsiteY6" fmla="*/ 0 h 198351"/>
                <a:gd name="connsiteX7" fmla="*/ 181950 w 198352"/>
                <a:gd name="connsiteY7" fmla="*/ 0 h 198351"/>
                <a:gd name="connsiteX8" fmla="*/ 198352 w 198352"/>
                <a:gd name="connsiteY8" fmla="*/ 16364 h 198351"/>
                <a:gd name="connsiteX9" fmla="*/ 196619 w 198352"/>
                <a:gd name="connsiteY9" fmla="*/ 23717 h 198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352" h="198351">
                  <a:moveTo>
                    <a:pt x="196619" y="23717"/>
                  </a:moveTo>
                  <a:lnTo>
                    <a:pt x="113846" y="189262"/>
                  </a:lnTo>
                  <a:cubicBezTo>
                    <a:pt x="109816" y="197363"/>
                    <a:pt x="99983" y="200663"/>
                    <a:pt x="91882" y="196634"/>
                  </a:cubicBezTo>
                  <a:cubicBezTo>
                    <a:pt x="88687" y="195044"/>
                    <a:pt x="86098" y="192456"/>
                    <a:pt x="84509" y="189262"/>
                  </a:cubicBezTo>
                  <a:lnTo>
                    <a:pt x="1737" y="23717"/>
                  </a:lnTo>
                  <a:cubicBezTo>
                    <a:pt x="-2314" y="15627"/>
                    <a:pt x="962" y="5784"/>
                    <a:pt x="9052" y="1734"/>
                  </a:cubicBezTo>
                  <a:cubicBezTo>
                    <a:pt x="11335" y="591"/>
                    <a:pt x="13853" y="-3"/>
                    <a:pt x="16406" y="0"/>
                  </a:cubicBezTo>
                  <a:lnTo>
                    <a:pt x="181950" y="0"/>
                  </a:lnTo>
                  <a:cubicBezTo>
                    <a:pt x="190998" y="-10"/>
                    <a:pt x="198342" y="7316"/>
                    <a:pt x="198352" y="16364"/>
                  </a:cubicBezTo>
                  <a:cubicBezTo>
                    <a:pt x="198355" y="18917"/>
                    <a:pt x="197762" y="21435"/>
                    <a:pt x="196619" y="23717"/>
                  </a:cubicBezTo>
                  <a:close/>
                </a:path>
              </a:pathLst>
            </a:custGeom>
            <a:grpFill/>
            <a:ln w="9525" cap="flat">
              <a:noFill/>
              <a:prstDash val="solid"/>
              <a:miter/>
            </a:ln>
          </p:spPr>
          <p:txBody>
            <a:bodyPr rtlCol="0" anchor="ctr"/>
            <a:lstStyle/>
            <a:p>
              <a:endParaRPr lang="en-US" sz="1800"/>
            </a:p>
          </p:txBody>
        </p:sp>
      </p:grpSp>
      <p:sp>
        <p:nvSpPr>
          <p:cNvPr id="17" name="Text Placeholder 3">
            <a:extLst>
              <a:ext uri="{FF2B5EF4-FFF2-40B4-BE49-F238E27FC236}">
                <a16:creationId xmlns:a16="http://schemas.microsoft.com/office/drawing/2014/main" id="{435977C5-2F7B-7F44-B5E0-D19B891AC02F}"/>
              </a:ext>
            </a:extLst>
          </p:cNvPr>
          <p:cNvSpPr>
            <a:spLocks noGrp="1"/>
          </p:cNvSpPr>
          <p:nvPr>
            <p:ph type="body" sz="quarter" idx="10" hasCustomPrompt="1"/>
          </p:nvPr>
        </p:nvSpPr>
        <p:spPr>
          <a:xfrm>
            <a:off x="4444585" y="531813"/>
            <a:ext cx="4204117" cy="3983038"/>
          </a:xfrm>
        </p:spPr>
        <p:txBody>
          <a:bodyPr anchor="ctr">
            <a:noAutofit/>
          </a:bodyPr>
          <a:lstStyle>
            <a:lvl1pPr marL="238119" indent="-238119">
              <a:spcBef>
                <a:spcPts val="2400"/>
              </a:spcBef>
              <a:buClr>
                <a:schemeClr val="accent2"/>
              </a:buClr>
              <a:buSzPct val="100000"/>
              <a:buFont typeface="Courier" pitchFamily="2" charset="0"/>
              <a:buChar char="‣"/>
              <a:defRPr>
                <a:solidFill>
                  <a:schemeClr val="bg1"/>
                </a:solidFill>
              </a:defRPr>
            </a:lvl1pPr>
            <a:lvl2pPr marL="515925" indent="-238119">
              <a:buClr>
                <a:schemeClr val="tx2"/>
              </a:buClr>
              <a:buSzPct val="100000"/>
              <a:buFont typeface="Courier" pitchFamily="2" charset="0"/>
              <a:buChar char="‣"/>
              <a:defRPr>
                <a:solidFill>
                  <a:schemeClr val="bg1"/>
                </a:solidFill>
              </a:defRPr>
            </a:lvl2pPr>
            <a:lvl3pPr marL="742931" indent="-238119">
              <a:buClr>
                <a:schemeClr val="tx2"/>
              </a:buClr>
              <a:buSzPct val="100000"/>
              <a:buFont typeface="Courier" pitchFamily="2" charset="0"/>
              <a:buChar char="‣"/>
              <a:defRPr>
                <a:solidFill>
                  <a:schemeClr val="bg1"/>
                </a:solidFill>
              </a:defRPr>
            </a:lvl3pPr>
            <a:lvl4pPr marL="971526" indent="-238119">
              <a:buFont typeface="Apple SD GothicNeo ExtraBold" panose="02000300000000000000" pitchFamily="2" charset="-127"/>
              <a:buChar char="▷"/>
              <a:defRPr/>
            </a:lvl4pPr>
            <a:lvl5pPr marL="1200120" indent="-238119">
              <a:buFont typeface="Apple SD GothicNeo ExtraBold" panose="02000300000000000000" pitchFamily="2" charset="-127"/>
              <a:buChar char="▷"/>
              <a:defRPr/>
            </a:lvl5pPr>
          </a:lstStyle>
          <a:p>
            <a:pPr lvl="0"/>
            <a:r>
              <a:rPr lang="en-US"/>
              <a:t>Insert topic one here</a:t>
            </a:r>
          </a:p>
        </p:txBody>
      </p:sp>
      <p:sp>
        <p:nvSpPr>
          <p:cNvPr id="2" name="Rectangle 1">
            <a:extLst>
              <a:ext uri="{FF2B5EF4-FFF2-40B4-BE49-F238E27FC236}">
                <a16:creationId xmlns:a16="http://schemas.microsoft.com/office/drawing/2014/main" id="{1DDC43BC-1355-F544-8B4D-78BB1409F9B1}"/>
              </a:ext>
            </a:extLst>
          </p:cNvPr>
          <p:cNvSpPr/>
          <p:nvPr userDrawn="1"/>
        </p:nvSpPr>
        <p:spPr>
          <a:xfrm>
            <a:off x="461999" y="1765819"/>
            <a:ext cx="2145139" cy="667875"/>
          </a:xfrm>
          <a:prstGeom prst="rect">
            <a:avLst/>
          </a:prstGeom>
        </p:spPr>
        <p:txBody>
          <a:bodyPr wrap="none">
            <a:noAutofit/>
          </a:bodyPr>
          <a:lstStyle/>
          <a:p>
            <a:pPr algn="l" defTabSz="684196" rtl="0" eaLnBrk="1" fontAlgn="base" hangingPunct="1">
              <a:lnSpc>
                <a:spcPct val="85000"/>
              </a:lnSpc>
              <a:spcBef>
                <a:spcPct val="0"/>
              </a:spcBef>
              <a:spcAft>
                <a:spcPct val="0"/>
              </a:spcAft>
            </a:pPr>
            <a:r>
              <a:rPr lang="en-US" sz="4400" b="0" i="0" u="none" kern="1200" baseline="0">
                <a:solidFill>
                  <a:schemeClr val="bg1"/>
                </a:solidFill>
                <a:latin typeface="+mj-lt"/>
                <a:cs typeface="CiscoSansTT Thin" charset="0"/>
              </a:rPr>
              <a:t>Agenda</a:t>
            </a:r>
          </a:p>
        </p:txBody>
      </p:sp>
    </p:spTree>
    <p:extLst>
      <p:ext uri="{BB962C8B-B14F-4D97-AF65-F5344CB8AC3E}">
        <p14:creationId xmlns:p14="http://schemas.microsoft.com/office/powerpoint/2010/main" val="3587739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Agenda, Numbered">
    <p:bg>
      <p:bgPr>
        <a:solidFill>
          <a:schemeClr val="tx1"/>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37BE2A8-1232-7B42-A8FF-8C01F6C217FF}"/>
              </a:ext>
            </a:extLst>
          </p:cNvPr>
          <p:cNvSpPr>
            <a:spLocks noGrp="1"/>
          </p:cNvSpPr>
          <p:nvPr>
            <p:ph type="body" sz="quarter" idx="11" hasCustomPrompt="1"/>
          </p:nvPr>
        </p:nvSpPr>
        <p:spPr>
          <a:xfrm>
            <a:off x="4557557" y="762000"/>
            <a:ext cx="4091143" cy="457200"/>
          </a:xfrm>
        </p:spPr>
        <p:txBody>
          <a:bodyPr anchor="ctr">
            <a:noAutofit/>
          </a:bodyPr>
          <a:lstStyle>
            <a:lvl1pPr marL="0" indent="0">
              <a:buFontTx/>
              <a:buNone/>
              <a:defRPr sz="2000">
                <a:solidFill>
                  <a:schemeClr val="bg1"/>
                </a:solidFill>
              </a:defRPr>
            </a:lvl1pPr>
            <a:lvl2pPr marL="177796" indent="0">
              <a:buFontTx/>
              <a:buNone/>
              <a:defRPr>
                <a:solidFill>
                  <a:schemeClr val="bg1"/>
                </a:solidFill>
              </a:defRPr>
            </a:lvl2pPr>
            <a:lvl3pPr marL="360354" indent="0">
              <a:buFontTx/>
              <a:buNone/>
              <a:defRPr>
                <a:solidFill>
                  <a:schemeClr val="bg1"/>
                </a:solidFill>
              </a:defRPr>
            </a:lvl3pPr>
            <a:lvl4pPr marL="523862" indent="0">
              <a:buFontTx/>
              <a:buNone/>
              <a:defRPr>
                <a:solidFill>
                  <a:schemeClr val="bg1"/>
                </a:solidFill>
              </a:defRPr>
            </a:lvl4pPr>
            <a:lvl5pPr marL="685783" indent="0">
              <a:buFontTx/>
              <a:buNone/>
              <a:defRPr>
                <a:solidFill>
                  <a:schemeClr val="bg1"/>
                </a:solidFill>
              </a:defRPr>
            </a:lvl5pPr>
          </a:lstStyle>
          <a:p>
            <a:pPr lvl="0"/>
            <a:r>
              <a:rPr lang="en-US"/>
              <a:t>Insert topic one here</a:t>
            </a:r>
          </a:p>
        </p:txBody>
      </p:sp>
      <p:sp>
        <p:nvSpPr>
          <p:cNvPr id="8" name="Text Placeholder 2">
            <a:extLst>
              <a:ext uri="{FF2B5EF4-FFF2-40B4-BE49-F238E27FC236}">
                <a16:creationId xmlns:a16="http://schemas.microsoft.com/office/drawing/2014/main" id="{59CFFCD8-D895-2840-9936-4EC96F042079}"/>
              </a:ext>
            </a:extLst>
          </p:cNvPr>
          <p:cNvSpPr>
            <a:spLocks noGrp="1" noChangeAspect="1"/>
          </p:cNvSpPr>
          <p:nvPr>
            <p:ph type="body" sz="quarter" idx="12" hasCustomPrompt="1"/>
          </p:nvPr>
        </p:nvSpPr>
        <p:spPr>
          <a:xfrm>
            <a:off x="3967067" y="1550565"/>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2</a:t>
            </a:r>
          </a:p>
        </p:txBody>
      </p:sp>
      <p:sp>
        <p:nvSpPr>
          <p:cNvPr id="9" name="Text Placeholder 4">
            <a:extLst>
              <a:ext uri="{FF2B5EF4-FFF2-40B4-BE49-F238E27FC236}">
                <a16:creationId xmlns:a16="http://schemas.microsoft.com/office/drawing/2014/main" id="{0DAA98AF-256D-EB4F-8CD2-9F318B8F4F3A}"/>
              </a:ext>
            </a:extLst>
          </p:cNvPr>
          <p:cNvSpPr>
            <a:spLocks noGrp="1"/>
          </p:cNvSpPr>
          <p:nvPr>
            <p:ph type="body" sz="quarter" idx="13" hasCustomPrompt="1"/>
          </p:nvPr>
        </p:nvSpPr>
        <p:spPr>
          <a:xfrm>
            <a:off x="4557557" y="1518924"/>
            <a:ext cx="4091143" cy="457200"/>
          </a:xfrm>
        </p:spPr>
        <p:txBody>
          <a:bodyPr anchor="ctr">
            <a:noAutofit/>
          </a:bodyPr>
          <a:lstStyle>
            <a:lvl1pPr marL="0" indent="0">
              <a:buFontTx/>
              <a:buNone/>
              <a:defRPr sz="2000">
                <a:solidFill>
                  <a:schemeClr val="bg1"/>
                </a:solidFill>
              </a:defRPr>
            </a:lvl1pPr>
            <a:lvl2pPr marL="177796" indent="0">
              <a:buFontTx/>
              <a:buNone/>
              <a:defRPr>
                <a:solidFill>
                  <a:schemeClr val="bg1"/>
                </a:solidFill>
              </a:defRPr>
            </a:lvl2pPr>
            <a:lvl3pPr marL="360354" indent="0">
              <a:buFontTx/>
              <a:buNone/>
              <a:defRPr>
                <a:solidFill>
                  <a:schemeClr val="bg1"/>
                </a:solidFill>
              </a:defRPr>
            </a:lvl3pPr>
            <a:lvl4pPr marL="523862" indent="0">
              <a:buFontTx/>
              <a:buNone/>
              <a:defRPr>
                <a:solidFill>
                  <a:schemeClr val="bg1"/>
                </a:solidFill>
              </a:defRPr>
            </a:lvl4pPr>
            <a:lvl5pPr marL="685783" indent="0">
              <a:buFontTx/>
              <a:buNone/>
              <a:defRPr>
                <a:solidFill>
                  <a:schemeClr val="bg1"/>
                </a:solidFill>
              </a:defRPr>
            </a:lvl5pPr>
          </a:lstStyle>
          <a:p>
            <a:pPr lvl="0"/>
            <a:r>
              <a:rPr lang="en-US"/>
              <a:t>Insert topic two here</a:t>
            </a:r>
          </a:p>
        </p:txBody>
      </p:sp>
      <p:sp>
        <p:nvSpPr>
          <p:cNvPr id="10" name="Text Placeholder 2">
            <a:extLst>
              <a:ext uri="{FF2B5EF4-FFF2-40B4-BE49-F238E27FC236}">
                <a16:creationId xmlns:a16="http://schemas.microsoft.com/office/drawing/2014/main" id="{BF117D28-EE20-D346-B679-B380D9B9E3C2}"/>
              </a:ext>
            </a:extLst>
          </p:cNvPr>
          <p:cNvSpPr>
            <a:spLocks noGrp="1" noChangeAspect="1"/>
          </p:cNvSpPr>
          <p:nvPr>
            <p:ph type="body" sz="quarter" idx="14" hasCustomPrompt="1"/>
          </p:nvPr>
        </p:nvSpPr>
        <p:spPr>
          <a:xfrm>
            <a:off x="3975160" y="2307489"/>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3</a:t>
            </a:r>
          </a:p>
        </p:txBody>
      </p:sp>
      <p:sp>
        <p:nvSpPr>
          <p:cNvPr id="11" name="Text Placeholder 4">
            <a:extLst>
              <a:ext uri="{FF2B5EF4-FFF2-40B4-BE49-F238E27FC236}">
                <a16:creationId xmlns:a16="http://schemas.microsoft.com/office/drawing/2014/main" id="{CEAB2726-8CF0-0542-A39A-261B71A478C0}"/>
              </a:ext>
            </a:extLst>
          </p:cNvPr>
          <p:cNvSpPr>
            <a:spLocks noGrp="1"/>
          </p:cNvSpPr>
          <p:nvPr>
            <p:ph type="body" sz="quarter" idx="15" hasCustomPrompt="1"/>
          </p:nvPr>
        </p:nvSpPr>
        <p:spPr>
          <a:xfrm>
            <a:off x="4565650" y="2275848"/>
            <a:ext cx="4091143" cy="457200"/>
          </a:xfrm>
        </p:spPr>
        <p:txBody>
          <a:bodyPr anchor="ctr">
            <a:noAutofit/>
          </a:bodyPr>
          <a:lstStyle>
            <a:lvl1pPr marL="0" indent="0">
              <a:buFontTx/>
              <a:buNone/>
              <a:defRPr sz="2000">
                <a:solidFill>
                  <a:schemeClr val="bg1"/>
                </a:solidFill>
              </a:defRPr>
            </a:lvl1pPr>
            <a:lvl2pPr marL="177796" indent="0">
              <a:buFontTx/>
              <a:buNone/>
              <a:defRPr>
                <a:solidFill>
                  <a:schemeClr val="bg1"/>
                </a:solidFill>
              </a:defRPr>
            </a:lvl2pPr>
            <a:lvl3pPr marL="360354" indent="0">
              <a:buFontTx/>
              <a:buNone/>
              <a:defRPr>
                <a:solidFill>
                  <a:schemeClr val="bg1"/>
                </a:solidFill>
              </a:defRPr>
            </a:lvl3pPr>
            <a:lvl4pPr marL="523862" indent="0">
              <a:buFontTx/>
              <a:buNone/>
              <a:defRPr>
                <a:solidFill>
                  <a:schemeClr val="bg1"/>
                </a:solidFill>
              </a:defRPr>
            </a:lvl4pPr>
            <a:lvl5pPr marL="685783" indent="0">
              <a:buFontTx/>
              <a:buNone/>
              <a:defRPr>
                <a:solidFill>
                  <a:schemeClr val="bg1"/>
                </a:solidFill>
              </a:defRPr>
            </a:lvl5pPr>
          </a:lstStyle>
          <a:p>
            <a:pPr lvl="0"/>
            <a:r>
              <a:rPr lang="en-US"/>
              <a:t>Insert topic three here</a:t>
            </a:r>
          </a:p>
        </p:txBody>
      </p:sp>
      <p:sp>
        <p:nvSpPr>
          <p:cNvPr id="12" name="Text Placeholder 2">
            <a:extLst>
              <a:ext uri="{FF2B5EF4-FFF2-40B4-BE49-F238E27FC236}">
                <a16:creationId xmlns:a16="http://schemas.microsoft.com/office/drawing/2014/main" id="{C9D29933-A44D-5946-8923-9ADD691BDC19}"/>
              </a:ext>
            </a:extLst>
          </p:cNvPr>
          <p:cNvSpPr>
            <a:spLocks noGrp="1" noChangeAspect="1"/>
          </p:cNvSpPr>
          <p:nvPr>
            <p:ph type="body" sz="quarter" idx="16" hasCustomPrompt="1"/>
          </p:nvPr>
        </p:nvSpPr>
        <p:spPr>
          <a:xfrm>
            <a:off x="3975160" y="3064413"/>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4</a:t>
            </a:r>
          </a:p>
        </p:txBody>
      </p:sp>
      <p:sp>
        <p:nvSpPr>
          <p:cNvPr id="13" name="Text Placeholder 4">
            <a:extLst>
              <a:ext uri="{FF2B5EF4-FFF2-40B4-BE49-F238E27FC236}">
                <a16:creationId xmlns:a16="http://schemas.microsoft.com/office/drawing/2014/main" id="{B5205B15-675C-DC4D-B3A4-B878F48FA2E9}"/>
              </a:ext>
            </a:extLst>
          </p:cNvPr>
          <p:cNvSpPr>
            <a:spLocks noGrp="1"/>
          </p:cNvSpPr>
          <p:nvPr>
            <p:ph type="body" sz="quarter" idx="17" hasCustomPrompt="1"/>
          </p:nvPr>
        </p:nvSpPr>
        <p:spPr>
          <a:xfrm>
            <a:off x="4565650" y="3032772"/>
            <a:ext cx="4091143" cy="457200"/>
          </a:xfrm>
        </p:spPr>
        <p:txBody>
          <a:bodyPr anchor="ctr">
            <a:noAutofit/>
          </a:bodyPr>
          <a:lstStyle>
            <a:lvl1pPr marL="0" indent="0">
              <a:buFontTx/>
              <a:buNone/>
              <a:defRPr sz="2000">
                <a:solidFill>
                  <a:schemeClr val="bg1"/>
                </a:solidFill>
              </a:defRPr>
            </a:lvl1pPr>
            <a:lvl2pPr marL="177796" indent="0">
              <a:buFontTx/>
              <a:buNone/>
              <a:defRPr>
                <a:solidFill>
                  <a:schemeClr val="bg1"/>
                </a:solidFill>
              </a:defRPr>
            </a:lvl2pPr>
            <a:lvl3pPr marL="360354" indent="0">
              <a:buFontTx/>
              <a:buNone/>
              <a:defRPr>
                <a:solidFill>
                  <a:schemeClr val="bg1"/>
                </a:solidFill>
              </a:defRPr>
            </a:lvl3pPr>
            <a:lvl4pPr marL="523862" indent="0">
              <a:buFontTx/>
              <a:buNone/>
              <a:defRPr>
                <a:solidFill>
                  <a:schemeClr val="bg1"/>
                </a:solidFill>
              </a:defRPr>
            </a:lvl4pPr>
            <a:lvl5pPr marL="685783" indent="0">
              <a:buFontTx/>
              <a:buNone/>
              <a:defRPr>
                <a:solidFill>
                  <a:schemeClr val="bg1"/>
                </a:solidFill>
              </a:defRPr>
            </a:lvl5pPr>
          </a:lstStyle>
          <a:p>
            <a:pPr lvl="0"/>
            <a:r>
              <a:rPr lang="en-US"/>
              <a:t>Insert topic four here</a:t>
            </a:r>
          </a:p>
        </p:txBody>
      </p:sp>
      <p:sp>
        <p:nvSpPr>
          <p:cNvPr id="14" name="Text Placeholder 2">
            <a:extLst>
              <a:ext uri="{FF2B5EF4-FFF2-40B4-BE49-F238E27FC236}">
                <a16:creationId xmlns:a16="http://schemas.microsoft.com/office/drawing/2014/main" id="{5FE71A7A-C295-EE47-A81F-DADF384F94F0}"/>
              </a:ext>
            </a:extLst>
          </p:cNvPr>
          <p:cNvSpPr>
            <a:spLocks noGrp="1" noChangeAspect="1"/>
          </p:cNvSpPr>
          <p:nvPr>
            <p:ph type="body" sz="quarter" idx="18" hasCustomPrompt="1"/>
          </p:nvPr>
        </p:nvSpPr>
        <p:spPr>
          <a:xfrm>
            <a:off x="3975160" y="3821337"/>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5</a:t>
            </a:r>
          </a:p>
        </p:txBody>
      </p:sp>
      <p:sp>
        <p:nvSpPr>
          <p:cNvPr id="15" name="Text Placeholder 4">
            <a:extLst>
              <a:ext uri="{FF2B5EF4-FFF2-40B4-BE49-F238E27FC236}">
                <a16:creationId xmlns:a16="http://schemas.microsoft.com/office/drawing/2014/main" id="{0A1588BF-3282-6349-882A-3513E0EC56A9}"/>
              </a:ext>
            </a:extLst>
          </p:cNvPr>
          <p:cNvSpPr>
            <a:spLocks noGrp="1"/>
          </p:cNvSpPr>
          <p:nvPr>
            <p:ph type="body" sz="quarter" idx="19" hasCustomPrompt="1"/>
          </p:nvPr>
        </p:nvSpPr>
        <p:spPr>
          <a:xfrm>
            <a:off x="4565650" y="3789696"/>
            <a:ext cx="4091143" cy="457200"/>
          </a:xfrm>
        </p:spPr>
        <p:txBody>
          <a:bodyPr anchor="ctr">
            <a:noAutofit/>
          </a:bodyPr>
          <a:lstStyle>
            <a:lvl1pPr marL="0" indent="0">
              <a:buFontTx/>
              <a:buNone/>
              <a:defRPr sz="2000">
                <a:solidFill>
                  <a:schemeClr val="bg1"/>
                </a:solidFill>
              </a:defRPr>
            </a:lvl1pPr>
            <a:lvl2pPr marL="177796" indent="0">
              <a:buFontTx/>
              <a:buNone/>
              <a:defRPr>
                <a:solidFill>
                  <a:schemeClr val="bg1"/>
                </a:solidFill>
              </a:defRPr>
            </a:lvl2pPr>
            <a:lvl3pPr marL="360354" indent="0">
              <a:buFontTx/>
              <a:buNone/>
              <a:defRPr>
                <a:solidFill>
                  <a:schemeClr val="bg1"/>
                </a:solidFill>
              </a:defRPr>
            </a:lvl3pPr>
            <a:lvl4pPr marL="523862" indent="0">
              <a:buFontTx/>
              <a:buNone/>
              <a:defRPr>
                <a:solidFill>
                  <a:schemeClr val="bg1"/>
                </a:solidFill>
              </a:defRPr>
            </a:lvl4pPr>
            <a:lvl5pPr marL="685783" indent="0">
              <a:buFontTx/>
              <a:buNone/>
              <a:defRPr>
                <a:solidFill>
                  <a:schemeClr val="bg1"/>
                </a:solidFill>
              </a:defRPr>
            </a:lvl5pPr>
          </a:lstStyle>
          <a:p>
            <a:pPr lvl="0"/>
            <a:r>
              <a:rPr lang="en-US"/>
              <a:t>Insert topic five here</a:t>
            </a:r>
          </a:p>
        </p:txBody>
      </p:sp>
      <p:sp>
        <p:nvSpPr>
          <p:cNvPr id="16" name="Text Placeholder 2">
            <a:extLst>
              <a:ext uri="{FF2B5EF4-FFF2-40B4-BE49-F238E27FC236}">
                <a16:creationId xmlns:a16="http://schemas.microsoft.com/office/drawing/2014/main" id="{11B905EF-54DB-A54E-B9B5-BF39F47D01B6}"/>
              </a:ext>
            </a:extLst>
          </p:cNvPr>
          <p:cNvSpPr>
            <a:spLocks noGrp="1" noChangeAspect="1"/>
          </p:cNvSpPr>
          <p:nvPr>
            <p:ph type="body" sz="quarter" idx="20" hasCustomPrompt="1"/>
          </p:nvPr>
        </p:nvSpPr>
        <p:spPr>
          <a:xfrm>
            <a:off x="3967067" y="793641"/>
            <a:ext cx="393918" cy="393918"/>
          </a:xfrm>
          <a:prstGeom prst="ellipse">
            <a:avLst/>
          </a:prstGeom>
          <a:solidFill>
            <a:schemeClr val="tx2"/>
          </a:solidFill>
          <a:ln w="19050">
            <a:noFill/>
          </a:ln>
        </p:spPr>
        <p:txBody>
          <a:bodyPr anchor="ctr"/>
          <a:lstStyle>
            <a:lvl1pPr marL="0" indent="0" algn="ctr">
              <a:buFontTx/>
              <a:buNone/>
              <a:defRPr sz="1800">
                <a:solidFill>
                  <a:schemeClr val="bg1"/>
                </a:solidFill>
              </a:defRPr>
            </a:lvl1pPr>
          </a:lstStyle>
          <a:p>
            <a:pPr lvl="0"/>
            <a:r>
              <a:rPr lang="en-US"/>
              <a:t>1</a:t>
            </a:r>
          </a:p>
        </p:txBody>
      </p:sp>
      <p:sp>
        <p:nvSpPr>
          <p:cNvPr id="17" name="Rectangle 16">
            <a:extLst>
              <a:ext uri="{FF2B5EF4-FFF2-40B4-BE49-F238E27FC236}">
                <a16:creationId xmlns:a16="http://schemas.microsoft.com/office/drawing/2014/main" id="{22BBA3CB-DC68-E148-9C76-14197C33FCCA}"/>
              </a:ext>
            </a:extLst>
          </p:cNvPr>
          <p:cNvSpPr/>
          <p:nvPr userDrawn="1"/>
        </p:nvSpPr>
        <p:spPr>
          <a:xfrm>
            <a:off x="461999" y="2109767"/>
            <a:ext cx="2145139" cy="667875"/>
          </a:xfrm>
          <a:prstGeom prst="rect">
            <a:avLst/>
          </a:prstGeom>
        </p:spPr>
        <p:txBody>
          <a:bodyPr wrap="none">
            <a:spAutoFit/>
          </a:bodyPr>
          <a:lstStyle/>
          <a:p>
            <a:pPr algn="l" defTabSz="684196" rtl="0" eaLnBrk="1" fontAlgn="base" hangingPunct="1">
              <a:lnSpc>
                <a:spcPct val="85000"/>
              </a:lnSpc>
              <a:spcBef>
                <a:spcPct val="0"/>
              </a:spcBef>
              <a:spcAft>
                <a:spcPct val="0"/>
              </a:spcAft>
            </a:pPr>
            <a:r>
              <a:rPr lang="en-US" sz="4400" b="0" i="0" u="none" kern="1200" baseline="0">
                <a:solidFill>
                  <a:schemeClr val="tx2"/>
                </a:solidFill>
                <a:latin typeface="+mj-lt"/>
                <a:cs typeface="CiscoSansTT Thin" charset="0"/>
              </a:rPr>
              <a:t>Agenda</a:t>
            </a:r>
          </a:p>
        </p:txBody>
      </p:sp>
    </p:spTree>
    <p:extLst>
      <p:ext uri="{BB962C8B-B14F-4D97-AF65-F5344CB8AC3E}">
        <p14:creationId xmlns:p14="http://schemas.microsoft.com/office/powerpoint/2010/main" val="1461627536"/>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p:cSld name="Quote Slide – Midnight">
    <p:bg>
      <p:bgPr>
        <a:solidFill>
          <a:schemeClr val="tx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4" name="Title 1"/>
          <p:cNvSpPr>
            <a:spLocks noGrp="1"/>
          </p:cNvSpPr>
          <p:nvPr>
            <p:ph type="ctrTitle" hasCustomPrompt="1"/>
          </p:nvPr>
        </p:nvSpPr>
        <p:spPr>
          <a:xfrm>
            <a:off x="250027" y="1540552"/>
            <a:ext cx="8010144" cy="1635786"/>
          </a:xfrm>
          <a:prstGeom prst="rect">
            <a:avLst/>
          </a:prstGeom>
        </p:spPr>
        <p:txBody>
          <a:bodyPr anchor="b">
            <a:noAutofit/>
          </a:bodyPr>
          <a:lstStyle>
            <a:lvl1pPr marL="183596" indent="-399958" algn="l">
              <a:lnSpc>
                <a:spcPct val="90000"/>
              </a:lnSpc>
              <a:defRPr sz="4000" b="0" i="0" spc="0" baseline="0">
                <a:solidFill>
                  <a:schemeClr val="bg1"/>
                </a:solidFill>
                <a:latin typeface="+mj-lt"/>
                <a:cs typeface="CiscoSans Thin"/>
              </a:defRPr>
            </a:lvl1pPr>
          </a:lstStyle>
          <a:p>
            <a:r>
              <a:rPr lang="en-US"/>
              <a:t>Quote text goes here</a:t>
            </a:r>
          </a:p>
        </p:txBody>
      </p:sp>
      <p:pic>
        <p:nvPicPr>
          <p:cNvPr id="7" name="Picture 6" descr="A close up of graphics&#10;&#10;Description automatically generated">
            <a:extLst>
              <a:ext uri="{FF2B5EF4-FFF2-40B4-BE49-F238E27FC236}">
                <a16:creationId xmlns:a16="http://schemas.microsoft.com/office/drawing/2014/main" id="{3D75956E-C193-B74A-91F2-4B0B2A0877A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70" y="646471"/>
            <a:ext cx="1567731" cy="1435100"/>
          </a:xfrm>
          <a:prstGeom prst="rect">
            <a:avLst/>
          </a:prstGeom>
        </p:spPr>
      </p:pic>
      <p:sp>
        <p:nvSpPr>
          <p:cNvPr id="28" name="Rectangle 7">
            <a:extLst>
              <a:ext uri="{FF2B5EF4-FFF2-40B4-BE49-F238E27FC236}">
                <a16:creationId xmlns:a16="http://schemas.microsoft.com/office/drawing/2014/main" id="{33A6578D-9260-D14A-BC63-C922BB2255BD}"/>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alpha val="50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alpha val="50000"/>
                </a:schemeClr>
              </a:solidFill>
              <a:latin typeface="+mn-lt"/>
              <a:ea typeface="+mn-ea"/>
              <a:cs typeface="CiscoSans Thin"/>
            </a:endParaRPr>
          </a:p>
        </p:txBody>
      </p:sp>
      <p:grpSp>
        <p:nvGrpSpPr>
          <p:cNvPr id="5" name="Group 4">
            <a:extLst>
              <a:ext uri="{FF2B5EF4-FFF2-40B4-BE49-F238E27FC236}">
                <a16:creationId xmlns:a16="http://schemas.microsoft.com/office/drawing/2014/main" id="{E0C18C68-76F2-7B4F-A2E4-4A21D3224BA7}"/>
              </a:ext>
            </a:extLst>
          </p:cNvPr>
          <p:cNvGrpSpPr/>
          <p:nvPr userDrawn="1"/>
        </p:nvGrpSpPr>
        <p:grpSpPr>
          <a:xfrm>
            <a:off x="528764" y="4712482"/>
            <a:ext cx="921665" cy="191516"/>
            <a:chOff x="528763" y="4712481"/>
            <a:chExt cx="921665" cy="191516"/>
          </a:xfrm>
        </p:grpSpPr>
        <p:grpSp>
          <p:nvGrpSpPr>
            <p:cNvPr id="30" name="Graphic 2">
              <a:extLst>
                <a:ext uri="{FF2B5EF4-FFF2-40B4-BE49-F238E27FC236}">
                  <a16:creationId xmlns:a16="http://schemas.microsoft.com/office/drawing/2014/main" id="{39A79810-A55F-0242-B80D-20A5325D1DCE}"/>
                </a:ext>
              </a:extLst>
            </p:cNvPr>
            <p:cNvGrpSpPr/>
            <p:nvPr userDrawn="1"/>
          </p:nvGrpSpPr>
          <p:grpSpPr>
            <a:xfrm>
              <a:off x="943759" y="4781970"/>
              <a:ext cx="506669" cy="122027"/>
              <a:chOff x="4433187" y="1865375"/>
              <a:chExt cx="2298157" cy="553493"/>
            </a:xfrm>
            <a:solidFill>
              <a:schemeClr val="bg1"/>
            </a:solidFill>
          </p:grpSpPr>
          <p:sp>
            <p:nvSpPr>
              <p:cNvPr id="32" name="Freeform 31">
                <a:extLst>
                  <a:ext uri="{FF2B5EF4-FFF2-40B4-BE49-F238E27FC236}">
                    <a16:creationId xmlns:a16="http://schemas.microsoft.com/office/drawing/2014/main" id="{073254EC-FA26-9242-BAFF-6571659D733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3" name="Freeform 32">
                <a:extLst>
                  <a:ext uri="{FF2B5EF4-FFF2-40B4-BE49-F238E27FC236}">
                    <a16:creationId xmlns:a16="http://schemas.microsoft.com/office/drawing/2014/main" id="{6C4C6A03-7119-EF4C-9FDF-BDD0512926C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4" name="Freeform 33">
                <a:extLst>
                  <a:ext uri="{FF2B5EF4-FFF2-40B4-BE49-F238E27FC236}">
                    <a16:creationId xmlns:a16="http://schemas.microsoft.com/office/drawing/2014/main" id="{3CBDF11A-D892-5649-9F60-58340314A89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5" name="Freeform 34">
                <a:extLst>
                  <a:ext uri="{FF2B5EF4-FFF2-40B4-BE49-F238E27FC236}">
                    <a16:creationId xmlns:a16="http://schemas.microsoft.com/office/drawing/2014/main" id="{DB919C8A-1C58-7F4E-ABF7-731ABD5EC475}"/>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36" name="Freeform 35">
                <a:extLst>
                  <a:ext uri="{FF2B5EF4-FFF2-40B4-BE49-F238E27FC236}">
                    <a16:creationId xmlns:a16="http://schemas.microsoft.com/office/drawing/2014/main" id="{4E77FA71-6403-BB4F-90A0-C17BA329F08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37" name="Freeform 36">
                <a:extLst>
                  <a:ext uri="{FF2B5EF4-FFF2-40B4-BE49-F238E27FC236}">
                    <a16:creationId xmlns:a16="http://schemas.microsoft.com/office/drawing/2014/main" id="{3E14EF66-1B7F-F342-B02F-86A1A72198F7}"/>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31" name="Freeform 6">
              <a:extLst>
                <a:ext uri="{FF2B5EF4-FFF2-40B4-BE49-F238E27FC236}">
                  <a16:creationId xmlns:a16="http://schemas.microsoft.com/office/drawing/2014/main" id="{9C6347D2-28AE-6248-BC23-EDE57B4A19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
        <p:nvSpPr>
          <p:cNvPr id="38" name="Rectangle 4">
            <a:extLst>
              <a:ext uri="{FF2B5EF4-FFF2-40B4-BE49-F238E27FC236}">
                <a16:creationId xmlns:a16="http://schemas.microsoft.com/office/drawing/2014/main" id="{F359E99A-33B7-DF43-9012-D3D8BD1D6150}"/>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2">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3963526546"/>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Quote Slide – White">
    <p:bg>
      <p:bgPr>
        <a:solidFill>
          <a:schemeClr val="bg1"/>
        </a:solidFill>
        <a:effectLst/>
      </p:bgPr>
    </p:bg>
    <p:spTree>
      <p:nvGrpSpPr>
        <p:cNvPr id="1" name=""/>
        <p:cNvGrpSpPr/>
        <p:nvPr/>
      </p:nvGrpSpPr>
      <p:grpSpPr>
        <a:xfrm>
          <a:off x="0" y="0"/>
          <a:ext cx="0" cy="0"/>
          <a:chOff x="0" y="0"/>
          <a:chExt cx="0" cy="0"/>
        </a:xfrm>
      </p:grpSpPr>
      <p:pic>
        <p:nvPicPr>
          <p:cNvPr id="8" name="Picture 7" descr="A close up of graphics&#10;&#10;Description automatically generated">
            <a:extLst>
              <a:ext uri="{FF2B5EF4-FFF2-40B4-BE49-F238E27FC236}">
                <a16:creationId xmlns:a16="http://schemas.microsoft.com/office/drawing/2014/main" id="{4B8C6B6E-5440-0442-90FA-032E5B009E6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r="14866"/>
          <a:stretch/>
        </p:blipFill>
        <p:spPr>
          <a:xfrm>
            <a:off x="7576270" y="646471"/>
            <a:ext cx="1567731" cy="1435100"/>
          </a:xfrm>
          <a:prstGeom prst="rect">
            <a:avLst/>
          </a:prstGeom>
        </p:spPr>
      </p:pic>
      <p:sp>
        <p:nvSpPr>
          <p:cNvPr id="5" name="Text Placeholder 9">
            <a:extLst>
              <a:ext uri="{FF2B5EF4-FFF2-40B4-BE49-F238E27FC236}">
                <a16:creationId xmlns:a16="http://schemas.microsoft.com/office/drawing/2014/main" id="{EB216A41-11DA-E64E-873B-7A02B7184523}"/>
              </a:ext>
            </a:extLst>
          </p:cNvPr>
          <p:cNvSpPr>
            <a:spLocks noGrp="1"/>
          </p:cNvSpPr>
          <p:nvPr>
            <p:ph type="body" sz="quarter" idx="11" hasCustomPrompt="1"/>
          </p:nvPr>
        </p:nvSpPr>
        <p:spPr>
          <a:xfrm>
            <a:off x="441679" y="3206637"/>
            <a:ext cx="7791858" cy="349356"/>
          </a:xfrm>
          <a:prstGeom prst="rect">
            <a:avLst/>
          </a:prstGeom>
        </p:spPr>
        <p:txBody>
          <a:bodyPr wrap="square" lIns="91420" tIns="45710" rIns="91420" bIns="45710" anchor="t"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a:t>
            </a:r>
          </a:p>
        </p:txBody>
      </p:sp>
      <p:sp>
        <p:nvSpPr>
          <p:cNvPr id="6" name="Title 1">
            <a:extLst>
              <a:ext uri="{FF2B5EF4-FFF2-40B4-BE49-F238E27FC236}">
                <a16:creationId xmlns:a16="http://schemas.microsoft.com/office/drawing/2014/main" id="{2C42E86F-4C11-4247-9FA1-07497EBD4101}"/>
              </a:ext>
            </a:extLst>
          </p:cNvPr>
          <p:cNvSpPr>
            <a:spLocks noGrp="1"/>
          </p:cNvSpPr>
          <p:nvPr>
            <p:ph type="ctrTitle" hasCustomPrompt="1"/>
          </p:nvPr>
        </p:nvSpPr>
        <p:spPr>
          <a:xfrm>
            <a:off x="250027" y="1540552"/>
            <a:ext cx="8010144" cy="1635786"/>
          </a:xfrm>
          <a:prstGeom prst="rect">
            <a:avLst/>
          </a:prstGeom>
        </p:spPr>
        <p:txBody>
          <a:bodyPr anchor="b">
            <a:noAutofit/>
          </a:bodyPr>
          <a:lstStyle>
            <a:lvl1pPr marL="183596" indent="-399958" algn="l">
              <a:lnSpc>
                <a:spcPct val="90000"/>
              </a:lnSpc>
              <a:defRPr sz="4000" b="0" i="0" spc="0" baseline="0">
                <a:solidFill>
                  <a:schemeClr val="tx1"/>
                </a:solidFill>
                <a:latin typeface="+mj-lt"/>
                <a:cs typeface="CiscoSans Thin"/>
              </a:defRPr>
            </a:lvl1pPr>
          </a:lstStyle>
          <a:p>
            <a:r>
              <a:rPr lang="en-US"/>
              <a:t>Quote text goes here</a:t>
            </a:r>
          </a:p>
        </p:txBody>
      </p:sp>
    </p:spTree>
    <p:extLst>
      <p:ext uri="{BB962C8B-B14F-4D97-AF65-F5344CB8AC3E}">
        <p14:creationId xmlns:p14="http://schemas.microsoft.com/office/powerpoint/2010/main" val="3179230639"/>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144000" cy="2843212"/>
          </a:xfrm>
          <a:prstGeom prst="rect">
            <a:avLst/>
          </a:prstGeom>
          <a:solidFill>
            <a:schemeClr val="bg2"/>
          </a:solidFill>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31029" y="3054519"/>
            <a:ext cx="8364236" cy="564257"/>
          </a:xfrm>
          <a:prstGeom prst="rect">
            <a:avLst/>
          </a:prstGeom>
        </p:spPr>
        <p:txBody>
          <a:bodyPr vert="horz" wrap="square">
            <a:noAutofit/>
          </a:bodyPr>
          <a:lstStyle>
            <a:lvl1pPr marL="0" indent="0">
              <a:buNone/>
              <a:defRPr sz="3200" baseline="0">
                <a:solidFill>
                  <a:schemeClr val="tx1"/>
                </a:solidFill>
                <a:latin typeface="+mj-lt"/>
              </a:defRPr>
            </a:lvl1pPr>
          </a:lstStyle>
          <a:p>
            <a:pPr lvl="0"/>
            <a:r>
              <a:rPr lang="en-US"/>
              <a:t>Click to edit Master text styles</a:t>
            </a:r>
          </a:p>
        </p:txBody>
      </p:sp>
    </p:spTree>
    <p:extLst>
      <p:ext uri="{BB962C8B-B14F-4D97-AF65-F5344CB8AC3E}">
        <p14:creationId xmlns:p14="http://schemas.microsoft.com/office/powerpoint/2010/main" val="30444908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8580494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nchor="ctr"/>
          <a:lstStyle>
            <a:lvl1pPr marL="0" indent="0" algn="ctr">
              <a:buNone/>
              <a:defRPr sz="2200" baseline="0">
                <a:solidFill>
                  <a:schemeClr val="bg1">
                    <a:lumMod val="75000"/>
                  </a:schemeClr>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461119065"/>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3" name="Text Placeholder 2">
            <a:extLst>
              <a:ext uri="{FF2B5EF4-FFF2-40B4-BE49-F238E27FC236}">
                <a16:creationId xmlns:a16="http://schemas.microsoft.com/office/drawing/2014/main" id="{ED762D00-C041-704D-AE62-5F2E147C86B8}"/>
              </a:ext>
            </a:extLst>
          </p:cNvPr>
          <p:cNvSpPr>
            <a:spLocks noGrp="1"/>
          </p:cNvSpPr>
          <p:nvPr>
            <p:ph type="body" sz="quarter" idx="11" hasCustomPrompt="1"/>
          </p:nvPr>
        </p:nvSpPr>
        <p:spPr>
          <a:xfrm>
            <a:off x="437766" y="1204181"/>
            <a:ext cx="8348472"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0179309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Bullet with Graphic">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7" name="Text Placeholder 2">
            <a:extLst>
              <a:ext uri="{FF2B5EF4-FFF2-40B4-BE49-F238E27FC236}">
                <a16:creationId xmlns:a16="http://schemas.microsoft.com/office/drawing/2014/main" id="{3669C26F-DD26-8E4A-8278-6C449BB9516C}"/>
              </a:ext>
            </a:extLst>
          </p:cNvPr>
          <p:cNvSpPr>
            <a:spLocks noGrp="1"/>
          </p:cNvSpPr>
          <p:nvPr>
            <p:ph type="body" sz="quarter" idx="11" hasCustomPrompt="1"/>
          </p:nvPr>
        </p:nvSpPr>
        <p:spPr>
          <a:xfrm>
            <a:off x="437766" y="1204181"/>
            <a:ext cx="667512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2" name="Group 1">
            <a:extLst>
              <a:ext uri="{FF2B5EF4-FFF2-40B4-BE49-F238E27FC236}">
                <a16:creationId xmlns:a16="http://schemas.microsoft.com/office/drawing/2014/main" id="{5A191033-C6AD-7D41-94A8-7DA81521F0B2}"/>
              </a:ext>
            </a:extLst>
          </p:cNvPr>
          <p:cNvGrpSpPr/>
          <p:nvPr userDrawn="1"/>
        </p:nvGrpSpPr>
        <p:grpSpPr>
          <a:xfrm>
            <a:off x="6775138" y="2699871"/>
            <a:ext cx="2503325" cy="964988"/>
            <a:chOff x="6775137" y="2699871"/>
            <a:chExt cx="2503325" cy="964988"/>
          </a:xfrm>
        </p:grpSpPr>
        <p:sp>
          <p:nvSpPr>
            <p:cNvPr id="8" name="Freeform 2">
              <a:extLst>
                <a:ext uri="{FF2B5EF4-FFF2-40B4-BE49-F238E27FC236}">
                  <a16:creationId xmlns:a16="http://schemas.microsoft.com/office/drawing/2014/main" id="{4910B3A8-9E20-484E-B975-980C5FC275DC}"/>
                </a:ext>
              </a:extLst>
            </p:cNvPr>
            <p:cNvSpPr/>
            <p:nvPr userDrawn="1"/>
          </p:nvSpPr>
          <p:spPr>
            <a:xfrm>
              <a:off x="8148717" y="2699871"/>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accent2"/>
            </a:solidFill>
            <a:ln>
              <a:noFill/>
            </a:ln>
          </p:spPr>
        </p:sp>
        <p:grpSp>
          <p:nvGrpSpPr>
            <p:cNvPr id="9" name="Group 8">
              <a:extLst>
                <a:ext uri="{FF2B5EF4-FFF2-40B4-BE49-F238E27FC236}">
                  <a16:creationId xmlns:a16="http://schemas.microsoft.com/office/drawing/2014/main" id="{3CC08CF8-49FF-8845-AFD4-33321B68BDE2}"/>
                </a:ext>
              </a:extLst>
            </p:cNvPr>
            <p:cNvGrpSpPr/>
            <p:nvPr userDrawn="1"/>
          </p:nvGrpSpPr>
          <p:grpSpPr>
            <a:xfrm>
              <a:off x="6775137" y="3139205"/>
              <a:ext cx="2503325" cy="525654"/>
              <a:chOff x="6775137" y="3139205"/>
              <a:chExt cx="2503325" cy="525654"/>
            </a:xfrm>
          </p:grpSpPr>
          <p:sp>
            <p:nvSpPr>
              <p:cNvPr id="10" name="Rectangle 9">
                <a:extLst>
                  <a:ext uri="{FF2B5EF4-FFF2-40B4-BE49-F238E27FC236}">
                    <a16:creationId xmlns:a16="http://schemas.microsoft.com/office/drawing/2014/main" id="{D0E07E65-D562-994C-A646-6DC1F53EE5CE}"/>
                  </a:ext>
                </a:extLst>
              </p:cNvPr>
              <p:cNvSpPr/>
              <p:nvPr userDrawn="1"/>
            </p:nvSpPr>
            <p:spPr>
              <a:xfrm rot="18900000">
                <a:off x="7599626" y="3217545"/>
                <a:ext cx="776023" cy="369330"/>
              </a:xfrm>
              <a:prstGeom prst="rect">
                <a:avLst/>
              </a:prstGeom>
              <a:noFill/>
              <a:ln w="9525" cap="flat">
                <a:solidFill>
                  <a:schemeClr val="tx2"/>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1" name="Rectangle 10">
                <a:extLst>
                  <a:ext uri="{FF2B5EF4-FFF2-40B4-BE49-F238E27FC236}">
                    <a16:creationId xmlns:a16="http://schemas.microsoft.com/office/drawing/2014/main" id="{85348C5D-6C06-774E-BA10-9DFA4E198D63}"/>
                  </a:ext>
                </a:extLst>
              </p:cNvPr>
              <p:cNvSpPr/>
              <p:nvPr userDrawn="1"/>
            </p:nvSpPr>
            <p:spPr>
              <a:xfrm rot="18900000">
                <a:off x="8190452" y="3217545"/>
                <a:ext cx="1088010" cy="369330"/>
              </a:xfrm>
              <a:prstGeom prst="rect">
                <a:avLst/>
              </a:prstGeom>
              <a:noFill/>
              <a:ln w="9525" cap="flat">
                <a:solidFill>
                  <a:schemeClr val="accent1"/>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2" name="Oval 11">
                <a:extLst>
                  <a:ext uri="{FF2B5EF4-FFF2-40B4-BE49-F238E27FC236}">
                    <a16:creationId xmlns:a16="http://schemas.microsoft.com/office/drawing/2014/main" id="{E106A61C-4DE3-D946-93E9-0DFD637D8CC3}"/>
                  </a:ext>
                </a:extLst>
              </p:cNvPr>
              <p:cNvSpPr/>
              <p:nvPr userDrawn="1"/>
            </p:nvSpPr>
            <p:spPr>
              <a:xfrm>
                <a:off x="8099035" y="3139205"/>
                <a:ext cx="293298" cy="519348"/>
              </a:xfrm>
              <a:prstGeom prst="ellipse">
                <a:avLst/>
              </a:prstGeom>
              <a:solidFill>
                <a:schemeClr val="accent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sp>
            <p:nvSpPr>
              <p:cNvPr id="13" name="Oval 12">
                <a:extLst>
                  <a:ext uri="{FF2B5EF4-FFF2-40B4-BE49-F238E27FC236}">
                    <a16:creationId xmlns:a16="http://schemas.microsoft.com/office/drawing/2014/main" id="{9B31B57F-558A-D243-AACC-D218062A4ADA}"/>
                  </a:ext>
                </a:extLst>
              </p:cNvPr>
              <p:cNvSpPr/>
              <p:nvPr userDrawn="1"/>
            </p:nvSpPr>
            <p:spPr>
              <a:xfrm>
                <a:off x="6775137" y="3145511"/>
                <a:ext cx="599350" cy="519348"/>
              </a:xfrm>
              <a:prstGeom prst="ellipse">
                <a:avLst/>
              </a:prstGeom>
              <a:solidFill>
                <a:schemeClr val="accent3"/>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457189"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endParaRPr>
              </a:p>
            </p:txBody>
          </p:sp>
        </p:grpSp>
      </p:grpSp>
    </p:spTree>
    <p:extLst>
      <p:ext uri="{BB962C8B-B14F-4D97-AF65-F5344CB8AC3E}">
        <p14:creationId xmlns:p14="http://schemas.microsoft.com/office/powerpoint/2010/main" val="1452349221"/>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Bullet with Imag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9" name="Text Placeholder 2">
            <a:extLst>
              <a:ext uri="{FF2B5EF4-FFF2-40B4-BE49-F238E27FC236}">
                <a16:creationId xmlns:a16="http://schemas.microsoft.com/office/drawing/2014/main" id="{11E9D091-2867-F84D-8A95-E2618466BD52}"/>
              </a:ext>
            </a:extLst>
          </p:cNvPr>
          <p:cNvSpPr>
            <a:spLocks noGrp="1"/>
          </p:cNvSpPr>
          <p:nvPr>
            <p:ph type="body" sz="quarter" idx="11" hasCustomPrompt="1"/>
          </p:nvPr>
        </p:nvSpPr>
        <p:spPr>
          <a:xfrm>
            <a:off x="437767" y="1204181"/>
            <a:ext cx="577676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grpSp>
        <p:nvGrpSpPr>
          <p:cNvPr id="4" name="Group 3">
            <a:extLst>
              <a:ext uri="{FF2B5EF4-FFF2-40B4-BE49-F238E27FC236}">
                <a16:creationId xmlns:a16="http://schemas.microsoft.com/office/drawing/2014/main" id="{DF7EF750-8EA3-6642-A2DB-FD4BD9129B24}"/>
              </a:ext>
            </a:extLst>
          </p:cNvPr>
          <p:cNvGrpSpPr/>
          <p:nvPr userDrawn="1"/>
        </p:nvGrpSpPr>
        <p:grpSpPr>
          <a:xfrm>
            <a:off x="5909734" y="2217063"/>
            <a:ext cx="3234267" cy="2926438"/>
            <a:chOff x="5909733" y="2217062"/>
            <a:chExt cx="3234267" cy="2926438"/>
          </a:xfrm>
        </p:grpSpPr>
        <p:sp>
          <p:nvSpPr>
            <p:cNvPr id="3" name="Rectangle 2">
              <a:extLst>
                <a:ext uri="{FF2B5EF4-FFF2-40B4-BE49-F238E27FC236}">
                  <a16:creationId xmlns:a16="http://schemas.microsoft.com/office/drawing/2014/main" id="{BF4A979F-DFCD-244E-A909-2EF02D9F3A9F}"/>
                </a:ext>
              </a:extLst>
            </p:cNvPr>
            <p:cNvSpPr/>
            <p:nvPr userDrawn="1"/>
          </p:nvSpPr>
          <p:spPr>
            <a:xfrm>
              <a:off x="7484533" y="4360333"/>
              <a:ext cx="1659467" cy="78316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 name="Group 1">
              <a:extLst>
                <a:ext uri="{FF2B5EF4-FFF2-40B4-BE49-F238E27FC236}">
                  <a16:creationId xmlns:a16="http://schemas.microsoft.com/office/drawing/2014/main" id="{7678457C-68A1-D84C-8979-60A5B22AD826}"/>
                </a:ext>
              </a:extLst>
            </p:cNvPr>
            <p:cNvGrpSpPr/>
            <p:nvPr userDrawn="1"/>
          </p:nvGrpSpPr>
          <p:grpSpPr>
            <a:xfrm>
              <a:off x="5909733" y="2217062"/>
              <a:ext cx="3234267" cy="2926438"/>
              <a:chOff x="5909733" y="2217062"/>
              <a:chExt cx="3234267" cy="2926438"/>
            </a:xfrm>
          </p:grpSpPr>
          <p:sp>
            <p:nvSpPr>
              <p:cNvPr id="8" name="Freeform 2">
                <a:extLst>
                  <a:ext uri="{FF2B5EF4-FFF2-40B4-BE49-F238E27FC236}">
                    <a16:creationId xmlns:a16="http://schemas.microsoft.com/office/drawing/2014/main" id="{914B8707-A1DF-9644-8101-4B8306A4256F}"/>
                  </a:ext>
                </a:extLst>
              </p:cNvPr>
              <p:cNvSpPr/>
              <p:nvPr userDrawn="1"/>
            </p:nvSpPr>
            <p:spPr>
              <a:xfrm>
                <a:off x="7820979" y="2217062"/>
                <a:ext cx="212769" cy="212201"/>
              </a:xfrm>
              <a:custGeom>
                <a:avLst/>
                <a:gdLst/>
                <a:ahLst/>
                <a:cxnLst/>
                <a:rect l="0" t="0" r="r" b="b"/>
                <a:pathLst>
                  <a:path w="4494" h="4482">
                    <a:moveTo>
                      <a:pt x="2240" y="2179"/>
                    </a:moveTo>
                    <a:lnTo>
                      <a:pt x="2240" y="2179"/>
                    </a:lnTo>
                    <a:cubicBezTo>
                      <a:pt x="2303" y="2194"/>
                      <a:pt x="2341" y="2255"/>
                      <a:pt x="2329" y="2318"/>
                    </a:cubicBezTo>
                    <a:cubicBezTo>
                      <a:pt x="2326" y="2340"/>
                      <a:pt x="2220" y="2817"/>
                      <a:pt x="1778" y="3324"/>
                    </a:cubicBezTo>
                    <a:cubicBezTo>
                      <a:pt x="1486" y="3661"/>
                      <a:pt x="888" y="3934"/>
                      <a:pt x="865" y="3946"/>
                    </a:cubicBezTo>
                    <a:cubicBezTo>
                      <a:pt x="848" y="3954"/>
                      <a:pt x="833" y="3955"/>
                      <a:pt x="814" y="3955"/>
                    </a:cubicBezTo>
                    <a:cubicBezTo>
                      <a:pt x="770" y="3955"/>
                      <a:pt x="727" y="3931"/>
                      <a:pt x="710" y="3890"/>
                    </a:cubicBezTo>
                    <a:cubicBezTo>
                      <a:pt x="681" y="3829"/>
                      <a:pt x="710" y="3758"/>
                      <a:pt x="766" y="3734"/>
                    </a:cubicBezTo>
                    <a:cubicBezTo>
                      <a:pt x="773" y="3729"/>
                      <a:pt x="1343" y="3465"/>
                      <a:pt x="1601" y="3168"/>
                    </a:cubicBezTo>
                    <a:cubicBezTo>
                      <a:pt x="2003" y="2712"/>
                      <a:pt x="2097" y="2277"/>
                      <a:pt x="2097" y="2272"/>
                    </a:cubicBezTo>
                    <a:cubicBezTo>
                      <a:pt x="2112" y="2209"/>
                      <a:pt x="2174" y="2167"/>
                      <a:pt x="2240" y="2179"/>
                    </a:cubicBezTo>
                    <a:moveTo>
                      <a:pt x="2286" y="1610"/>
                    </a:moveTo>
                    <a:lnTo>
                      <a:pt x="2286" y="1610"/>
                    </a:lnTo>
                    <a:cubicBezTo>
                      <a:pt x="2369" y="1616"/>
                      <a:pt x="2451" y="1638"/>
                      <a:pt x="2528" y="1677"/>
                    </a:cubicBezTo>
                    <a:cubicBezTo>
                      <a:pt x="2843" y="1828"/>
                      <a:pt x="2959" y="2093"/>
                      <a:pt x="2860" y="2421"/>
                    </a:cubicBezTo>
                    <a:cubicBezTo>
                      <a:pt x="2806" y="2584"/>
                      <a:pt x="2666" y="3004"/>
                      <a:pt x="2451" y="3327"/>
                    </a:cubicBezTo>
                    <a:cubicBezTo>
                      <a:pt x="2085" y="3882"/>
                      <a:pt x="1427" y="4248"/>
                      <a:pt x="1398" y="4263"/>
                    </a:cubicBezTo>
                    <a:cubicBezTo>
                      <a:pt x="1381" y="4276"/>
                      <a:pt x="1360" y="4277"/>
                      <a:pt x="1342" y="4277"/>
                    </a:cubicBezTo>
                    <a:cubicBezTo>
                      <a:pt x="1301" y="4277"/>
                      <a:pt x="1258" y="4256"/>
                      <a:pt x="1236" y="4216"/>
                    </a:cubicBezTo>
                    <a:cubicBezTo>
                      <a:pt x="1205" y="4161"/>
                      <a:pt x="1226" y="4090"/>
                      <a:pt x="1282" y="4059"/>
                    </a:cubicBezTo>
                    <a:cubicBezTo>
                      <a:pt x="1290" y="4054"/>
                      <a:pt x="1923" y="3702"/>
                      <a:pt x="2257" y="3196"/>
                    </a:cubicBezTo>
                    <a:cubicBezTo>
                      <a:pt x="2455" y="2900"/>
                      <a:pt x="2586" y="2507"/>
                      <a:pt x="2635" y="2350"/>
                    </a:cubicBezTo>
                    <a:cubicBezTo>
                      <a:pt x="2703" y="2137"/>
                      <a:pt x="2635" y="1991"/>
                      <a:pt x="2426" y="1884"/>
                    </a:cubicBezTo>
                    <a:cubicBezTo>
                      <a:pt x="2327" y="1837"/>
                      <a:pt x="2216" y="1833"/>
                      <a:pt x="2114" y="1867"/>
                    </a:cubicBezTo>
                    <a:cubicBezTo>
                      <a:pt x="2008" y="1904"/>
                      <a:pt x="1923" y="1977"/>
                      <a:pt x="1875" y="2076"/>
                    </a:cubicBezTo>
                    <a:cubicBezTo>
                      <a:pt x="1846" y="2132"/>
                      <a:pt x="1814" y="2202"/>
                      <a:pt x="1781" y="2278"/>
                    </a:cubicBezTo>
                    <a:cubicBezTo>
                      <a:pt x="1683" y="2487"/>
                      <a:pt x="1568" y="2746"/>
                      <a:pt x="1405" y="2965"/>
                    </a:cubicBezTo>
                    <a:cubicBezTo>
                      <a:pt x="1309" y="3101"/>
                      <a:pt x="1122" y="3232"/>
                      <a:pt x="851" y="3359"/>
                    </a:cubicBezTo>
                    <a:cubicBezTo>
                      <a:pt x="655" y="3446"/>
                      <a:pt x="490" y="3500"/>
                      <a:pt x="488" y="3500"/>
                    </a:cubicBezTo>
                    <a:cubicBezTo>
                      <a:pt x="423" y="3522"/>
                      <a:pt x="357" y="3485"/>
                      <a:pt x="340" y="3424"/>
                    </a:cubicBezTo>
                    <a:cubicBezTo>
                      <a:pt x="318" y="3361"/>
                      <a:pt x="353" y="3295"/>
                      <a:pt x="413" y="3276"/>
                    </a:cubicBezTo>
                    <a:cubicBezTo>
                      <a:pt x="585" y="3225"/>
                      <a:pt x="1064" y="3038"/>
                      <a:pt x="1220" y="2824"/>
                    </a:cubicBezTo>
                    <a:cubicBezTo>
                      <a:pt x="1364" y="2628"/>
                      <a:pt x="1476" y="2380"/>
                      <a:pt x="1568" y="2178"/>
                    </a:cubicBezTo>
                    <a:cubicBezTo>
                      <a:pt x="1604" y="2105"/>
                      <a:pt x="1635" y="2030"/>
                      <a:pt x="1667" y="1969"/>
                    </a:cubicBezTo>
                    <a:cubicBezTo>
                      <a:pt x="1744" y="1814"/>
                      <a:pt x="1875" y="1696"/>
                      <a:pt x="2037" y="1644"/>
                    </a:cubicBezTo>
                    <a:cubicBezTo>
                      <a:pt x="2119" y="1616"/>
                      <a:pt x="2204" y="1605"/>
                      <a:pt x="2286" y="1610"/>
                    </a:cubicBezTo>
                    <a:moveTo>
                      <a:pt x="2215" y="1078"/>
                    </a:moveTo>
                    <a:lnTo>
                      <a:pt x="2215" y="1078"/>
                    </a:lnTo>
                    <a:cubicBezTo>
                      <a:pt x="2405" y="1071"/>
                      <a:pt x="2594" y="1111"/>
                      <a:pt x="2767" y="1196"/>
                    </a:cubicBezTo>
                    <a:cubicBezTo>
                      <a:pt x="3375" y="1497"/>
                      <a:pt x="3556" y="1996"/>
                      <a:pt x="3318" y="2718"/>
                    </a:cubicBezTo>
                    <a:cubicBezTo>
                      <a:pt x="3210" y="3061"/>
                      <a:pt x="3072" y="3357"/>
                      <a:pt x="2915" y="3594"/>
                    </a:cubicBezTo>
                    <a:cubicBezTo>
                      <a:pt x="2613" y="4048"/>
                      <a:pt x="2103" y="4440"/>
                      <a:pt x="2078" y="4457"/>
                    </a:cubicBezTo>
                    <a:cubicBezTo>
                      <a:pt x="2056" y="4472"/>
                      <a:pt x="2033" y="4481"/>
                      <a:pt x="2008" y="4481"/>
                    </a:cubicBezTo>
                    <a:cubicBezTo>
                      <a:pt x="1972" y="4481"/>
                      <a:pt x="1938" y="4465"/>
                      <a:pt x="1916" y="4433"/>
                    </a:cubicBezTo>
                    <a:cubicBezTo>
                      <a:pt x="1878" y="4384"/>
                      <a:pt x="1887" y="4309"/>
                      <a:pt x="1938" y="4270"/>
                    </a:cubicBezTo>
                    <a:cubicBezTo>
                      <a:pt x="1943" y="4267"/>
                      <a:pt x="2439" y="3881"/>
                      <a:pt x="2722" y="3464"/>
                    </a:cubicBezTo>
                    <a:cubicBezTo>
                      <a:pt x="2866" y="3243"/>
                      <a:pt x="2992" y="2969"/>
                      <a:pt x="3099" y="2648"/>
                    </a:cubicBezTo>
                    <a:cubicBezTo>
                      <a:pt x="3200" y="2329"/>
                      <a:pt x="3212" y="2074"/>
                      <a:pt x="3137" y="1872"/>
                    </a:cubicBezTo>
                    <a:cubicBezTo>
                      <a:pt x="3063" y="1682"/>
                      <a:pt x="2907" y="1532"/>
                      <a:pt x="2666" y="1407"/>
                    </a:cubicBezTo>
                    <a:cubicBezTo>
                      <a:pt x="2439" y="1298"/>
                      <a:pt x="2190" y="1285"/>
                      <a:pt x="1955" y="1366"/>
                    </a:cubicBezTo>
                    <a:cubicBezTo>
                      <a:pt x="1718" y="1449"/>
                      <a:pt x="1522" y="1616"/>
                      <a:pt x="1394" y="1847"/>
                    </a:cubicBezTo>
                    <a:cubicBezTo>
                      <a:pt x="1391" y="1855"/>
                      <a:pt x="1377" y="1894"/>
                      <a:pt x="1368" y="1926"/>
                    </a:cubicBezTo>
                    <a:cubicBezTo>
                      <a:pt x="1321" y="2049"/>
                      <a:pt x="1237" y="2286"/>
                      <a:pt x="1091" y="2520"/>
                    </a:cubicBezTo>
                    <a:cubicBezTo>
                      <a:pt x="1002" y="2667"/>
                      <a:pt x="826" y="2798"/>
                      <a:pt x="577" y="2912"/>
                    </a:cubicBezTo>
                    <a:cubicBezTo>
                      <a:pt x="393" y="2991"/>
                      <a:pt x="238" y="3029"/>
                      <a:pt x="231" y="3031"/>
                    </a:cubicBezTo>
                    <a:cubicBezTo>
                      <a:pt x="170" y="3046"/>
                      <a:pt x="105" y="3007"/>
                      <a:pt x="91" y="2944"/>
                    </a:cubicBezTo>
                    <a:cubicBezTo>
                      <a:pt x="74" y="2883"/>
                      <a:pt x="113" y="2815"/>
                      <a:pt x="176" y="2803"/>
                    </a:cubicBezTo>
                    <a:cubicBezTo>
                      <a:pt x="330" y="2764"/>
                      <a:pt x="758" y="2617"/>
                      <a:pt x="891" y="2395"/>
                    </a:cubicBezTo>
                    <a:cubicBezTo>
                      <a:pt x="1027" y="2181"/>
                      <a:pt x="1099" y="1972"/>
                      <a:pt x="1145" y="1843"/>
                    </a:cubicBezTo>
                    <a:cubicBezTo>
                      <a:pt x="1167" y="1792"/>
                      <a:pt x="1177" y="1756"/>
                      <a:pt x="1190" y="1731"/>
                    </a:cubicBezTo>
                    <a:cubicBezTo>
                      <a:pt x="1346" y="1454"/>
                      <a:pt x="1590" y="1247"/>
                      <a:pt x="1878" y="1143"/>
                    </a:cubicBezTo>
                    <a:cubicBezTo>
                      <a:pt x="1988" y="1104"/>
                      <a:pt x="2102" y="1083"/>
                      <a:pt x="2215" y="1078"/>
                    </a:cubicBezTo>
                    <a:moveTo>
                      <a:pt x="2173" y="537"/>
                    </a:moveTo>
                    <a:lnTo>
                      <a:pt x="2173" y="537"/>
                    </a:lnTo>
                    <a:cubicBezTo>
                      <a:pt x="2228" y="535"/>
                      <a:pt x="2283" y="536"/>
                      <a:pt x="2337" y="540"/>
                    </a:cubicBezTo>
                    <a:cubicBezTo>
                      <a:pt x="2568" y="551"/>
                      <a:pt x="2786" y="611"/>
                      <a:pt x="2994" y="712"/>
                    </a:cubicBezTo>
                    <a:cubicBezTo>
                      <a:pt x="3423" y="926"/>
                      <a:pt x="3718" y="1254"/>
                      <a:pt x="3848" y="1665"/>
                    </a:cubicBezTo>
                    <a:cubicBezTo>
                      <a:pt x="3913" y="1872"/>
                      <a:pt x="3940" y="2103"/>
                      <a:pt x="3918" y="2346"/>
                    </a:cubicBezTo>
                    <a:cubicBezTo>
                      <a:pt x="3896" y="2593"/>
                      <a:pt x="3829" y="2855"/>
                      <a:pt x="3720" y="3127"/>
                    </a:cubicBezTo>
                    <a:cubicBezTo>
                      <a:pt x="3448" y="3798"/>
                      <a:pt x="2994" y="4311"/>
                      <a:pt x="2977" y="4333"/>
                    </a:cubicBezTo>
                    <a:cubicBezTo>
                      <a:pt x="2952" y="4359"/>
                      <a:pt x="2921" y="4374"/>
                      <a:pt x="2889" y="4374"/>
                    </a:cubicBezTo>
                    <a:cubicBezTo>
                      <a:pt x="2861" y="4374"/>
                      <a:pt x="2832" y="4365"/>
                      <a:pt x="2812" y="4343"/>
                    </a:cubicBezTo>
                    <a:cubicBezTo>
                      <a:pt x="2762" y="4301"/>
                      <a:pt x="2759" y="4226"/>
                      <a:pt x="2800" y="4177"/>
                    </a:cubicBezTo>
                    <a:cubicBezTo>
                      <a:pt x="2807" y="4170"/>
                      <a:pt x="3247" y="3667"/>
                      <a:pt x="3503" y="3035"/>
                    </a:cubicBezTo>
                    <a:cubicBezTo>
                      <a:pt x="3604" y="2787"/>
                      <a:pt x="3664" y="2552"/>
                      <a:pt x="3686" y="2326"/>
                    </a:cubicBezTo>
                    <a:cubicBezTo>
                      <a:pt x="3703" y="2112"/>
                      <a:pt x="3681" y="1916"/>
                      <a:pt x="3623" y="1736"/>
                    </a:cubicBezTo>
                    <a:cubicBezTo>
                      <a:pt x="3570" y="1560"/>
                      <a:pt x="3479" y="1405"/>
                      <a:pt x="3356" y="1269"/>
                    </a:cubicBezTo>
                    <a:cubicBezTo>
                      <a:pt x="3232" y="1135"/>
                      <a:pt x="3076" y="1017"/>
                      <a:pt x="2892" y="926"/>
                    </a:cubicBezTo>
                    <a:cubicBezTo>
                      <a:pt x="2537" y="748"/>
                      <a:pt x="2136" y="724"/>
                      <a:pt x="1765" y="851"/>
                    </a:cubicBezTo>
                    <a:cubicBezTo>
                      <a:pt x="1389" y="980"/>
                      <a:pt x="1087" y="1244"/>
                      <a:pt x="915" y="1602"/>
                    </a:cubicBezTo>
                    <a:cubicBezTo>
                      <a:pt x="877" y="1679"/>
                      <a:pt x="852" y="1762"/>
                      <a:pt x="828" y="1855"/>
                    </a:cubicBezTo>
                    <a:cubicBezTo>
                      <a:pt x="814" y="1901"/>
                      <a:pt x="799" y="1947"/>
                      <a:pt x="785" y="1996"/>
                    </a:cubicBezTo>
                    <a:cubicBezTo>
                      <a:pt x="659" y="2372"/>
                      <a:pt x="165" y="2491"/>
                      <a:pt x="143" y="2499"/>
                    </a:cubicBezTo>
                    <a:cubicBezTo>
                      <a:pt x="80" y="2513"/>
                      <a:pt x="17" y="2474"/>
                      <a:pt x="3" y="2411"/>
                    </a:cubicBezTo>
                    <a:cubicBezTo>
                      <a:pt x="1" y="2403"/>
                      <a:pt x="0" y="2396"/>
                      <a:pt x="0" y="2389"/>
                    </a:cubicBezTo>
                    <a:lnTo>
                      <a:pt x="0" y="2376"/>
                    </a:lnTo>
                    <a:cubicBezTo>
                      <a:pt x="3" y="2324"/>
                      <a:pt x="38" y="2279"/>
                      <a:pt x="90" y="2268"/>
                    </a:cubicBezTo>
                    <a:cubicBezTo>
                      <a:pt x="90" y="2268"/>
                      <a:pt x="191" y="2244"/>
                      <a:pt x="305" y="2183"/>
                    </a:cubicBezTo>
                    <a:cubicBezTo>
                      <a:pt x="398" y="2134"/>
                      <a:pt x="519" y="2047"/>
                      <a:pt x="560" y="1917"/>
                    </a:cubicBezTo>
                    <a:cubicBezTo>
                      <a:pt x="575" y="1879"/>
                      <a:pt x="589" y="1835"/>
                      <a:pt x="604" y="1789"/>
                    </a:cubicBezTo>
                    <a:cubicBezTo>
                      <a:pt x="627" y="1692"/>
                      <a:pt x="655" y="1595"/>
                      <a:pt x="705" y="1497"/>
                    </a:cubicBezTo>
                    <a:cubicBezTo>
                      <a:pt x="807" y="1291"/>
                      <a:pt x="947" y="1106"/>
                      <a:pt x="1120" y="953"/>
                    </a:cubicBezTo>
                    <a:cubicBezTo>
                      <a:pt x="1287" y="810"/>
                      <a:pt x="1478" y="700"/>
                      <a:pt x="1688" y="630"/>
                    </a:cubicBezTo>
                    <a:cubicBezTo>
                      <a:pt x="1845" y="573"/>
                      <a:pt x="2009" y="542"/>
                      <a:pt x="2173" y="537"/>
                    </a:cubicBezTo>
                    <a:moveTo>
                      <a:pt x="2158" y="3"/>
                    </a:moveTo>
                    <a:lnTo>
                      <a:pt x="2158" y="3"/>
                    </a:lnTo>
                    <a:cubicBezTo>
                      <a:pt x="2230" y="0"/>
                      <a:pt x="2302" y="1"/>
                      <a:pt x="2374" y="6"/>
                    </a:cubicBezTo>
                    <a:cubicBezTo>
                      <a:pt x="2673" y="25"/>
                      <a:pt x="2961" y="103"/>
                      <a:pt x="3232" y="237"/>
                    </a:cubicBezTo>
                    <a:cubicBezTo>
                      <a:pt x="3502" y="371"/>
                      <a:pt x="3741" y="555"/>
                      <a:pt x="3935" y="782"/>
                    </a:cubicBezTo>
                    <a:cubicBezTo>
                      <a:pt x="4126" y="1000"/>
                      <a:pt x="4269" y="1251"/>
                      <a:pt x="4361" y="1530"/>
                    </a:cubicBezTo>
                    <a:cubicBezTo>
                      <a:pt x="4455" y="1807"/>
                      <a:pt x="4493" y="2095"/>
                      <a:pt x="4477" y="2384"/>
                    </a:cubicBezTo>
                    <a:cubicBezTo>
                      <a:pt x="4460" y="2682"/>
                      <a:pt x="4382" y="2976"/>
                      <a:pt x="4250" y="3246"/>
                    </a:cubicBezTo>
                    <a:cubicBezTo>
                      <a:pt x="4230" y="3288"/>
                      <a:pt x="4189" y="3312"/>
                      <a:pt x="4143" y="3312"/>
                    </a:cubicBezTo>
                    <a:cubicBezTo>
                      <a:pt x="4126" y="3312"/>
                      <a:pt x="4107" y="3310"/>
                      <a:pt x="4095" y="3302"/>
                    </a:cubicBezTo>
                    <a:cubicBezTo>
                      <a:pt x="4034" y="3271"/>
                      <a:pt x="4010" y="3202"/>
                      <a:pt x="4041" y="3144"/>
                    </a:cubicBezTo>
                    <a:cubicBezTo>
                      <a:pt x="4160" y="2899"/>
                      <a:pt x="4228" y="2641"/>
                      <a:pt x="4244" y="2369"/>
                    </a:cubicBezTo>
                    <a:cubicBezTo>
                      <a:pt x="4259" y="2111"/>
                      <a:pt x="4223" y="1854"/>
                      <a:pt x="4138" y="1606"/>
                    </a:cubicBezTo>
                    <a:cubicBezTo>
                      <a:pt x="4056" y="1357"/>
                      <a:pt x="3928" y="1132"/>
                      <a:pt x="3759" y="937"/>
                    </a:cubicBezTo>
                    <a:cubicBezTo>
                      <a:pt x="3585" y="732"/>
                      <a:pt x="3372" y="565"/>
                      <a:pt x="3130" y="446"/>
                    </a:cubicBezTo>
                    <a:cubicBezTo>
                      <a:pt x="2888" y="324"/>
                      <a:pt x="2627" y="259"/>
                      <a:pt x="2361" y="239"/>
                    </a:cubicBezTo>
                    <a:cubicBezTo>
                      <a:pt x="2103" y="227"/>
                      <a:pt x="1846" y="260"/>
                      <a:pt x="1600" y="346"/>
                    </a:cubicBezTo>
                    <a:cubicBezTo>
                      <a:pt x="1353" y="431"/>
                      <a:pt x="1129" y="558"/>
                      <a:pt x="932" y="728"/>
                    </a:cubicBezTo>
                    <a:cubicBezTo>
                      <a:pt x="732" y="905"/>
                      <a:pt x="567" y="1117"/>
                      <a:pt x="447" y="1363"/>
                    </a:cubicBezTo>
                    <a:cubicBezTo>
                      <a:pt x="381" y="1496"/>
                      <a:pt x="330" y="1637"/>
                      <a:pt x="296" y="1783"/>
                    </a:cubicBezTo>
                    <a:cubicBezTo>
                      <a:pt x="282" y="1847"/>
                      <a:pt x="219" y="1886"/>
                      <a:pt x="154" y="1871"/>
                    </a:cubicBezTo>
                    <a:cubicBezTo>
                      <a:pt x="91" y="1856"/>
                      <a:pt x="53" y="1793"/>
                      <a:pt x="66" y="1729"/>
                    </a:cubicBezTo>
                    <a:cubicBezTo>
                      <a:pt x="105" y="1566"/>
                      <a:pt x="161" y="1406"/>
                      <a:pt x="236" y="1258"/>
                    </a:cubicBezTo>
                    <a:cubicBezTo>
                      <a:pt x="369" y="985"/>
                      <a:pt x="553" y="744"/>
                      <a:pt x="780" y="551"/>
                    </a:cubicBezTo>
                    <a:cubicBezTo>
                      <a:pt x="1000" y="360"/>
                      <a:pt x="1250" y="215"/>
                      <a:pt x="1527" y="122"/>
                    </a:cubicBezTo>
                    <a:cubicBezTo>
                      <a:pt x="1732" y="51"/>
                      <a:pt x="1943" y="11"/>
                      <a:pt x="2158" y="3"/>
                    </a:cubicBezTo>
                  </a:path>
                </a:pathLst>
              </a:custGeom>
              <a:solidFill>
                <a:schemeClr val="tx2"/>
              </a:solidFill>
              <a:ln>
                <a:noFill/>
              </a:ln>
            </p:spPr>
          </p:sp>
          <p:pic>
            <p:nvPicPr>
              <p:cNvPr id="7" name="Cisco Security - Working File_2-21.png" descr="Cisco Security - Working File_2-21.png">
                <a:extLst>
                  <a:ext uri="{FF2B5EF4-FFF2-40B4-BE49-F238E27FC236}">
                    <a16:creationId xmlns:a16="http://schemas.microsoft.com/office/drawing/2014/main" id="{CC6633C6-2C08-924F-9942-BCFA79B1EA0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909733" y="2258847"/>
                <a:ext cx="3234267" cy="2884653"/>
              </a:xfrm>
              <a:prstGeom prst="rect">
                <a:avLst/>
              </a:prstGeom>
              <a:ln w="12700">
                <a:miter lim="400000"/>
              </a:ln>
            </p:spPr>
          </p:pic>
        </p:grpSp>
      </p:grpSp>
    </p:spTree>
    <p:extLst>
      <p:ext uri="{BB962C8B-B14F-4D97-AF65-F5344CB8AC3E}">
        <p14:creationId xmlns:p14="http://schemas.microsoft.com/office/powerpoint/2010/main" val="38654071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Bullet with Image – Customizable">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
        <p:nvSpPr>
          <p:cNvPr id="18" name="Picture Placeholder 2">
            <a:extLst>
              <a:ext uri="{FF2B5EF4-FFF2-40B4-BE49-F238E27FC236}">
                <a16:creationId xmlns:a16="http://schemas.microsoft.com/office/drawing/2014/main" id="{79EBDCC7-8ACA-DA4A-AA3E-D9FC70FCEB08}"/>
              </a:ext>
            </a:extLst>
          </p:cNvPr>
          <p:cNvSpPr>
            <a:spLocks noGrp="1"/>
          </p:cNvSpPr>
          <p:nvPr>
            <p:ph type="pic" sz="quarter" idx="10"/>
          </p:nvPr>
        </p:nvSpPr>
        <p:spPr>
          <a:xfrm>
            <a:off x="5117433" y="1211180"/>
            <a:ext cx="4026568" cy="3932321"/>
          </a:xfrm>
          <a:prstGeom prst="rect">
            <a:avLst/>
          </a:prstGeom>
          <a:noFill/>
        </p:spPr>
        <p:txBody>
          <a:bodyPr vert="horz" lIns="91424" tIns="45712" rIns="91424" bIns="45712" anchor="ctr"/>
          <a:lstStyle>
            <a:lvl1pPr marL="0" indent="0" algn="ctr">
              <a:buNone/>
              <a:defRPr sz="1500" baseline="0">
                <a:solidFill>
                  <a:schemeClr val="bg1">
                    <a:lumMod val="75000"/>
                    <a:alpha val="50000"/>
                  </a:schemeClr>
                </a:solidFill>
                <a:latin typeface="+mj-lt"/>
                <a:cs typeface="CiscoSans ExtraLight"/>
              </a:defRPr>
            </a:lvl1pPr>
          </a:lstStyle>
          <a:p>
            <a:pPr lvl="0"/>
            <a:r>
              <a:rPr lang="en-US" noProof="0"/>
              <a:t>Click icon to add picture</a:t>
            </a:r>
          </a:p>
        </p:txBody>
      </p:sp>
      <p:sp>
        <p:nvSpPr>
          <p:cNvPr id="5" name="Text Placeholder 2">
            <a:extLst>
              <a:ext uri="{FF2B5EF4-FFF2-40B4-BE49-F238E27FC236}">
                <a16:creationId xmlns:a16="http://schemas.microsoft.com/office/drawing/2014/main" id="{EFEBEA73-D3C7-B247-9EC2-7F44EC0A3E9F}"/>
              </a:ext>
            </a:extLst>
          </p:cNvPr>
          <p:cNvSpPr>
            <a:spLocks noGrp="1"/>
          </p:cNvSpPr>
          <p:nvPr>
            <p:ph type="body" sz="quarter" idx="11" hasCustomPrompt="1"/>
          </p:nvPr>
        </p:nvSpPr>
        <p:spPr>
          <a:xfrm>
            <a:off x="437767" y="1204181"/>
            <a:ext cx="4767897"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7282255"/>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Column Bullet">
    <p:spTree>
      <p:nvGrpSpPr>
        <p:cNvPr id="1" name=""/>
        <p:cNvGrpSpPr/>
        <p:nvPr/>
      </p:nvGrpSpPr>
      <p:grpSpPr>
        <a:xfrm>
          <a:off x="0" y="0"/>
          <a:ext cx="0" cy="0"/>
          <a:chOff x="0" y="0"/>
          <a:chExt cx="0" cy="0"/>
        </a:xfrm>
      </p:grpSpPr>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
        <p:nvSpPr>
          <p:cNvPr id="6" name="Text Placeholder 2">
            <a:extLst>
              <a:ext uri="{FF2B5EF4-FFF2-40B4-BE49-F238E27FC236}">
                <a16:creationId xmlns:a16="http://schemas.microsoft.com/office/drawing/2014/main" id="{9667ECF8-36E4-1543-8AE4-B4CA62CB48F2}"/>
              </a:ext>
            </a:extLst>
          </p:cNvPr>
          <p:cNvSpPr>
            <a:spLocks noGrp="1"/>
          </p:cNvSpPr>
          <p:nvPr>
            <p:ph type="body" sz="quarter" idx="12" hasCustomPrompt="1"/>
          </p:nvPr>
        </p:nvSpPr>
        <p:spPr>
          <a:xfrm>
            <a:off x="437766" y="1204181"/>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9" name="Text Placeholder 2">
            <a:extLst>
              <a:ext uri="{FF2B5EF4-FFF2-40B4-BE49-F238E27FC236}">
                <a16:creationId xmlns:a16="http://schemas.microsoft.com/office/drawing/2014/main" id="{5E604A25-F4D0-BF42-BB68-74C618E65034}"/>
              </a:ext>
            </a:extLst>
          </p:cNvPr>
          <p:cNvSpPr>
            <a:spLocks noGrp="1"/>
          </p:cNvSpPr>
          <p:nvPr>
            <p:ph type="body" sz="quarter" idx="13" hasCustomPrompt="1"/>
          </p:nvPr>
        </p:nvSpPr>
        <p:spPr>
          <a:xfrm>
            <a:off x="4759894" y="1204181"/>
            <a:ext cx="4023360" cy="3324225"/>
          </a:xfrm>
        </p:spPr>
        <p:txBody>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771586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2708392321"/>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Blank Slide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640056"/>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preserve="1" userDrawn="1">
  <p:cSld name="Blank Slide without Footer">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6591983"/>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itle +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195138"/>
            <a:ext cx="8115300" cy="2811379"/>
          </a:xfrm>
          <a:prstGeom prst="rect">
            <a:avLst/>
          </a:prstGeom>
        </p:spPr>
        <p:txBody>
          <a:bodyPr lIns="91420" tIns="45710" rIns="91420" bIns="45710" anchor="ctr">
            <a:noAutofit/>
          </a:bodyPr>
          <a:lstStyle>
            <a:lvl1pPr marL="0" indent="0" algn="ctr">
              <a:buNone/>
              <a:defRPr sz="2000" baseline="0">
                <a:solidFill>
                  <a:schemeClr val="bg1">
                    <a:lumMod val="75000"/>
                  </a:schemeClr>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hasCustomPrompt="1"/>
          </p:nvPr>
        </p:nvSpPr>
        <p:spPr>
          <a:xfrm>
            <a:off x="437768" y="4043947"/>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22829418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467684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chor="ctr">
            <a:noAutofit/>
          </a:bodyPr>
          <a:lstStyle>
            <a:lvl1pPr marL="0" indent="0" algn="ctr">
              <a:buNone/>
              <a:defRPr sz="2000" b="0" i="0">
                <a:solidFill>
                  <a:schemeClr val="bg1">
                    <a:lumMod val="75000"/>
                  </a:schemeClr>
                </a:solidFill>
                <a:latin typeface="+mn-lt"/>
                <a:cs typeface="CiscoSans ExtraLight"/>
              </a:defRPr>
            </a:lvl1pPr>
          </a:lstStyle>
          <a:p>
            <a:pPr lvl="0"/>
            <a:r>
              <a:rPr lang="en-US" noProof="0"/>
              <a:t>Click icon to add chart</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1"/>
                </a:solidFill>
              </a:defRPr>
            </a:lvl1pPr>
          </a:lstStyle>
          <a:p>
            <a:pPr lvl="0"/>
            <a:r>
              <a:rPr lang="en-US"/>
              <a:t>Title Goes Here (28pt)</a:t>
            </a:r>
            <a:endParaRPr lang="en-GB"/>
          </a:p>
        </p:txBody>
      </p:sp>
      <p:sp>
        <p:nvSpPr>
          <p:cNvPr id="8" name="Text Placeholder 9">
            <a:extLst>
              <a:ext uri="{FF2B5EF4-FFF2-40B4-BE49-F238E27FC236}">
                <a16:creationId xmlns:a16="http://schemas.microsoft.com/office/drawing/2014/main" id="{9AA8906B-835B-4B43-B3AA-275E7D90DF27}"/>
              </a:ext>
            </a:extLst>
          </p:cNvPr>
          <p:cNvSpPr>
            <a:spLocks noGrp="1"/>
          </p:cNvSpPr>
          <p:nvPr>
            <p:ph type="body" sz="quarter" idx="11" hasCustomPrompt="1"/>
          </p:nvPr>
        </p:nvSpPr>
        <p:spPr>
          <a:xfrm>
            <a:off x="437768" y="4043947"/>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Source here</a:t>
            </a:r>
          </a:p>
        </p:txBody>
      </p:sp>
    </p:spTree>
    <p:extLst>
      <p:ext uri="{BB962C8B-B14F-4D97-AF65-F5344CB8AC3E}">
        <p14:creationId xmlns:p14="http://schemas.microsoft.com/office/powerpoint/2010/main" val="198964851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Half Page Bullet + Image – Midnight">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37767" y="1665183"/>
            <a:ext cx="3662024" cy="2849668"/>
          </a:xfrm>
          <a:prstGeom prst="rect">
            <a:avLst/>
          </a:prstGeom>
        </p:spPr>
        <p:txBody>
          <a:bodyPr vert="horz" lIns="91440" tIns="45720" rIns="91440" bIns="45720" rtlCol="0" anchor="t">
            <a:noAutofit/>
          </a:bodyPr>
          <a:lstStyle>
            <a:lvl1pPr>
              <a:defRPr lang="en-GB" dirty="0">
                <a:solidFill>
                  <a:schemeClr val="bg1"/>
                </a:solidFill>
              </a:defRPr>
            </a:lvl1pPr>
            <a:lvl2pPr>
              <a:defRPr lang="en-GB" dirty="0">
                <a:solidFill>
                  <a:schemeClr val="bg1"/>
                </a:solidFill>
              </a:defRPr>
            </a:lvl2pPr>
            <a:lvl3pPr>
              <a:defRPr lang="en-GB" dirty="0">
                <a:solidFill>
                  <a:schemeClr val="bg1"/>
                </a:solidFill>
              </a:defRPr>
            </a:lvl3pPr>
            <a:lvl4pPr>
              <a:defRPr lang="en-GB" dirty="0">
                <a:solidFill>
                  <a:schemeClr val="bg1"/>
                </a:solidFill>
              </a:defRPr>
            </a:lvl4pPr>
            <a:lvl5pPr>
              <a:defRPr lang="en-US" dirty="0">
                <a:solidFill>
                  <a:schemeClr val="bg1"/>
                </a:solidFill>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hasCustomPrompt="1"/>
          </p:nvPr>
        </p:nvSpPr>
        <p:spPr bwMode="auto">
          <a:xfrm>
            <a:off x="437767" y="416821"/>
            <a:ext cx="3686559"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Title Here (28pt)  Limit Two Lines</a:t>
            </a:r>
            <a:endParaRPr lang="en-GB"/>
          </a:p>
        </p:txBody>
      </p:sp>
      <p:sp>
        <p:nvSpPr>
          <p:cNvPr id="21" name="Picture Placeholder 6">
            <a:extLst>
              <a:ext uri="{FF2B5EF4-FFF2-40B4-BE49-F238E27FC236}">
                <a16:creationId xmlns:a16="http://schemas.microsoft.com/office/drawing/2014/main" id="{C87BC8F3-531D-B143-A0AC-A9C39E31B082}"/>
              </a:ext>
            </a:extLst>
          </p:cNvPr>
          <p:cNvSpPr>
            <a:spLocks noGrp="1"/>
          </p:cNvSpPr>
          <p:nvPr>
            <p:ph type="pic" sz="quarter" idx="11"/>
          </p:nvPr>
        </p:nvSpPr>
        <p:spPr>
          <a:xfrm>
            <a:off x="4572000" y="1"/>
            <a:ext cx="4572000"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grpSp>
        <p:nvGrpSpPr>
          <p:cNvPr id="2" name="Group 1">
            <a:extLst>
              <a:ext uri="{FF2B5EF4-FFF2-40B4-BE49-F238E27FC236}">
                <a16:creationId xmlns:a16="http://schemas.microsoft.com/office/drawing/2014/main" id="{BC0590C9-C249-A149-B267-D2B7C7F46852}"/>
              </a:ext>
            </a:extLst>
          </p:cNvPr>
          <p:cNvGrpSpPr/>
          <p:nvPr userDrawn="1"/>
        </p:nvGrpSpPr>
        <p:grpSpPr>
          <a:xfrm>
            <a:off x="528764" y="4712482"/>
            <a:ext cx="921665" cy="191516"/>
            <a:chOff x="528763" y="4712481"/>
            <a:chExt cx="921665" cy="191516"/>
          </a:xfrm>
        </p:grpSpPr>
        <p:grpSp>
          <p:nvGrpSpPr>
            <p:cNvPr id="18" name="Graphic 2">
              <a:extLst>
                <a:ext uri="{FF2B5EF4-FFF2-40B4-BE49-F238E27FC236}">
                  <a16:creationId xmlns:a16="http://schemas.microsoft.com/office/drawing/2014/main" id="{68DF1D2F-9299-BB46-B894-F37AD7F711E4}"/>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2041ECEB-AB79-374E-9772-8883AA85469B}"/>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2" name="Freeform 21">
                <a:extLst>
                  <a:ext uri="{FF2B5EF4-FFF2-40B4-BE49-F238E27FC236}">
                    <a16:creationId xmlns:a16="http://schemas.microsoft.com/office/drawing/2014/main" id="{18C819C5-8302-DC43-8E8E-2826AA2892DE}"/>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D5482B27-5DB1-FE47-A0F6-3BDDFEB6290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640D89BE-4E04-0C4B-BB99-64A272A7E0F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ABE911CF-A02A-E94E-A149-E597C845D19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6" name="Freeform 25">
                <a:extLst>
                  <a:ext uri="{FF2B5EF4-FFF2-40B4-BE49-F238E27FC236}">
                    <a16:creationId xmlns:a16="http://schemas.microsoft.com/office/drawing/2014/main" id="{F57E7A3C-CF89-7E40-BFDE-51B0E046E6B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19" name="Freeform 6">
              <a:extLst>
                <a:ext uri="{FF2B5EF4-FFF2-40B4-BE49-F238E27FC236}">
                  <a16:creationId xmlns:a16="http://schemas.microsoft.com/office/drawing/2014/main" id="{09040E0C-5639-7141-8809-39C923A3333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
        <p:nvSpPr>
          <p:cNvPr id="27" name="Rectangle 4">
            <a:extLst>
              <a:ext uri="{FF2B5EF4-FFF2-40B4-BE49-F238E27FC236}">
                <a16:creationId xmlns:a16="http://schemas.microsoft.com/office/drawing/2014/main" id="{F07495A3-9545-E44B-AF9C-8F264AFB8ECE}"/>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2629663654"/>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Half Page + Bullets">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32793" y="1657350"/>
            <a:ext cx="3813048"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20" name="Text Placeholder 4">
            <a:extLst>
              <a:ext uri="{FF2B5EF4-FFF2-40B4-BE49-F238E27FC236}">
                <a16:creationId xmlns:a16="http://schemas.microsoft.com/office/drawing/2014/main" id="{B9D862F6-90F3-164B-8F46-E1EB10E16895}"/>
              </a:ext>
            </a:extLst>
          </p:cNvPr>
          <p:cNvSpPr>
            <a:spLocks noGrp="1"/>
          </p:cNvSpPr>
          <p:nvPr>
            <p:ph type="body" sz="quarter" idx="11" hasCustomPrompt="1"/>
          </p:nvPr>
        </p:nvSpPr>
        <p:spPr>
          <a:xfrm>
            <a:off x="4992272" y="416820"/>
            <a:ext cx="3749040" cy="4206240"/>
          </a:xfrm>
        </p:spPr>
        <p:txBody>
          <a:bodyPr anchor="ct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25" name="Rectangle 4">
            <a:extLst>
              <a:ext uri="{FF2B5EF4-FFF2-40B4-BE49-F238E27FC236}">
                <a16:creationId xmlns:a16="http://schemas.microsoft.com/office/drawing/2014/main" id="{64A0111B-C8A2-DC46-9EC2-88A0731DAE3D}"/>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6" name="Group 25">
            <a:extLst>
              <a:ext uri="{FF2B5EF4-FFF2-40B4-BE49-F238E27FC236}">
                <a16:creationId xmlns:a16="http://schemas.microsoft.com/office/drawing/2014/main" id="{1DAD06F8-25F8-6546-8D9A-4825B919A45D}"/>
              </a:ext>
            </a:extLst>
          </p:cNvPr>
          <p:cNvGrpSpPr/>
          <p:nvPr userDrawn="1"/>
        </p:nvGrpSpPr>
        <p:grpSpPr>
          <a:xfrm>
            <a:off x="528764" y="4712482"/>
            <a:ext cx="921665" cy="191516"/>
            <a:chOff x="528763" y="4712481"/>
            <a:chExt cx="921665" cy="191516"/>
          </a:xfrm>
        </p:grpSpPr>
        <p:grpSp>
          <p:nvGrpSpPr>
            <p:cNvPr id="27" name="Graphic 2">
              <a:extLst>
                <a:ext uri="{FF2B5EF4-FFF2-40B4-BE49-F238E27FC236}">
                  <a16:creationId xmlns:a16="http://schemas.microsoft.com/office/drawing/2014/main" id="{47AB4B06-0838-2B4A-B203-3855C1A0DF48}"/>
                </a:ext>
              </a:extLst>
            </p:cNvPr>
            <p:cNvGrpSpPr/>
            <p:nvPr userDrawn="1"/>
          </p:nvGrpSpPr>
          <p:grpSpPr>
            <a:xfrm>
              <a:off x="943759" y="4781970"/>
              <a:ext cx="506669" cy="122027"/>
              <a:chOff x="4433187" y="1865375"/>
              <a:chExt cx="2298157" cy="553493"/>
            </a:xfrm>
            <a:solidFill>
              <a:schemeClr val="accent2"/>
            </a:solidFill>
          </p:grpSpPr>
          <p:sp>
            <p:nvSpPr>
              <p:cNvPr id="29" name="Freeform 28">
                <a:extLst>
                  <a:ext uri="{FF2B5EF4-FFF2-40B4-BE49-F238E27FC236}">
                    <a16:creationId xmlns:a16="http://schemas.microsoft.com/office/drawing/2014/main" id="{8476C063-CE51-274D-854C-2ABB9F9E34B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0" name="Freeform 29">
                <a:extLst>
                  <a:ext uri="{FF2B5EF4-FFF2-40B4-BE49-F238E27FC236}">
                    <a16:creationId xmlns:a16="http://schemas.microsoft.com/office/drawing/2014/main" id="{DED165DC-9D74-2942-82C6-7A6FBA4ACA0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1" name="Freeform 30">
                <a:extLst>
                  <a:ext uri="{FF2B5EF4-FFF2-40B4-BE49-F238E27FC236}">
                    <a16:creationId xmlns:a16="http://schemas.microsoft.com/office/drawing/2014/main" id="{543A35BE-1472-3940-A5F1-96184E30E9FF}"/>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32" name="Freeform 31">
                <a:extLst>
                  <a:ext uri="{FF2B5EF4-FFF2-40B4-BE49-F238E27FC236}">
                    <a16:creationId xmlns:a16="http://schemas.microsoft.com/office/drawing/2014/main" id="{F3CA5FC1-89F6-1146-BC3E-2B2459E882C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33" name="Freeform 32">
                <a:extLst>
                  <a:ext uri="{FF2B5EF4-FFF2-40B4-BE49-F238E27FC236}">
                    <a16:creationId xmlns:a16="http://schemas.microsoft.com/office/drawing/2014/main" id="{50E7D5D7-B573-CC41-B9B6-368DA785B638}"/>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34" name="Freeform 33">
                <a:extLst>
                  <a:ext uri="{FF2B5EF4-FFF2-40B4-BE49-F238E27FC236}">
                    <a16:creationId xmlns:a16="http://schemas.microsoft.com/office/drawing/2014/main" id="{165715DD-41EE-484A-A4B7-3839BE500003}"/>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8" name="Freeform 6">
              <a:extLst>
                <a:ext uri="{FF2B5EF4-FFF2-40B4-BE49-F238E27FC236}">
                  <a16:creationId xmlns:a16="http://schemas.microsoft.com/office/drawing/2014/main" id="{47F8CF69-9B67-B347-B50E-29918D40CEF2}"/>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251889318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Half Page + Image with 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9" name="Text Placeholder 8"/>
          <p:cNvSpPr>
            <a:spLocks noGrp="1"/>
          </p:cNvSpPr>
          <p:nvPr>
            <p:ph type="body" sz="quarter" idx="11" hasCustomPrompt="1"/>
          </p:nvPr>
        </p:nvSpPr>
        <p:spPr>
          <a:xfrm>
            <a:off x="5089526" y="4062351"/>
            <a:ext cx="3559175" cy="525145"/>
          </a:xfrm>
          <a:prstGeom prst="rect">
            <a:avLst/>
          </a:prstGeom>
        </p:spPr>
        <p:txBody>
          <a:bodyPr lIns="0" tIns="0" rIns="0" bIns="0"/>
          <a:lstStyle>
            <a:lvl1pPr marL="0" indent="0" algn="ctr">
              <a:buNone/>
              <a:defRPr sz="1400"/>
            </a:lvl1pPr>
          </a:lstStyle>
          <a:p>
            <a:pPr lvl="0"/>
            <a:r>
              <a:rPr lang="en-US"/>
              <a:t>Image caption here</a:t>
            </a:r>
          </a:p>
        </p:txBody>
      </p:sp>
      <p:sp>
        <p:nvSpPr>
          <p:cNvPr id="35" name="Rectangle 4">
            <a:extLst>
              <a:ext uri="{FF2B5EF4-FFF2-40B4-BE49-F238E27FC236}">
                <a16:creationId xmlns:a16="http://schemas.microsoft.com/office/drawing/2014/main" id="{D95B4E91-CEC4-0944-A6C9-08007178E168}"/>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21" name="Group 20">
            <a:extLst>
              <a:ext uri="{FF2B5EF4-FFF2-40B4-BE49-F238E27FC236}">
                <a16:creationId xmlns:a16="http://schemas.microsoft.com/office/drawing/2014/main" id="{DCBA97EC-DC87-8F43-8EAC-8682BB0AAC65}"/>
              </a:ext>
            </a:extLst>
          </p:cNvPr>
          <p:cNvGrpSpPr/>
          <p:nvPr userDrawn="1"/>
        </p:nvGrpSpPr>
        <p:grpSpPr>
          <a:xfrm>
            <a:off x="528764" y="4712482"/>
            <a:ext cx="921665" cy="191516"/>
            <a:chOff x="528763" y="4712481"/>
            <a:chExt cx="921665" cy="191516"/>
          </a:xfrm>
        </p:grpSpPr>
        <p:grpSp>
          <p:nvGrpSpPr>
            <p:cNvPr id="22" name="Graphic 2">
              <a:extLst>
                <a:ext uri="{FF2B5EF4-FFF2-40B4-BE49-F238E27FC236}">
                  <a16:creationId xmlns:a16="http://schemas.microsoft.com/office/drawing/2014/main" id="{0A868ED3-D8D2-5148-8602-57D85BD6C763}"/>
                </a:ext>
              </a:extLst>
            </p:cNvPr>
            <p:cNvGrpSpPr/>
            <p:nvPr userDrawn="1"/>
          </p:nvGrpSpPr>
          <p:grpSpPr>
            <a:xfrm>
              <a:off x="943759" y="4781970"/>
              <a:ext cx="506669" cy="122027"/>
              <a:chOff x="4433187" y="1865375"/>
              <a:chExt cx="2298157" cy="553493"/>
            </a:xfrm>
            <a:solidFill>
              <a:schemeClr val="accent2"/>
            </a:solidFill>
          </p:grpSpPr>
          <p:sp>
            <p:nvSpPr>
              <p:cNvPr id="24" name="Freeform 23">
                <a:extLst>
                  <a:ext uri="{FF2B5EF4-FFF2-40B4-BE49-F238E27FC236}">
                    <a16:creationId xmlns:a16="http://schemas.microsoft.com/office/drawing/2014/main" id="{42207790-DE20-024A-91A0-5CB16F2FCDF0}"/>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4CD29DC9-C0A4-6E45-B41F-454464C332A9}"/>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6" name="Freeform 25">
                <a:extLst>
                  <a:ext uri="{FF2B5EF4-FFF2-40B4-BE49-F238E27FC236}">
                    <a16:creationId xmlns:a16="http://schemas.microsoft.com/office/drawing/2014/main" id="{B8D22142-4BAD-734E-B82B-3CA87EDCF153}"/>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7" name="Freeform 26">
                <a:extLst>
                  <a:ext uri="{FF2B5EF4-FFF2-40B4-BE49-F238E27FC236}">
                    <a16:creationId xmlns:a16="http://schemas.microsoft.com/office/drawing/2014/main" id="{53A38F9E-2717-5743-9AD4-A12C0F685AE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8" name="Freeform 27">
                <a:extLst>
                  <a:ext uri="{FF2B5EF4-FFF2-40B4-BE49-F238E27FC236}">
                    <a16:creationId xmlns:a16="http://schemas.microsoft.com/office/drawing/2014/main" id="{A519DDBC-35AB-414F-BFA3-9B6AA451638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9" name="Freeform 28">
                <a:extLst>
                  <a:ext uri="{FF2B5EF4-FFF2-40B4-BE49-F238E27FC236}">
                    <a16:creationId xmlns:a16="http://schemas.microsoft.com/office/drawing/2014/main" id="{94F96208-9366-1A4A-9D95-02B65A9226DB}"/>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3" name="Freeform 6">
              <a:extLst>
                <a:ext uri="{FF2B5EF4-FFF2-40B4-BE49-F238E27FC236}">
                  <a16:creationId xmlns:a16="http://schemas.microsoft.com/office/drawing/2014/main" id="{199B466D-BCF1-1B45-851B-5253D47BCA1B}"/>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126591173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 Half Page ">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33" name="Rectangle 4">
            <a:extLst>
              <a:ext uri="{FF2B5EF4-FFF2-40B4-BE49-F238E27FC236}">
                <a16:creationId xmlns:a16="http://schemas.microsoft.com/office/drawing/2014/main" id="{F7469B34-86CF-9F4A-A86F-E8F8299881E4}"/>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7" name="Group 16">
            <a:extLst>
              <a:ext uri="{FF2B5EF4-FFF2-40B4-BE49-F238E27FC236}">
                <a16:creationId xmlns:a16="http://schemas.microsoft.com/office/drawing/2014/main" id="{507F7347-F465-3C4B-BF6D-CDABE1E16978}"/>
              </a:ext>
            </a:extLst>
          </p:cNvPr>
          <p:cNvGrpSpPr/>
          <p:nvPr userDrawn="1"/>
        </p:nvGrpSpPr>
        <p:grpSpPr>
          <a:xfrm>
            <a:off x="528764" y="4712482"/>
            <a:ext cx="921665" cy="191516"/>
            <a:chOff x="528763" y="4712481"/>
            <a:chExt cx="921665" cy="191516"/>
          </a:xfrm>
        </p:grpSpPr>
        <p:grpSp>
          <p:nvGrpSpPr>
            <p:cNvPr id="18" name="Graphic 2">
              <a:extLst>
                <a:ext uri="{FF2B5EF4-FFF2-40B4-BE49-F238E27FC236}">
                  <a16:creationId xmlns:a16="http://schemas.microsoft.com/office/drawing/2014/main" id="{33DA2E5D-B662-F044-8CCB-B3A36AA9D832}"/>
                </a:ext>
              </a:extLst>
            </p:cNvPr>
            <p:cNvGrpSpPr/>
            <p:nvPr userDrawn="1"/>
          </p:nvGrpSpPr>
          <p:grpSpPr>
            <a:xfrm>
              <a:off x="943759" y="4781970"/>
              <a:ext cx="506669" cy="122027"/>
              <a:chOff x="4433187" y="1865375"/>
              <a:chExt cx="2298157" cy="553493"/>
            </a:xfrm>
            <a:solidFill>
              <a:schemeClr val="accent2"/>
            </a:solidFill>
          </p:grpSpPr>
          <p:sp>
            <p:nvSpPr>
              <p:cNvPr id="20" name="Freeform 19">
                <a:extLst>
                  <a:ext uri="{FF2B5EF4-FFF2-40B4-BE49-F238E27FC236}">
                    <a16:creationId xmlns:a16="http://schemas.microsoft.com/office/drawing/2014/main" id="{C4FD3886-99D7-5C49-8296-0E3B89BE6C0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1" name="Freeform 20">
                <a:extLst>
                  <a:ext uri="{FF2B5EF4-FFF2-40B4-BE49-F238E27FC236}">
                    <a16:creationId xmlns:a16="http://schemas.microsoft.com/office/drawing/2014/main" id="{12115675-CCB1-A541-B856-D08C84D58407}"/>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2" name="Freeform 21">
                <a:extLst>
                  <a:ext uri="{FF2B5EF4-FFF2-40B4-BE49-F238E27FC236}">
                    <a16:creationId xmlns:a16="http://schemas.microsoft.com/office/drawing/2014/main" id="{F795C995-3418-064F-980D-EB8A6147F9E2}"/>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A6B01082-7C6C-EF4C-B97D-5DA222F1C68D}"/>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14C1779E-96ED-BD4E-ACAE-6AFF818F341F}"/>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ABB4E986-3B04-4749-8B5B-5C8BE61A135C}"/>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19" name="Freeform 6">
              <a:extLst>
                <a:ext uri="{FF2B5EF4-FFF2-40B4-BE49-F238E27FC236}">
                  <a16:creationId xmlns:a16="http://schemas.microsoft.com/office/drawing/2014/main" id="{7A57E6B4-EC5B-BC49-A2FC-E1358D2FC490}"/>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134831498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Half Page + Imag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solidFill>
                  <a:schemeClr val="bg1">
                    <a:lumMod val="75000"/>
                  </a:schemeClr>
                </a:solidFill>
              </a:defRPr>
            </a:lvl1pPr>
          </a:lstStyle>
          <a:p>
            <a:r>
              <a:rPr lang="en-US"/>
              <a:t>Click icon to add picture</a:t>
            </a:r>
          </a:p>
        </p:txBody>
      </p:sp>
      <p:sp>
        <p:nvSpPr>
          <p:cNvPr id="34" name="Rectangle 4">
            <a:extLst>
              <a:ext uri="{FF2B5EF4-FFF2-40B4-BE49-F238E27FC236}">
                <a16:creationId xmlns:a16="http://schemas.microsoft.com/office/drawing/2014/main" id="{578F5E2B-EE70-684C-B6AC-59B670289920}"/>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E3004A4-BEFF-624C-AD44-0BC80F87CDD5}"/>
              </a:ext>
            </a:extLst>
          </p:cNvPr>
          <p:cNvGrpSpPr/>
          <p:nvPr userDrawn="1"/>
        </p:nvGrpSpPr>
        <p:grpSpPr>
          <a:xfrm>
            <a:off x="528764" y="4712482"/>
            <a:ext cx="921665" cy="191516"/>
            <a:chOff x="528763" y="4712481"/>
            <a:chExt cx="921665" cy="191516"/>
          </a:xfrm>
        </p:grpSpPr>
        <p:grpSp>
          <p:nvGrpSpPr>
            <p:cNvPr id="20" name="Graphic 2">
              <a:extLst>
                <a:ext uri="{FF2B5EF4-FFF2-40B4-BE49-F238E27FC236}">
                  <a16:creationId xmlns:a16="http://schemas.microsoft.com/office/drawing/2014/main" id="{1C555E82-DEF0-5545-AA4C-194B39F76960}"/>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7E5E1398-4477-154B-BFA9-65D38AF68FD4}"/>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E2FE2F0F-2535-AC4A-AE56-0FD6486EB62F}"/>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6006715C-7CA3-A94E-A293-4091A665A111}"/>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9F86F0BC-3CC7-E848-85D2-922F6D4B4C74}"/>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6" name="Freeform 25">
                <a:extLst>
                  <a:ext uri="{FF2B5EF4-FFF2-40B4-BE49-F238E27FC236}">
                    <a16:creationId xmlns:a16="http://schemas.microsoft.com/office/drawing/2014/main" id="{CFFC9762-B888-E04D-977A-1038FFDDCFA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7" name="Freeform 26">
                <a:extLst>
                  <a:ext uri="{FF2B5EF4-FFF2-40B4-BE49-F238E27FC236}">
                    <a16:creationId xmlns:a16="http://schemas.microsoft.com/office/drawing/2014/main" id="{7EC6E64B-0A56-2949-8811-57F0285505F2}"/>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1" name="Freeform 6">
              <a:extLst>
                <a:ext uri="{FF2B5EF4-FFF2-40B4-BE49-F238E27FC236}">
                  <a16:creationId xmlns:a16="http://schemas.microsoft.com/office/drawing/2014/main" id="{ABAADAB7-B8AA-9A48-9ABF-8849D61C604F}"/>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1712891188"/>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Half Page 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chart</a:t>
            </a:r>
          </a:p>
        </p:txBody>
      </p:sp>
      <p:sp>
        <p:nvSpPr>
          <p:cNvPr id="34" name="Rectangle 4">
            <a:extLst>
              <a:ext uri="{FF2B5EF4-FFF2-40B4-BE49-F238E27FC236}">
                <a16:creationId xmlns:a16="http://schemas.microsoft.com/office/drawing/2014/main" id="{86B33472-5C28-7143-95C2-FEBA7F383ABC}"/>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9" name="Group 18">
            <a:extLst>
              <a:ext uri="{FF2B5EF4-FFF2-40B4-BE49-F238E27FC236}">
                <a16:creationId xmlns:a16="http://schemas.microsoft.com/office/drawing/2014/main" id="{C1166EBE-88FA-EB4E-B319-6D80EAE1EAD6}"/>
              </a:ext>
            </a:extLst>
          </p:cNvPr>
          <p:cNvGrpSpPr/>
          <p:nvPr userDrawn="1"/>
        </p:nvGrpSpPr>
        <p:grpSpPr>
          <a:xfrm>
            <a:off x="528764" y="4712482"/>
            <a:ext cx="921665" cy="191516"/>
            <a:chOff x="528763" y="4712481"/>
            <a:chExt cx="921665" cy="191516"/>
          </a:xfrm>
        </p:grpSpPr>
        <p:grpSp>
          <p:nvGrpSpPr>
            <p:cNvPr id="20" name="Graphic 2">
              <a:extLst>
                <a:ext uri="{FF2B5EF4-FFF2-40B4-BE49-F238E27FC236}">
                  <a16:creationId xmlns:a16="http://schemas.microsoft.com/office/drawing/2014/main" id="{2A92F6DF-DB02-1944-A9E9-38FB8220E54C}"/>
                </a:ext>
              </a:extLst>
            </p:cNvPr>
            <p:cNvGrpSpPr/>
            <p:nvPr userDrawn="1"/>
          </p:nvGrpSpPr>
          <p:grpSpPr>
            <a:xfrm>
              <a:off x="943759" y="4781970"/>
              <a:ext cx="506669" cy="122027"/>
              <a:chOff x="4433187" y="1865375"/>
              <a:chExt cx="2298157" cy="553493"/>
            </a:xfrm>
            <a:solidFill>
              <a:schemeClr val="accent2"/>
            </a:solidFill>
          </p:grpSpPr>
          <p:sp>
            <p:nvSpPr>
              <p:cNvPr id="22" name="Freeform 21">
                <a:extLst>
                  <a:ext uri="{FF2B5EF4-FFF2-40B4-BE49-F238E27FC236}">
                    <a16:creationId xmlns:a16="http://schemas.microsoft.com/office/drawing/2014/main" id="{881867B4-EC46-994B-800F-45749C25DB4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9C6666E4-CCC5-C64F-A737-861EF5FBB6CD}"/>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A7A82050-4629-6646-952D-AB22F1DD54F8}"/>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EFBF3BB4-10A9-CE47-99BF-B4E61ACF4A22}"/>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6" name="Freeform 25">
                <a:extLst>
                  <a:ext uri="{FF2B5EF4-FFF2-40B4-BE49-F238E27FC236}">
                    <a16:creationId xmlns:a16="http://schemas.microsoft.com/office/drawing/2014/main" id="{F2133A13-3E58-5443-BD8E-EE653827C87E}"/>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7" name="Freeform 26">
                <a:extLst>
                  <a:ext uri="{FF2B5EF4-FFF2-40B4-BE49-F238E27FC236}">
                    <a16:creationId xmlns:a16="http://schemas.microsoft.com/office/drawing/2014/main" id="{B727C51C-C1CD-8C45-A8F3-6512070CD05F}"/>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1" name="Freeform 6">
              <a:extLst>
                <a:ext uri="{FF2B5EF4-FFF2-40B4-BE49-F238E27FC236}">
                  <a16:creationId xmlns:a16="http://schemas.microsoft.com/office/drawing/2014/main" id="{D2DD5BF5-0ADA-3D4C-B1EF-0E06A1C85621}"/>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840776762"/>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Half Page 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28888"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solidFill>
                  <a:schemeClr val="bg1">
                    <a:lumMod val="75000"/>
                  </a:schemeClr>
                </a:solidFill>
              </a:defRPr>
            </a:lvl1pPr>
          </a:lstStyle>
          <a:p>
            <a:r>
              <a:rPr lang="en-US"/>
              <a:t>Click icon to add table</a:t>
            </a:r>
          </a:p>
        </p:txBody>
      </p:sp>
      <p:sp>
        <p:nvSpPr>
          <p:cNvPr id="34" name="Rectangle 4">
            <a:extLst>
              <a:ext uri="{FF2B5EF4-FFF2-40B4-BE49-F238E27FC236}">
                <a16:creationId xmlns:a16="http://schemas.microsoft.com/office/drawing/2014/main" id="{83B86DEA-D456-EC43-B9E1-DAED43092C29}"/>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alpha val="50000"/>
                  </a:schemeClr>
                </a:solidFill>
                <a:latin typeface="+mn-lt"/>
                <a:ea typeface="+mn-ea"/>
                <a:cs typeface="CiscoSans Thin"/>
              </a:rPr>
              <a:t>© 2020 Cisco and/or its affiliates. All rights reserved. Cisco Confidential   </a:t>
            </a:r>
          </a:p>
        </p:txBody>
      </p:sp>
      <p:grpSp>
        <p:nvGrpSpPr>
          <p:cNvPr id="18" name="Group 17">
            <a:extLst>
              <a:ext uri="{FF2B5EF4-FFF2-40B4-BE49-F238E27FC236}">
                <a16:creationId xmlns:a16="http://schemas.microsoft.com/office/drawing/2014/main" id="{AA502BB4-D8B0-2E4E-892D-9EABB7FE0BD9}"/>
              </a:ext>
            </a:extLst>
          </p:cNvPr>
          <p:cNvGrpSpPr/>
          <p:nvPr userDrawn="1"/>
        </p:nvGrpSpPr>
        <p:grpSpPr>
          <a:xfrm>
            <a:off x="528764" y="4712482"/>
            <a:ext cx="921665" cy="191516"/>
            <a:chOff x="528763" y="4712481"/>
            <a:chExt cx="921665" cy="191516"/>
          </a:xfrm>
        </p:grpSpPr>
        <p:grpSp>
          <p:nvGrpSpPr>
            <p:cNvPr id="19" name="Graphic 2">
              <a:extLst>
                <a:ext uri="{FF2B5EF4-FFF2-40B4-BE49-F238E27FC236}">
                  <a16:creationId xmlns:a16="http://schemas.microsoft.com/office/drawing/2014/main" id="{33DDCFA9-7225-DC4A-9DC3-2DA31BF5BC21}"/>
                </a:ext>
              </a:extLst>
            </p:cNvPr>
            <p:cNvGrpSpPr/>
            <p:nvPr userDrawn="1"/>
          </p:nvGrpSpPr>
          <p:grpSpPr>
            <a:xfrm>
              <a:off x="943759" y="4781970"/>
              <a:ext cx="506669" cy="122027"/>
              <a:chOff x="4433187" y="1865375"/>
              <a:chExt cx="2298157" cy="553493"/>
            </a:xfrm>
            <a:solidFill>
              <a:schemeClr val="accent2"/>
            </a:solidFill>
          </p:grpSpPr>
          <p:sp>
            <p:nvSpPr>
              <p:cNvPr id="21" name="Freeform 20">
                <a:extLst>
                  <a:ext uri="{FF2B5EF4-FFF2-40B4-BE49-F238E27FC236}">
                    <a16:creationId xmlns:a16="http://schemas.microsoft.com/office/drawing/2014/main" id="{EB413082-537F-8145-A37F-82C03318DD67}"/>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2" name="Freeform 21">
                <a:extLst>
                  <a:ext uri="{FF2B5EF4-FFF2-40B4-BE49-F238E27FC236}">
                    <a16:creationId xmlns:a16="http://schemas.microsoft.com/office/drawing/2014/main" id="{F4678165-065A-DC4F-ACBE-6C2714C4895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995B8E60-C316-3B48-A8AE-DAA3D5B481C5}"/>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4" name="Freeform 23">
                <a:extLst>
                  <a:ext uri="{FF2B5EF4-FFF2-40B4-BE49-F238E27FC236}">
                    <a16:creationId xmlns:a16="http://schemas.microsoft.com/office/drawing/2014/main" id="{241A648D-1490-DD41-8489-3B1EACB076E1}"/>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5" name="Freeform 24">
                <a:extLst>
                  <a:ext uri="{FF2B5EF4-FFF2-40B4-BE49-F238E27FC236}">
                    <a16:creationId xmlns:a16="http://schemas.microsoft.com/office/drawing/2014/main" id="{95383BD0-093A-6949-A81E-9A67F18E1196}"/>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6" name="Freeform 25">
                <a:extLst>
                  <a:ext uri="{FF2B5EF4-FFF2-40B4-BE49-F238E27FC236}">
                    <a16:creationId xmlns:a16="http://schemas.microsoft.com/office/drawing/2014/main" id="{FDD1755B-DD79-2B4A-BAF6-767182E7F3A6}"/>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20" name="Freeform 6">
              <a:extLst>
                <a:ext uri="{FF2B5EF4-FFF2-40B4-BE49-F238E27FC236}">
                  <a16:creationId xmlns:a16="http://schemas.microsoft.com/office/drawing/2014/main" id="{A6E71D06-856D-1D41-8E6F-15C356085B39}"/>
                </a:ext>
              </a:extLst>
            </p:cNvPr>
            <p:cNvSpPr>
              <a:spLocks noChangeAspect="1" noEditPoints="1"/>
            </p:cNvSpPr>
            <p:nvPr userDrawn="1"/>
          </p:nvSpPr>
          <p:spPr bwMode="auto">
            <a:xfrm>
              <a:off x="528763" y="4712481"/>
              <a:ext cx="360118" cy="191313"/>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Tree>
    <p:extLst>
      <p:ext uri="{BB962C8B-B14F-4D97-AF65-F5344CB8AC3E}">
        <p14:creationId xmlns:p14="http://schemas.microsoft.com/office/powerpoint/2010/main" val="1436553262"/>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Closing – Midnight">
    <p:bg>
      <p:bgPr>
        <a:solidFill>
          <a:schemeClr val="tx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D8C6793-7535-A74F-A95E-EDAF265D9F12}"/>
              </a:ext>
            </a:extLst>
          </p:cNvPr>
          <p:cNvGrpSpPr/>
          <p:nvPr userDrawn="1"/>
        </p:nvGrpSpPr>
        <p:grpSpPr>
          <a:xfrm>
            <a:off x="2502975"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Tree>
    <p:extLst>
      <p:ext uri="{BB962C8B-B14F-4D97-AF65-F5344CB8AC3E}">
        <p14:creationId xmlns:p14="http://schemas.microsoft.com/office/powerpoint/2010/main" val="1815056854"/>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Closing – Green">
    <p:bg>
      <p:bgPr>
        <a:solidFill>
          <a:schemeClr val="accent2"/>
        </a:solidFill>
        <a:effectLst/>
      </p:bgPr>
    </p:bg>
    <p:spTree>
      <p:nvGrpSpPr>
        <p:cNvPr id="1" name=""/>
        <p:cNvGrpSpPr/>
        <p:nvPr/>
      </p:nvGrpSpPr>
      <p:grpSpPr>
        <a:xfrm>
          <a:off x="0" y="0"/>
          <a:ext cx="0" cy="0"/>
          <a:chOff x="0" y="0"/>
          <a:chExt cx="0" cy="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2" y="2430025"/>
            <a:ext cx="2281162" cy="549400"/>
            <a:chOff x="4433187" y="1865375"/>
            <a:chExt cx="2298157" cy="553493"/>
          </a:xfrm>
          <a:solidFill>
            <a:srgbClr val="FFFFFF"/>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solidFill>
              <a:schemeClr val="bg1"/>
            </a:solidFill>
            <a:ln w="12940" cap="flat">
              <a:noFill/>
              <a:prstDash val="solid"/>
              <a:miter/>
            </a:ln>
          </p:spPr>
          <p:txBody>
            <a:bodyPr rtlCol="0" anchor="ctr"/>
            <a:lstStyle/>
            <a:p>
              <a:endParaRPr lang="en-US" sz="1800"/>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solidFill>
              <a:schemeClr val="bg1"/>
            </a:solidFill>
            <a:ln w="12940" cap="flat">
              <a:noFill/>
              <a:prstDash val="solid"/>
              <a:miter/>
            </a:ln>
          </p:spPr>
          <p:txBody>
            <a:bodyPr rtlCol="0" anchor="ctr"/>
            <a:lstStyle/>
            <a:p>
              <a:endParaRPr lang="en-US" sz="1800"/>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solidFill>
              <a:schemeClr val="bg1"/>
            </a:solidFill>
            <a:ln w="12940" cap="flat">
              <a:noFill/>
              <a:prstDash val="solid"/>
              <a:miter/>
            </a:ln>
          </p:spPr>
          <p:txBody>
            <a:bodyPr rtlCol="0" anchor="ctr"/>
            <a:lstStyle/>
            <a:p>
              <a:endParaRPr lang="en-US" sz="1800"/>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solidFill>
              <a:schemeClr val="bg1"/>
            </a:solidFill>
            <a:ln w="12940" cap="flat">
              <a:noFill/>
              <a:prstDash val="solid"/>
              <a:miter/>
            </a:ln>
          </p:spPr>
          <p:txBody>
            <a:bodyPr rtlCol="0" anchor="ctr"/>
            <a:lstStyle/>
            <a:p>
              <a:endParaRPr lang="en-US" sz="1800"/>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solidFill>
              <a:schemeClr val="bg1"/>
            </a:solidFill>
            <a:ln w="12940" cap="flat">
              <a:noFill/>
              <a:prstDash val="solid"/>
              <a:miter/>
            </a:ln>
          </p:spPr>
          <p:txBody>
            <a:bodyPr rtlCol="0" anchor="ctr"/>
            <a:lstStyle/>
            <a:p>
              <a:endParaRPr lang="en-US" sz="1800"/>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solidFill>
              <a:schemeClr val="bg1"/>
            </a:solidFill>
            <a:ln w="12940" cap="flat">
              <a:noFill/>
              <a:prstDash val="solid"/>
              <a:miter/>
            </a:ln>
          </p:spPr>
          <p:txBody>
            <a:bodyPr rtlCol="0" anchor="ctr"/>
            <a:lstStyle/>
            <a:p>
              <a:endParaRPr lang="en-US" sz="1800"/>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5"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15556256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26188363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8376673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Closing – White (PRINT ONLY)">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7B0E75D-41E2-A44B-AAB4-2AA7F84DA851}"/>
              </a:ext>
            </a:extLst>
          </p:cNvPr>
          <p:cNvGrpSpPr/>
          <p:nvPr userDrawn="1"/>
        </p:nvGrpSpPr>
        <p:grpSpPr>
          <a:xfrm>
            <a:off x="2502975" y="2117165"/>
            <a:ext cx="4149589" cy="862260"/>
            <a:chOff x="2502974" y="2117165"/>
            <a:chExt cx="4149589" cy="862260"/>
          </a:xfrm>
        </p:grpSpPr>
        <p:grpSp>
          <p:nvGrpSpPr>
            <p:cNvPr id="11" name="Graphic 2">
              <a:extLst>
                <a:ext uri="{FF2B5EF4-FFF2-40B4-BE49-F238E27FC236}">
                  <a16:creationId xmlns:a16="http://schemas.microsoft.com/office/drawing/2014/main" id="{9CD04113-3DDE-FD4E-94EA-6765EB877634}"/>
                </a:ext>
              </a:extLst>
            </p:cNvPr>
            <p:cNvGrpSpPr/>
            <p:nvPr/>
          </p:nvGrpSpPr>
          <p:grpSpPr>
            <a:xfrm>
              <a:off x="4371401" y="2430025"/>
              <a:ext cx="2281162" cy="549400"/>
              <a:chOff x="4433187" y="1865375"/>
              <a:chExt cx="2298157" cy="553493"/>
            </a:xfrm>
            <a:solidFill>
              <a:schemeClr val="tx2"/>
            </a:solidFill>
          </p:grpSpPr>
          <p:sp>
            <p:nvSpPr>
              <p:cNvPr id="12" name="Freeform 11">
                <a:extLst>
                  <a:ext uri="{FF2B5EF4-FFF2-40B4-BE49-F238E27FC236}">
                    <a16:creationId xmlns:a16="http://schemas.microsoft.com/office/drawing/2014/main" id="{5F9A8CC8-1F9E-A746-AE23-A7DA37E29E6C}"/>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p>
            </p:txBody>
          </p:sp>
          <p:sp>
            <p:nvSpPr>
              <p:cNvPr id="13" name="Freeform 12">
                <a:extLst>
                  <a:ext uri="{FF2B5EF4-FFF2-40B4-BE49-F238E27FC236}">
                    <a16:creationId xmlns:a16="http://schemas.microsoft.com/office/drawing/2014/main" id="{94F91B33-D453-B64B-8F44-CB22EE1D09D8}"/>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p>
            </p:txBody>
          </p:sp>
          <p:sp>
            <p:nvSpPr>
              <p:cNvPr id="14" name="Freeform 13">
                <a:extLst>
                  <a:ext uri="{FF2B5EF4-FFF2-40B4-BE49-F238E27FC236}">
                    <a16:creationId xmlns:a16="http://schemas.microsoft.com/office/drawing/2014/main" id="{4E4569AD-EEFE-F943-B480-C273F8A9DFBC}"/>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p>
            </p:txBody>
          </p:sp>
          <p:sp>
            <p:nvSpPr>
              <p:cNvPr id="15" name="Freeform 14">
                <a:extLst>
                  <a:ext uri="{FF2B5EF4-FFF2-40B4-BE49-F238E27FC236}">
                    <a16:creationId xmlns:a16="http://schemas.microsoft.com/office/drawing/2014/main" id="{48F48D9E-FEB0-C444-A87C-F42C31E5C15C}"/>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p>
            </p:txBody>
          </p:sp>
          <p:sp>
            <p:nvSpPr>
              <p:cNvPr id="16" name="Freeform 15">
                <a:extLst>
                  <a:ext uri="{FF2B5EF4-FFF2-40B4-BE49-F238E27FC236}">
                    <a16:creationId xmlns:a16="http://schemas.microsoft.com/office/drawing/2014/main" id="{20AABBB3-BEBB-C443-B5C9-BB894C93C6B7}"/>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p>
            </p:txBody>
          </p:sp>
          <p:sp>
            <p:nvSpPr>
              <p:cNvPr id="17" name="Freeform 16">
                <a:extLst>
                  <a:ext uri="{FF2B5EF4-FFF2-40B4-BE49-F238E27FC236}">
                    <a16:creationId xmlns:a16="http://schemas.microsoft.com/office/drawing/2014/main" id="{D28C6391-D606-6743-8C37-34CAE6BC1C9A}"/>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p>
            </p:txBody>
          </p:sp>
        </p:grpSp>
        <p:sp>
          <p:nvSpPr>
            <p:cNvPr id="18" name="Freeform 6">
              <a:extLst>
                <a:ext uri="{FF2B5EF4-FFF2-40B4-BE49-F238E27FC236}">
                  <a16:creationId xmlns:a16="http://schemas.microsoft.com/office/drawing/2014/main" id="{E26DD0C4-6686-AF47-8437-ACB53BA903AC}"/>
                </a:ext>
              </a:extLst>
            </p:cNvPr>
            <p:cNvSpPr>
              <a:spLocks noChangeAspect="1" noEditPoints="1"/>
            </p:cNvSpPr>
            <p:nvPr userDrawn="1"/>
          </p:nvSpPr>
          <p:spPr bwMode="auto">
            <a:xfrm>
              <a:off x="2502974" y="2117165"/>
              <a:ext cx="1621351" cy="86134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grpSp>
      <p:sp>
        <p:nvSpPr>
          <p:cNvPr id="4" name="Text Placeholder 3">
            <a:extLst>
              <a:ext uri="{FF2B5EF4-FFF2-40B4-BE49-F238E27FC236}">
                <a16:creationId xmlns:a16="http://schemas.microsoft.com/office/drawing/2014/main" id="{C6DC9EFB-77A4-054B-A73E-9D7FDD54DA07}"/>
              </a:ext>
            </a:extLst>
          </p:cNvPr>
          <p:cNvSpPr>
            <a:spLocks noGrp="1"/>
          </p:cNvSpPr>
          <p:nvPr>
            <p:ph type="body" sz="quarter" idx="10" hasCustomPrompt="1"/>
          </p:nvPr>
        </p:nvSpPr>
        <p:spPr>
          <a:xfrm>
            <a:off x="2811004" y="352175"/>
            <a:ext cx="3521995" cy="498475"/>
          </a:xfrm>
        </p:spPr>
        <p:txBody>
          <a:bodyPr/>
          <a:lstStyle>
            <a:lvl1pPr marL="0" indent="0" algn="ctr">
              <a:buFontTx/>
              <a:buNone/>
              <a:defRPr sz="1600">
                <a:solidFill>
                  <a:schemeClr val="bg1">
                    <a:lumMod val="75000"/>
                  </a:schemeClr>
                </a:solidFill>
              </a:defRPr>
            </a:lvl1pPr>
            <a:lvl2pPr marL="171446" indent="0">
              <a:buFontTx/>
              <a:buNone/>
              <a:defRPr>
                <a:solidFill>
                  <a:schemeClr val="bg1">
                    <a:lumMod val="75000"/>
                  </a:schemeClr>
                </a:solidFill>
              </a:defRPr>
            </a:lvl2pPr>
            <a:lvl3pPr marL="400040" indent="0">
              <a:buFontTx/>
              <a:buNone/>
              <a:defRPr>
                <a:solidFill>
                  <a:schemeClr val="bg1">
                    <a:lumMod val="75000"/>
                  </a:schemeClr>
                </a:solidFill>
              </a:defRPr>
            </a:lvl3pPr>
            <a:lvl4pPr marL="571486" indent="0">
              <a:buFontTx/>
              <a:buNone/>
              <a:defRPr>
                <a:solidFill>
                  <a:schemeClr val="bg1">
                    <a:lumMod val="75000"/>
                  </a:schemeClr>
                </a:solidFill>
              </a:defRPr>
            </a:lvl4pPr>
            <a:lvl5pPr marL="687371" indent="0">
              <a:buFontTx/>
              <a:buNone/>
              <a:defRPr>
                <a:solidFill>
                  <a:schemeClr val="bg1">
                    <a:lumMod val="75000"/>
                  </a:schemeClr>
                </a:solidFill>
              </a:defRPr>
            </a:lvl5pPr>
          </a:lstStyle>
          <a:p>
            <a:pPr lvl="0"/>
            <a:r>
              <a:rPr lang="en-US"/>
              <a:t>FOR PRINT ONLY</a:t>
            </a:r>
          </a:p>
        </p:txBody>
      </p:sp>
    </p:spTree>
    <p:extLst>
      <p:ext uri="{BB962C8B-B14F-4D97-AF65-F5344CB8AC3E}">
        <p14:creationId xmlns:p14="http://schemas.microsoft.com/office/powerpoint/2010/main" val="1240883399"/>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90113489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425408569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0469306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3832318741"/>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114763898"/>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218880843"/>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278406095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669916151"/>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97802752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846344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19698778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148128663"/>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461138294"/>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1097963"/>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3830013"/>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7" y="1223661"/>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5"/>
            <a:ext cx="2596896" cy="357657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941119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16021977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859317606"/>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182543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993192753"/>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028825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034505192"/>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191059306"/>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265700620"/>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105276132"/>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4797678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747425096"/>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203389394"/>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806960691"/>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87835686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8977-0C03-453D-BCF2-D4BE13749D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434655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White Title Only">
    <p:bg>
      <p:bgPr>
        <a:solidFill>
          <a:schemeClr val="tx2"/>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7130882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46818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576040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195855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Bullet">
  <p:cSld name="Bullet">
    <p:spTree>
      <p:nvGrpSpPr>
        <p:cNvPr id="1" name="Shape 55"/>
        <p:cNvGrpSpPr/>
        <p:nvPr/>
      </p:nvGrpSpPr>
      <p:grpSpPr>
        <a:xfrm>
          <a:off x="0" y="0"/>
          <a:ext cx="0" cy="0"/>
          <a:chOff x="0" y="0"/>
          <a:chExt cx="0" cy="0"/>
        </a:xfrm>
      </p:grpSpPr>
      <p:sp>
        <p:nvSpPr>
          <p:cNvPr id="56" name="Google Shape;56;p9"/>
          <p:cNvSpPr txBox="1">
            <a:spLocks noGrp="1"/>
          </p:cNvSpPr>
          <p:nvPr>
            <p:ph type="title"/>
          </p:nvPr>
        </p:nvSpPr>
        <p:spPr>
          <a:xfrm>
            <a:off x="443997" y="192024"/>
            <a:ext cx="8257032" cy="731520"/>
          </a:xfrm>
          <a:prstGeom prst="rect">
            <a:avLst/>
          </a:prstGeom>
          <a:noFill/>
          <a:ln>
            <a:noFill/>
          </a:ln>
        </p:spPr>
        <p:txBody>
          <a:bodyPr spcFirstLastPara="1" wrap="square" lIns="91400" tIns="45700" rIns="91400" bIns="45700" anchor="b" anchorCtr="0">
            <a:noAutofit/>
          </a:bodyPr>
          <a:lstStyle>
            <a:lvl1pPr lvl="0" algn="l">
              <a:lnSpc>
                <a:spcPct val="80000"/>
              </a:lnSpc>
              <a:spcBef>
                <a:spcPts val="0"/>
              </a:spcBef>
              <a:spcAft>
                <a:spcPts val="0"/>
              </a:spcAft>
              <a:buSzPts val="1400"/>
              <a:buNone/>
              <a:defRPr sz="2800" b="0" i="0" u="none">
                <a:solidFill>
                  <a:schemeClr val="dk2"/>
                </a:solidFill>
                <a:latin typeface="Arial"/>
                <a:ea typeface="Arial"/>
                <a:cs typeface="Arial"/>
                <a:sym typeface="Arial"/>
              </a:defRPr>
            </a:lvl1pPr>
            <a:lvl2pPr lvl="1" algn="l">
              <a:lnSpc>
                <a:spcPct val="80000"/>
              </a:lnSpc>
              <a:spcBef>
                <a:spcPts val="0"/>
              </a:spcBef>
              <a:spcAft>
                <a:spcPts val="0"/>
              </a:spcAft>
              <a:buSzPts val="1400"/>
              <a:buNone/>
              <a:defRPr/>
            </a:lvl2pPr>
            <a:lvl3pPr lvl="2" algn="l">
              <a:lnSpc>
                <a:spcPct val="80000"/>
              </a:lnSpc>
              <a:spcBef>
                <a:spcPts val="0"/>
              </a:spcBef>
              <a:spcAft>
                <a:spcPts val="0"/>
              </a:spcAft>
              <a:buSzPts val="1400"/>
              <a:buNone/>
              <a:defRPr/>
            </a:lvl3pPr>
            <a:lvl4pPr lvl="3" algn="l">
              <a:lnSpc>
                <a:spcPct val="80000"/>
              </a:lnSpc>
              <a:spcBef>
                <a:spcPts val="0"/>
              </a:spcBef>
              <a:spcAft>
                <a:spcPts val="0"/>
              </a:spcAft>
              <a:buSzPts val="1400"/>
              <a:buNone/>
              <a:defRPr/>
            </a:lvl4pPr>
            <a:lvl5pPr lvl="4" algn="l">
              <a:lnSpc>
                <a:spcPct val="80000"/>
              </a:lnSpc>
              <a:spcBef>
                <a:spcPts val="0"/>
              </a:spcBef>
              <a:spcAft>
                <a:spcPts val="0"/>
              </a:spcAft>
              <a:buSzPts val="1400"/>
              <a:buNone/>
              <a:defRPr/>
            </a:lvl5pPr>
            <a:lvl6pPr lvl="5" algn="l">
              <a:lnSpc>
                <a:spcPct val="80000"/>
              </a:lnSpc>
              <a:spcBef>
                <a:spcPts val="0"/>
              </a:spcBef>
              <a:spcAft>
                <a:spcPts val="0"/>
              </a:spcAft>
              <a:buSzPts val="1400"/>
              <a:buNone/>
              <a:defRPr/>
            </a:lvl6pPr>
            <a:lvl7pPr lvl="6" algn="l">
              <a:lnSpc>
                <a:spcPct val="80000"/>
              </a:lnSpc>
              <a:spcBef>
                <a:spcPts val="0"/>
              </a:spcBef>
              <a:spcAft>
                <a:spcPts val="0"/>
              </a:spcAft>
              <a:buSzPts val="1400"/>
              <a:buNone/>
              <a:defRPr/>
            </a:lvl7pPr>
            <a:lvl8pPr lvl="7" algn="l">
              <a:lnSpc>
                <a:spcPct val="80000"/>
              </a:lnSpc>
              <a:spcBef>
                <a:spcPts val="0"/>
              </a:spcBef>
              <a:spcAft>
                <a:spcPts val="0"/>
              </a:spcAft>
              <a:buSzPts val="1400"/>
              <a:buNone/>
              <a:defRPr/>
            </a:lvl8pPr>
            <a:lvl9pPr lvl="8" algn="l">
              <a:lnSpc>
                <a:spcPct val="80000"/>
              </a:lnSpc>
              <a:spcBef>
                <a:spcPts val="0"/>
              </a:spcBef>
              <a:spcAft>
                <a:spcPts val="0"/>
              </a:spcAft>
              <a:buSzPts val="1400"/>
              <a:buNone/>
              <a:defRPr/>
            </a:lvl9pPr>
          </a:lstStyle>
          <a:p>
            <a:endParaRPr/>
          </a:p>
        </p:txBody>
      </p:sp>
      <p:sp>
        <p:nvSpPr>
          <p:cNvPr id="57" name="Google Shape;57;p9"/>
          <p:cNvSpPr txBox="1">
            <a:spLocks noGrp="1"/>
          </p:cNvSpPr>
          <p:nvPr>
            <p:ph type="body" idx="1"/>
          </p:nvPr>
        </p:nvSpPr>
        <p:spPr>
          <a:xfrm>
            <a:off x="443997" y="1197864"/>
            <a:ext cx="8257032" cy="3392424"/>
          </a:xfrm>
          <a:prstGeom prst="rect">
            <a:avLst/>
          </a:prstGeom>
          <a:noFill/>
          <a:ln>
            <a:noFill/>
          </a:ln>
        </p:spPr>
        <p:txBody>
          <a:bodyPr spcFirstLastPara="1" wrap="square" lIns="91425" tIns="45700" rIns="91425" bIns="45700" anchor="t" anchorCtr="0">
            <a:noAutofit/>
          </a:bodyPr>
          <a:lstStyle>
            <a:lvl1pPr marL="457200" marR="0" lvl="0" indent="-330200" algn="l" rtl="0">
              <a:lnSpc>
                <a:spcPct val="95000"/>
              </a:lnSpc>
              <a:spcBef>
                <a:spcPts val="1101"/>
              </a:spcBef>
              <a:spcAft>
                <a:spcPts val="0"/>
              </a:spcAft>
              <a:buClr>
                <a:schemeClr val="dk1"/>
              </a:buClr>
              <a:buSzPts val="1600"/>
              <a:buFont typeface="Arial"/>
              <a:buChar char="•"/>
              <a:defRPr sz="2000" b="0" i="0" u="none" strike="noStrike" cap="none">
                <a:solidFill>
                  <a:schemeClr val="dk1"/>
                </a:solidFill>
                <a:latin typeface="Arial"/>
                <a:ea typeface="Arial"/>
                <a:cs typeface="Arial"/>
                <a:sym typeface="Arial"/>
              </a:defRPr>
            </a:lvl1pPr>
            <a:lvl2pPr marL="914400" marR="0" lvl="1" indent="-320040" algn="l" rtl="0">
              <a:lnSpc>
                <a:spcPct val="95000"/>
              </a:lnSpc>
              <a:spcBef>
                <a:spcPts val="600"/>
              </a:spcBef>
              <a:spcAft>
                <a:spcPts val="0"/>
              </a:spcAft>
              <a:buClr>
                <a:schemeClr val="dk1"/>
              </a:buClr>
              <a:buSzPts val="1440"/>
              <a:buFont typeface="Arial"/>
              <a:buChar char="•"/>
              <a:defRPr sz="1800" b="0" i="0" u="none" strike="noStrike" cap="none">
                <a:solidFill>
                  <a:schemeClr val="dk1"/>
                </a:solidFill>
                <a:latin typeface="Arial"/>
                <a:ea typeface="Arial"/>
                <a:cs typeface="Arial"/>
                <a:sym typeface="Arial"/>
              </a:defRPr>
            </a:lvl2pPr>
            <a:lvl3pPr marL="1371600" marR="0" lvl="2" indent="-309880" algn="l" rtl="0">
              <a:lnSpc>
                <a:spcPct val="95000"/>
              </a:lnSpc>
              <a:spcBef>
                <a:spcPts val="600"/>
              </a:spcBef>
              <a:spcAft>
                <a:spcPts val="0"/>
              </a:spcAft>
              <a:buClr>
                <a:schemeClr val="dk1"/>
              </a:buClr>
              <a:buSzPts val="1280"/>
              <a:buFont typeface="Arial"/>
              <a:buChar char="•"/>
              <a:defRPr sz="1600" b="0" i="0" u="none" strike="noStrike" cap="none">
                <a:solidFill>
                  <a:schemeClr val="dk1"/>
                </a:solidFill>
                <a:latin typeface="Arial"/>
                <a:ea typeface="Arial"/>
                <a:cs typeface="Arial"/>
                <a:sym typeface="Arial"/>
              </a:defRPr>
            </a:lvl3pPr>
            <a:lvl4pPr marL="1828800" marR="0" lvl="3" indent="-320039" algn="l" rtl="0">
              <a:lnSpc>
                <a:spcPct val="95000"/>
              </a:lnSpc>
              <a:spcBef>
                <a:spcPts val="600"/>
              </a:spcBef>
              <a:spcAft>
                <a:spcPts val="0"/>
              </a:spcAft>
              <a:buClr>
                <a:schemeClr val="dk1"/>
              </a:buClr>
              <a:buSzPts val="1440"/>
              <a:buFont typeface="Arial"/>
              <a:buChar char="•"/>
              <a:defRPr sz="1800" b="0" i="0" u="none" strike="noStrike" cap="none">
                <a:solidFill>
                  <a:schemeClr val="dk1"/>
                </a:solidFill>
                <a:latin typeface="Arial"/>
                <a:ea typeface="Arial"/>
                <a:cs typeface="Arial"/>
                <a:sym typeface="Arial"/>
              </a:defRPr>
            </a:lvl4pPr>
            <a:lvl5pPr marL="2286000" marR="0" lvl="4" indent="-298450" algn="l" rtl="0">
              <a:lnSpc>
                <a:spcPct val="95000"/>
              </a:lnSpc>
              <a:spcBef>
                <a:spcPts val="625"/>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285750" algn="l" rtl="0">
              <a:spcBef>
                <a:spcPts val="600"/>
              </a:spcBef>
              <a:spcAft>
                <a:spcPts val="0"/>
              </a:spcAft>
              <a:buClr>
                <a:schemeClr val="dk1"/>
              </a:buClr>
              <a:buSzPts val="900"/>
              <a:buFont typeface="Arial"/>
              <a:buChar char="•"/>
              <a:defRPr sz="900" b="0" i="0" u="none" strike="noStrike" cap="none">
                <a:solidFill>
                  <a:schemeClr val="dk1"/>
                </a:solidFill>
                <a:latin typeface="Arial"/>
                <a:ea typeface="Arial"/>
                <a:cs typeface="Arial"/>
                <a:sym typeface="Arial"/>
              </a:defRPr>
            </a:lvl6pPr>
            <a:lvl7pPr marL="3200400" marR="0" lvl="6" indent="-279400" algn="l" rtl="0">
              <a:spcBef>
                <a:spcPts val="600"/>
              </a:spcBef>
              <a:spcAft>
                <a:spcPts val="0"/>
              </a:spcAft>
              <a:buClr>
                <a:schemeClr val="dk1"/>
              </a:buClr>
              <a:buSzPts val="800"/>
              <a:buFont typeface="Arial"/>
              <a:buChar char="•"/>
              <a:defRPr sz="800" b="0" i="0" u="none" strike="noStrike" cap="none">
                <a:solidFill>
                  <a:schemeClr val="dk1"/>
                </a:solidFill>
                <a:latin typeface="Arial"/>
                <a:ea typeface="Arial"/>
                <a:cs typeface="Arial"/>
                <a:sym typeface="Arial"/>
              </a:defRPr>
            </a:lvl7pPr>
            <a:lvl8pPr marL="3657600" marR="0" lvl="7" indent="-228600" algn="l" rtl="0">
              <a:spcBef>
                <a:spcPts val="300"/>
              </a:spcBef>
              <a:spcAft>
                <a:spcPts val="0"/>
              </a:spcAft>
              <a:buClr>
                <a:schemeClr val="dk1"/>
              </a:buClr>
              <a:buSzPts val="1500"/>
              <a:buFont typeface="Arial"/>
              <a:buNone/>
              <a:defRPr sz="1500" b="0" i="0" u="none" strike="noStrike" cap="none">
                <a:solidFill>
                  <a:schemeClr val="dk1"/>
                </a:solidFill>
                <a:latin typeface="Arial"/>
                <a:ea typeface="Arial"/>
                <a:cs typeface="Arial"/>
                <a:sym typeface="Arial"/>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
        <p:nvSpPr>
          <p:cNvPr id="58" name="Google Shape;58;p9"/>
          <p:cNvSpPr txBox="1">
            <a:spLocks noGrp="1"/>
          </p:cNvSpPr>
          <p:nvPr>
            <p:ph type="sldNum" idx="12"/>
          </p:nvPr>
        </p:nvSpPr>
        <p:spPr>
          <a:xfrm>
            <a:off x="8370150" y="4880892"/>
            <a:ext cx="359666" cy="274637"/>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600">
                <a:solidFill>
                  <a:schemeClr val="dk1"/>
                </a:solidFill>
                <a:latin typeface="Arial"/>
                <a:ea typeface="Arial"/>
                <a:cs typeface="Arial"/>
                <a:sym typeface="Arial"/>
              </a:defRPr>
            </a:lvl1pPr>
            <a:lvl2pPr marL="0" marR="0" lvl="1" indent="0" algn="r" rtl="0">
              <a:spcBef>
                <a:spcPts val="0"/>
              </a:spcBef>
              <a:spcAft>
                <a:spcPts val="0"/>
              </a:spcAft>
              <a:buNone/>
              <a:defRPr sz="600">
                <a:solidFill>
                  <a:schemeClr val="dk1"/>
                </a:solidFill>
                <a:latin typeface="Arial"/>
                <a:ea typeface="Arial"/>
                <a:cs typeface="Arial"/>
                <a:sym typeface="Arial"/>
              </a:defRPr>
            </a:lvl2pPr>
            <a:lvl3pPr marL="0" marR="0" lvl="2" indent="0" algn="r" rtl="0">
              <a:spcBef>
                <a:spcPts val="0"/>
              </a:spcBef>
              <a:spcAft>
                <a:spcPts val="0"/>
              </a:spcAft>
              <a:buNone/>
              <a:defRPr sz="600">
                <a:solidFill>
                  <a:schemeClr val="dk1"/>
                </a:solidFill>
                <a:latin typeface="Arial"/>
                <a:ea typeface="Arial"/>
                <a:cs typeface="Arial"/>
                <a:sym typeface="Arial"/>
              </a:defRPr>
            </a:lvl3pPr>
            <a:lvl4pPr marL="0" marR="0" lvl="3" indent="0" algn="r" rtl="0">
              <a:spcBef>
                <a:spcPts val="0"/>
              </a:spcBef>
              <a:spcAft>
                <a:spcPts val="0"/>
              </a:spcAft>
              <a:buNone/>
              <a:defRPr sz="600">
                <a:solidFill>
                  <a:schemeClr val="dk1"/>
                </a:solidFill>
                <a:latin typeface="Arial"/>
                <a:ea typeface="Arial"/>
                <a:cs typeface="Arial"/>
                <a:sym typeface="Arial"/>
              </a:defRPr>
            </a:lvl4pPr>
            <a:lvl5pPr marL="0" marR="0" lvl="4" indent="0" algn="r" rtl="0">
              <a:spcBef>
                <a:spcPts val="0"/>
              </a:spcBef>
              <a:spcAft>
                <a:spcPts val="0"/>
              </a:spcAft>
              <a:buNone/>
              <a:defRPr sz="600">
                <a:solidFill>
                  <a:schemeClr val="dk1"/>
                </a:solidFill>
                <a:latin typeface="Arial"/>
                <a:ea typeface="Arial"/>
                <a:cs typeface="Arial"/>
                <a:sym typeface="Arial"/>
              </a:defRPr>
            </a:lvl5pPr>
            <a:lvl6pPr marL="0" marR="0" lvl="5" indent="0" algn="r" rtl="0">
              <a:spcBef>
                <a:spcPts val="0"/>
              </a:spcBef>
              <a:spcAft>
                <a:spcPts val="0"/>
              </a:spcAft>
              <a:buNone/>
              <a:defRPr sz="600">
                <a:solidFill>
                  <a:schemeClr val="dk1"/>
                </a:solidFill>
                <a:latin typeface="Arial"/>
                <a:ea typeface="Arial"/>
                <a:cs typeface="Arial"/>
                <a:sym typeface="Arial"/>
              </a:defRPr>
            </a:lvl6pPr>
            <a:lvl7pPr marL="0" marR="0" lvl="6" indent="0" algn="r" rtl="0">
              <a:spcBef>
                <a:spcPts val="0"/>
              </a:spcBef>
              <a:spcAft>
                <a:spcPts val="0"/>
              </a:spcAft>
              <a:buNone/>
              <a:defRPr sz="600">
                <a:solidFill>
                  <a:schemeClr val="dk1"/>
                </a:solidFill>
                <a:latin typeface="Arial"/>
                <a:ea typeface="Arial"/>
                <a:cs typeface="Arial"/>
                <a:sym typeface="Arial"/>
              </a:defRPr>
            </a:lvl7pPr>
            <a:lvl8pPr marL="0" marR="0" lvl="7" indent="0" algn="r" rtl="0">
              <a:spcBef>
                <a:spcPts val="0"/>
              </a:spcBef>
              <a:spcAft>
                <a:spcPts val="0"/>
              </a:spcAft>
              <a:buNone/>
              <a:defRPr sz="600">
                <a:solidFill>
                  <a:schemeClr val="dk1"/>
                </a:solidFill>
                <a:latin typeface="Arial"/>
                <a:ea typeface="Arial"/>
                <a:cs typeface="Arial"/>
                <a:sym typeface="Arial"/>
              </a:defRPr>
            </a:lvl8pPr>
            <a:lvl9pPr marL="0" marR="0" lvl="8" indent="0" algn="r" rtl="0">
              <a:spcBef>
                <a:spcPts val="0"/>
              </a:spcBef>
              <a:spcAft>
                <a:spcPts val="0"/>
              </a:spcAft>
              <a:buNone/>
              <a:defRPr sz="600">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59" name="Google Shape;59;p9"/>
          <p:cNvSpPr/>
          <p:nvPr/>
        </p:nvSpPr>
        <p:spPr>
          <a:xfrm>
            <a:off x="5849925" y="4946904"/>
            <a:ext cx="2544460" cy="154518"/>
          </a:xfrm>
          <a:prstGeom prst="rect">
            <a:avLst/>
          </a:prstGeom>
          <a:noFill/>
          <a:ln>
            <a:noFill/>
          </a:ln>
        </p:spPr>
        <p:txBody>
          <a:bodyPr spcFirstLastPara="1" wrap="square" lIns="61575" tIns="30775" rIns="61575" bIns="30775" anchor="b" anchorCtr="0">
            <a:noAutofit/>
          </a:bodyPr>
          <a:lstStyle/>
          <a:p>
            <a:pPr marL="0" marR="0" lvl="0" indent="0" algn="r" rtl="0">
              <a:lnSpc>
                <a:spcPct val="100000"/>
              </a:lnSpc>
              <a:spcBef>
                <a:spcPts val="0"/>
              </a:spcBef>
              <a:spcAft>
                <a:spcPts val="0"/>
              </a:spcAft>
              <a:buClr>
                <a:schemeClr val="dk1"/>
              </a:buClr>
              <a:buSzPts val="600"/>
              <a:buFont typeface="Arial"/>
              <a:buNone/>
            </a:pPr>
            <a:r>
              <a:rPr lang="en-US" sz="600" b="0" i="0" u="none" strike="noStrike" cap="none">
                <a:solidFill>
                  <a:schemeClr val="dk1"/>
                </a:solidFill>
                <a:latin typeface="Arial"/>
                <a:ea typeface="Arial"/>
                <a:cs typeface="Arial"/>
                <a:sym typeface="Arial"/>
              </a:rPr>
              <a:t>© 2020  Cisco and/or its affiliates. All rights reserved.   Cisco Public</a:t>
            </a:r>
            <a:endParaRPr/>
          </a:p>
        </p:txBody>
      </p:sp>
      <p:sp>
        <p:nvSpPr>
          <p:cNvPr id="60" name="Google Shape;60;p9"/>
          <p:cNvSpPr txBox="1"/>
          <p:nvPr/>
        </p:nvSpPr>
        <p:spPr>
          <a:xfrm>
            <a:off x="4223186" y="4909949"/>
            <a:ext cx="697628" cy="215444"/>
          </a:xfrm>
          <a:prstGeom prst="rect">
            <a:avLst/>
          </a:prstGeom>
          <a:noFill/>
          <a:ln>
            <a:noFill/>
          </a:ln>
        </p:spPr>
        <p:txBody>
          <a:bodyPr spcFirstLastPara="1" wrap="square" lIns="91425" tIns="45700" rIns="91425" bIns="45700" anchor="b" anchorCtr="0">
            <a:noAutofit/>
          </a:bodyPr>
          <a:lstStyle/>
          <a:p>
            <a:pPr marL="0" marR="0" lvl="0" indent="0" algn="ctr" rtl="0">
              <a:spcBef>
                <a:spcPts val="0"/>
              </a:spcBef>
              <a:spcAft>
                <a:spcPts val="0"/>
              </a:spcAft>
              <a:buNone/>
            </a:pPr>
            <a:r>
              <a:rPr lang="en-US" sz="800">
                <a:solidFill>
                  <a:schemeClr val="dk1"/>
                </a:solidFill>
                <a:latin typeface="Arial"/>
                <a:ea typeface="Arial"/>
                <a:cs typeface="Arial"/>
                <a:sym typeface="Arial"/>
              </a:rPr>
              <a:t>#CiscoLive</a:t>
            </a:r>
            <a:endParaRPr sz="800">
              <a:solidFill>
                <a:schemeClr val="dk1"/>
              </a:solidFill>
              <a:latin typeface="Arial"/>
              <a:ea typeface="Arial"/>
              <a:cs typeface="Arial"/>
              <a:sym typeface="Arial"/>
            </a:endParaRPr>
          </a:p>
        </p:txBody>
      </p:sp>
      <p:pic>
        <p:nvPicPr>
          <p:cNvPr id="61" name="Google Shape;61;p9" descr="A picture containing clock&#10;&#10;Description automatically generated"/>
          <p:cNvPicPr preferRelativeResize="0"/>
          <p:nvPr/>
        </p:nvPicPr>
        <p:blipFill rotWithShape="1">
          <a:blip r:embed="rId2">
            <a:alphaModFix/>
          </a:blip>
          <a:srcRect/>
          <a:stretch/>
        </p:blipFill>
        <p:spPr>
          <a:xfrm>
            <a:off x="536418" y="4785454"/>
            <a:ext cx="1003830" cy="274320"/>
          </a:xfrm>
          <a:prstGeom prst="rect">
            <a:avLst/>
          </a:prstGeom>
          <a:noFill/>
          <a:ln>
            <a:noFill/>
          </a:ln>
        </p:spPr>
      </p:pic>
      <p:sp>
        <p:nvSpPr>
          <p:cNvPr id="62" name="Google Shape;62;p9"/>
          <p:cNvSpPr txBox="1">
            <a:spLocks noGrp="1"/>
          </p:cNvSpPr>
          <p:nvPr>
            <p:ph type="ftr" idx="11"/>
          </p:nvPr>
        </p:nvSpPr>
        <p:spPr>
          <a:xfrm>
            <a:off x="4935525" y="4946904"/>
            <a:ext cx="914400" cy="154518"/>
          </a:xfrm>
          <a:prstGeom prst="rect">
            <a:avLst/>
          </a:prstGeom>
          <a:noFill/>
          <a:ln>
            <a:noFill/>
          </a:ln>
        </p:spPr>
        <p:txBody>
          <a:bodyPr spcFirstLastPara="1" wrap="square" lIns="61575" tIns="30775" rIns="61575" bIns="30775" anchor="b" anchorCtr="0">
            <a:noAutofit/>
          </a:bodyPr>
          <a:lstStyle>
            <a:lvl1pPr marR="0" lvl="0" algn="l" rtl="0">
              <a:spcBef>
                <a:spcPts val="0"/>
              </a:spcBef>
              <a:spcAft>
                <a:spcPts val="0"/>
              </a:spcAft>
              <a:buSzPts val="1400"/>
              <a:buNone/>
              <a:defRPr sz="6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830033990"/>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hasCustomPrompt="1"/>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1"/>
                </a:solidFill>
              </a:defRPr>
            </a:lvl1pPr>
          </a:lstStyle>
          <a:p>
            <a:pPr lvl="0"/>
            <a:r>
              <a:rPr lang="en-US"/>
              <a:t>Title Goes Here (28pt)</a:t>
            </a:r>
            <a:endParaRPr lang="en-GB"/>
          </a:p>
        </p:txBody>
      </p:sp>
    </p:spTree>
    <p:extLst>
      <p:ext uri="{BB962C8B-B14F-4D97-AF65-F5344CB8AC3E}">
        <p14:creationId xmlns:p14="http://schemas.microsoft.com/office/powerpoint/2010/main" val="83938244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White 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chemeClr val="tx1"/>
                </a:solidFill>
              </a:defRPr>
            </a:lvl1pPr>
          </a:lstStyle>
          <a:p>
            <a:pPr lvl="0"/>
            <a:r>
              <a:rPr lang="en-GB"/>
              <a:t>Click to edit Master title style</a:t>
            </a:r>
          </a:p>
        </p:txBody>
      </p:sp>
    </p:spTree>
    <p:extLst>
      <p:ext uri="{BB962C8B-B14F-4D97-AF65-F5344CB8AC3E}">
        <p14:creationId xmlns:p14="http://schemas.microsoft.com/office/powerpoint/2010/main" val="15213101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White Title Only">
    <p:bg>
      <p:bgPr>
        <a:solidFill>
          <a:schemeClr val="tx1"/>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33400" y="276344"/>
            <a:ext cx="807720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lvl1pPr>
              <a:lnSpc>
                <a:spcPct val="100000"/>
              </a:lnSpc>
              <a:defRPr sz="2800">
                <a:solidFill>
                  <a:srgbClr val="0D274D"/>
                </a:solidFill>
              </a:defRPr>
            </a:lvl1pPr>
          </a:lstStyle>
          <a:p>
            <a:pPr lvl="0"/>
            <a:r>
              <a:rPr lang="en-GB"/>
              <a:t>Click to edit Master title style</a:t>
            </a:r>
          </a:p>
        </p:txBody>
      </p:sp>
      <p:sp>
        <p:nvSpPr>
          <p:cNvPr id="4" name="Rectangle 4">
            <a:extLst>
              <a:ext uri="{FF2B5EF4-FFF2-40B4-BE49-F238E27FC236}">
                <a16:creationId xmlns:a16="http://schemas.microsoft.com/office/drawing/2014/main" id="{CB8A4899-B49B-4BCC-BE2A-2735407D871B}"/>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975310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30904643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9969376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0057297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7291490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8873775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8672099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4" y="3901528"/>
            <a:ext cx="8139112" cy="544829"/>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tx2"/>
                </a:solidFill>
              </a:defRPr>
            </a:lvl1pPr>
          </a:lstStyle>
          <a:p>
            <a:pPr lvl="0"/>
            <a:r>
              <a:rPr lang="en-US"/>
              <a:t>Click to edit Master text styles</a:t>
            </a:r>
          </a:p>
        </p:txBody>
      </p:sp>
    </p:spTree>
    <p:extLst>
      <p:ext uri="{BB962C8B-B14F-4D97-AF65-F5344CB8AC3E}">
        <p14:creationId xmlns:p14="http://schemas.microsoft.com/office/powerpoint/2010/main" val="10450958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30103568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310069086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9042887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mmon 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8711666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14012673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9547981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54730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rd lef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3313607" y="1062756"/>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a:off x="528638" y="924561"/>
            <a:ext cx="2595562" cy="355853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10" name="Title 9">
            <a:extLst>
              <a:ext uri="{FF2B5EF4-FFF2-40B4-BE49-F238E27FC236}">
                <a16:creationId xmlns:a16="http://schemas.microsoft.com/office/drawing/2014/main" id="{F3128C83-280B-4B9B-A92D-69E153F0F73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2559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901170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rd Righ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E855A94-C45F-4D38-A9A2-E59AEB5F5F5A}"/>
              </a:ext>
            </a:extLst>
          </p:cNvPr>
          <p:cNvGrpSpPr/>
          <p:nvPr userDrawn="1"/>
        </p:nvGrpSpPr>
        <p:grpSpPr>
          <a:xfrm>
            <a:off x="5721527" y="1223661"/>
            <a:ext cx="102815" cy="3282147"/>
            <a:chOff x="3271025" y="1033101"/>
            <a:chExt cx="81775" cy="3339673"/>
          </a:xfrm>
        </p:grpSpPr>
        <p:cxnSp>
          <p:nvCxnSpPr>
            <p:cNvPr id="4" name="Straight Connector 3">
              <a:extLst>
                <a:ext uri="{FF2B5EF4-FFF2-40B4-BE49-F238E27FC236}">
                  <a16:creationId xmlns:a16="http://schemas.microsoft.com/office/drawing/2014/main" id="{7D00FC2D-87A1-475F-A318-0E29A0794CD6}"/>
                </a:ext>
              </a:extLst>
            </p:cNvPr>
            <p:cNvCxnSpPr>
              <a:cxnSpLocks/>
            </p:cNvCxnSpPr>
            <p:nvPr/>
          </p:nvCxnSpPr>
          <p:spPr>
            <a:xfrm>
              <a:off x="3271025" y="1033101"/>
              <a:ext cx="0" cy="2869341"/>
            </a:xfrm>
            <a:prstGeom prst="line">
              <a:avLst/>
            </a:prstGeom>
            <a:noFill/>
            <a:ln w="9525" cap="flat" cmpd="sng" algn="ctr">
              <a:solidFill>
                <a:srgbClr val="B4E2F6"/>
              </a:solidFill>
              <a:prstDash val="solid"/>
              <a:miter lim="800000"/>
            </a:ln>
            <a:effectLst/>
          </p:spPr>
        </p:cxnSp>
        <p:cxnSp>
          <p:nvCxnSpPr>
            <p:cNvPr id="5" name="Straight Connector 4">
              <a:extLst>
                <a:ext uri="{FF2B5EF4-FFF2-40B4-BE49-F238E27FC236}">
                  <a16:creationId xmlns:a16="http://schemas.microsoft.com/office/drawing/2014/main" id="{D8A719A9-793B-4743-A751-3553CB8F043E}"/>
                </a:ext>
              </a:extLst>
            </p:cNvPr>
            <p:cNvCxnSpPr>
              <a:cxnSpLocks/>
            </p:cNvCxnSpPr>
            <p:nvPr/>
          </p:nvCxnSpPr>
          <p:spPr>
            <a:xfrm>
              <a:off x="3352800" y="1503433"/>
              <a:ext cx="0" cy="2869341"/>
            </a:xfrm>
            <a:prstGeom prst="line">
              <a:avLst/>
            </a:prstGeom>
            <a:noFill/>
            <a:ln w="9525" cap="flat" cmpd="sng" algn="ctr">
              <a:solidFill>
                <a:srgbClr val="9E9EA2"/>
              </a:solidFill>
              <a:prstDash val="solid"/>
              <a:miter lim="800000"/>
            </a:ln>
            <a:effectLst/>
          </p:spPr>
        </p:cxnSp>
      </p:grpSp>
      <p:sp>
        <p:nvSpPr>
          <p:cNvPr id="6" name="Text Placeholder 5">
            <a:extLst>
              <a:ext uri="{FF2B5EF4-FFF2-40B4-BE49-F238E27FC236}">
                <a16:creationId xmlns:a16="http://schemas.microsoft.com/office/drawing/2014/main" id="{E7BA57FE-5251-4CE4-8FB9-BCC56B667765}"/>
              </a:ext>
            </a:extLst>
          </p:cNvPr>
          <p:cNvSpPr>
            <a:spLocks noGrp="1"/>
          </p:cNvSpPr>
          <p:nvPr>
            <p:ph type="body" sz="quarter" idx="10" hasCustomPrompt="1"/>
          </p:nvPr>
        </p:nvSpPr>
        <p:spPr>
          <a:xfrm flipH="1">
            <a:off x="6014720" y="1076445"/>
            <a:ext cx="2596896" cy="3576578"/>
          </a:xfrm>
          <a:prstGeom prst="rect">
            <a:avLst/>
          </a:prstGeom>
        </p:spPr>
        <p:txBody>
          <a:bodyPr lIns="0" rIns="0" anchor="ctr"/>
          <a:lstStyle>
            <a:lvl1pPr marL="0" indent="0">
              <a:buNone/>
              <a:defRPr sz="2800">
                <a:solidFill>
                  <a:schemeClr val="bg1"/>
                </a:solidFill>
              </a:defRPr>
            </a:lvl1pPr>
            <a:lvl2pPr marL="142872" indent="0">
              <a:buNone/>
              <a:defRPr/>
            </a:lvl2pPr>
            <a:lvl3pPr marL="261930" indent="0">
              <a:buNone/>
              <a:defRPr/>
            </a:lvl3pPr>
            <a:lvl4pPr marL="333366" indent="0">
              <a:buNone/>
              <a:defRPr/>
            </a:lvl4pPr>
            <a:lvl5pPr marL="404802" indent="0">
              <a:buNone/>
              <a:defRPr/>
            </a:lvl5pPr>
          </a:lstStyle>
          <a:p>
            <a:pPr lvl="0"/>
            <a:r>
              <a:rPr lang="en-US"/>
              <a:t>Add text here</a:t>
            </a:r>
          </a:p>
        </p:txBody>
      </p:sp>
      <p:sp>
        <p:nvSpPr>
          <p:cNvPr id="2" name="Title 1">
            <a:extLst>
              <a:ext uri="{FF2B5EF4-FFF2-40B4-BE49-F238E27FC236}">
                <a16:creationId xmlns:a16="http://schemas.microsoft.com/office/drawing/2014/main" id="{C7BB5550-0534-497C-AA3A-EC5F566B3A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92261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5058953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5346916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422658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8092"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tx2"/>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tx2"/>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tx2"/>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tx2"/>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tx2"/>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tx2"/>
                </a:solidFill>
              </a:defRPr>
            </a:lvl1pPr>
          </a:lstStyle>
          <a:p>
            <a:pPr lvl="0"/>
            <a:r>
              <a:rPr lang="en-US"/>
              <a:t>Click to edit Master title style</a:t>
            </a:r>
            <a:endParaRPr lang="en-GB"/>
          </a:p>
        </p:txBody>
      </p:sp>
      <p:sp>
        <p:nvSpPr>
          <p:cNvPr id="8" name="Rectangle 4"/>
          <p:cNvSpPr>
            <a:spLocks noChangeArrowheads="1"/>
          </p:cNvSpPr>
          <p:nvPr/>
        </p:nvSpPr>
        <p:spPr bwMode="ltGray">
          <a:xfrm>
            <a:off x="477679" y="4741654"/>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2200349133"/>
      </p:ext>
    </p:extLst>
  </p:cSld>
  <p:clrMapOvr>
    <a:masterClrMapping/>
  </p:clrMapOvr>
  <p:extLst>
    <p:ext uri="{DCECCB84-F9BA-43D5-87BE-67443E8EF086}">
      <p15:sldGuideLst xmlns:p15="http://schemas.microsoft.com/office/powerpoint/2012/main">
        <p15:guide id="2" pos="216">
          <p15:clr>
            <a:srgbClr val="FBAE40"/>
          </p15:clr>
        </p15:guide>
        <p15:guide id="3" pos="1949">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4087226490"/>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7">
          <p15:clr>
            <a:srgbClr val="FBAE40"/>
          </p15:clr>
        </p15:guide>
        <p15:guide id="4" pos="200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tx2"/>
                </a:solidFill>
                <a:latin typeface="+mn-lt"/>
                <a:ea typeface="ＭＳ Ｐゴシック" charset="0"/>
                <a:cs typeface="CiscoSans"/>
              </a:defRPr>
            </a:lvl1pPr>
            <a:lvl2pPr marL="228594" indent="-114297">
              <a:buClr>
                <a:schemeClr val="tx2"/>
              </a:buClr>
              <a:buSzPct val="60000"/>
              <a:defRPr sz="2000">
                <a:solidFill>
                  <a:schemeClr val="tx2"/>
                </a:solidFill>
              </a:defRPr>
            </a:lvl2pPr>
            <a:lvl3pPr marL="342892" indent="-114297">
              <a:buClr>
                <a:schemeClr val="tx2"/>
              </a:buClr>
              <a:buSzPct val="60000"/>
              <a:defRPr sz="1800">
                <a:solidFill>
                  <a:schemeClr val="tx2"/>
                </a:solidFill>
              </a:defRPr>
            </a:lvl3pPr>
            <a:lvl4pPr marL="457189" indent="-123822">
              <a:buClr>
                <a:schemeClr val="tx2"/>
              </a:buClr>
              <a:buSzPct val="60000"/>
              <a:defRPr sz="1600">
                <a:solidFill>
                  <a:schemeClr val="tx2"/>
                </a:solidFill>
              </a:defRPr>
            </a:lvl4pPr>
            <a:lvl5pPr marL="574661" indent="-117472">
              <a:buClr>
                <a:schemeClr val="tx2"/>
              </a:buClr>
              <a:buSzPct val="60000"/>
              <a:defRPr sz="16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279226683"/>
      </p:ext>
    </p:extLst>
  </p:cSld>
  <p:clrMapOvr>
    <a:masterClrMapping/>
  </p:clrMapOvr>
  <p:extLst>
    <p:ext uri="{DCECCB84-F9BA-43D5-87BE-67443E8EF086}">
      <p15:sldGuideLst xmlns:p15="http://schemas.microsoft.com/office/powerpoint/2012/main">
        <p15:guide id="4" pos="2006">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13331"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082989369"/>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5764"/>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5089526" y="531814"/>
            <a:ext cx="3559175" cy="4059236"/>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983824526"/>
      </p:ext>
    </p:extLst>
  </p:cSld>
  <p:clrMapOvr>
    <a:masterClrMapping/>
  </p:clrMapOvr>
  <p:extLst>
    <p:ext uri="{DCECCB84-F9BA-43D5-87BE-67443E8EF086}">
      <p15:sldGuideLst xmlns:p15="http://schemas.microsoft.com/office/powerpoint/2012/main">
        <p15:guide id="1" orient="horz" pos="783">
          <p15:clr>
            <a:srgbClr val="FBAE40"/>
          </p15:clr>
        </p15:guide>
        <p15:guide id="2" pos="198">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8" name="Rectangle 4"/>
          <p:cNvSpPr>
            <a:spLocks noChangeArrowheads="1"/>
          </p:cNvSpPr>
          <p:nvPr/>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992078232"/>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1"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p:nvSpPr>
        <p:spPr bwMode="ltGray">
          <a:xfrm>
            <a:off x="477680" y="4741654"/>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96497882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p>
        </p:txBody>
      </p:sp>
      <p:sp>
        <p:nvSpPr>
          <p:cNvPr id="8" name="Rectangle 4"/>
          <p:cNvSpPr>
            <a:spLocks noChangeArrowheads="1"/>
          </p:cNvSpPr>
          <p:nvPr/>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157958761"/>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5">
          <p15:clr>
            <a:srgbClr val="FBAE40"/>
          </p15:clr>
        </p15:guide>
        <p15:guide id="4" pos="2006">
          <p15:clr>
            <a:srgbClr val="FBAE40"/>
          </p15:clr>
        </p15:guide>
        <p15:guide id="7" pos="2405">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accent1">
                    <a:lumMod val="7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648716038"/>
      </p:ext>
    </p:extLst>
  </p:cSld>
  <p:clrMapOvr>
    <a:masterClrMapping/>
  </p:clrMapOvr>
  <p:extLst>
    <p:ext uri="{DCECCB84-F9BA-43D5-87BE-67443E8EF086}">
      <p15:sldGuideLst xmlns:p15="http://schemas.microsoft.com/office/powerpoint/2012/main">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tx2"/>
                </a:solidFill>
                <a:latin typeface="+mj-lt"/>
                <a:ea typeface="ＭＳ Ｐゴシック" charset="0"/>
                <a:cs typeface="Tipo de letra del sistema Fina" charset="0"/>
              </a:defRPr>
            </a:lvl1pPr>
          </a:lstStyle>
          <a:p>
            <a:pPr lvl="0"/>
            <a:r>
              <a:rPr lang="en-US"/>
              <a:t>Click to edit Master title style</a:t>
            </a:r>
            <a:endParaRPr lang="en-GB"/>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9" y="4741654"/>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1"/>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1311684217"/>
      </p:ext>
    </p:extLst>
  </p:cSld>
  <p:clrMapOvr>
    <a:masterClrMapping/>
  </p:clrMapOvr>
  <p:extLst>
    <p:ext uri="{DCECCB84-F9BA-43D5-87BE-67443E8EF086}">
      <p15:sldGuideLst xmlns:p15="http://schemas.microsoft.com/office/powerpoint/2012/main">
        <p15:guide id="1" orient="horz" pos="783">
          <p15:clr>
            <a:srgbClr val="FBAE40"/>
          </p15:clr>
        </p15:guide>
        <p15:guide id="3" orient="horz" pos="1647">
          <p15:clr>
            <a:srgbClr val="FBAE40"/>
          </p15:clr>
        </p15:guide>
        <p15:guide id="4" pos="2006">
          <p15:clr>
            <a:srgbClr val="FBAE40"/>
          </p15:clr>
        </p15:guide>
        <p15:guide id="7" pos="2405">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Freeform 6"/>
          <p:cNvSpPr>
            <a:spLocks noChangeAspect="1" noEditPoints="1"/>
          </p:cNvSpPr>
          <p:nvPr/>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2"/>
              </a:solidFill>
            </a:endParaRPr>
          </a:p>
        </p:txBody>
      </p:sp>
    </p:spTree>
    <p:extLst>
      <p:ext uri="{BB962C8B-B14F-4D97-AF65-F5344CB8AC3E}">
        <p14:creationId xmlns:p14="http://schemas.microsoft.com/office/powerpoint/2010/main" val="33738690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C18977-0C03-453D-BCF2-D4BE13749DA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425161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tx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91931" cy="288131"/>
          </a:xfrm>
          <a:prstGeom prst="rect">
            <a:avLst/>
          </a:prstGeom>
        </p:spPr>
        <p:txBody>
          <a:bodyPr lIns="91420" tIns="45710" rIns="91420" bIns="45710" anchor="b" anchorCtr="0">
            <a:noAutofit/>
          </a:bodyPr>
          <a:lstStyle>
            <a:lvl1pPr marL="0" indent="0" algn="l">
              <a:buNone/>
              <a:defRPr sz="1600" b="0" i="0">
                <a:solidFill>
                  <a:schemeClr val="bg2"/>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91931" cy="288131"/>
          </a:xfrm>
          <a:prstGeom prst="rect">
            <a:avLst/>
          </a:prstGeom>
        </p:spPr>
        <p:txBody>
          <a:bodyPr lIns="91420" tIns="45710" rIns="91420" bIns="45710"/>
          <a:lstStyle>
            <a:lvl1pPr marL="0" indent="0" algn="l">
              <a:buFontTx/>
              <a:buNone/>
              <a:defRPr lang="en-US" sz="1600" b="0" i="0" kern="1200" dirty="0" smtClean="0">
                <a:solidFill>
                  <a:schemeClr val="bg2"/>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459536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2"/>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4616135"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2"/>
                </a:solidFill>
                <a:latin typeface="+mj-lt"/>
                <a:cs typeface="CiscoSansTT ExtraLight"/>
              </a:defRPr>
            </a:lvl1pPr>
          </a:lstStyle>
          <a:p>
            <a:r>
              <a:rPr lang="en-GB"/>
              <a:t>Presentation Title Goes Here</a:t>
            </a:r>
            <a:endParaRPr lang="en-US"/>
          </a:p>
        </p:txBody>
      </p:sp>
      <p:sp>
        <p:nvSpPr>
          <p:cNvPr id="9" name="Freeform 6">
            <a:extLst>
              <a:ext uri="{FF2B5EF4-FFF2-40B4-BE49-F238E27FC236}">
                <a16:creationId xmlns:a16="http://schemas.microsoft.com/office/drawing/2014/main" id="{70E62B45-7747-4064-9370-3A8F08537C81}"/>
              </a:ext>
            </a:extLst>
          </p:cNvPr>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905520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White Title Only">
    <p:bg>
      <p:bgPr>
        <a:solidFill>
          <a:schemeClr val="tx1"/>
        </a:solidFill>
        <a:effectLst/>
      </p:bgPr>
    </p:bg>
    <p:spTree>
      <p:nvGrpSpPr>
        <p:cNvPr id="1" name=""/>
        <p:cNvGrpSpPr/>
        <p:nvPr/>
      </p:nvGrpSpPr>
      <p:grpSpPr>
        <a:xfrm>
          <a:off x="0" y="0"/>
          <a:ext cx="0" cy="0"/>
          <a:chOff x="0" y="0"/>
          <a:chExt cx="0" cy="0"/>
        </a:xfrm>
      </p:grpSpPr>
      <p:sp>
        <p:nvSpPr>
          <p:cNvPr id="4" name="Title Placeholder 5">
            <a:extLst>
              <a:ext uri="{FF2B5EF4-FFF2-40B4-BE49-F238E27FC236}">
                <a16:creationId xmlns:a16="http://schemas.microsoft.com/office/drawing/2014/main" id="{9FE09404-DE6C-47D7-BACF-48EB8E035AAF}"/>
              </a:ext>
            </a:extLst>
          </p:cNvPr>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bg2"/>
                </a:solidFill>
              </a:defRPr>
            </a:lvl1pPr>
          </a:lstStyle>
          <a:p>
            <a:pPr lvl="0"/>
            <a:r>
              <a:rPr lang="en-US"/>
              <a:t>Click to edit Master title style</a:t>
            </a:r>
            <a:endParaRPr lang="en-GB"/>
          </a:p>
        </p:txBody>
      </p:sp>
      <p:sp>
        <p:nvSpPr>
          <p:cNvPr id="5" name="Rectangle 4">
            <a:extLst>
              <a:ext uri="{FF2B5EF4-FFF2-40B4-BE49-F238E27FC236}">
                <a16:creationId xmlns:a16="http://schemas.microsoft.com/office/drawing/2014/main" id="{2A3D5D7E-3E33-40F0-8612-E3341225BD49}"/>
              </a:ext>
            </a:extLst>
          </p:cNvPr>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Cisco Confidential</a:t>
            </a:r>
          </a:p>
        </p:txBody>
      </p:sp>
    </p:spTree>
    <p:extLst>
      <p:ext uri="{BB962C8B-B14F-4D97-AF65-F5344CB8AC3E}">
        <p14:creationId xmlns:p14="http://schemas.microsoft.com/office/powerpoint/2010/main" val="32218151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Segue_White">
    <p:bg>
      <p:bgPr>
        <a:solidFill>
          <a:schemeClr val="tx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16425" y="1857773"/>
            <a:ext cx="5473835" cy="1427955"/>
          </a:xfrm>
          <a:prstGeom prst="rect">
            <a:avLst/>
          </a:prstGeom>
          <a:noFill/>
        </p:spPr>
        <p:txBody>
          <a:bodyPr anchor="ctr">
            <a:noAutofit/>
          </a:bodyPr>
          <a:lstStyle>
            <a:lvl1pPr marL="0" indent="0" algn="l">
              <a:lnSpc>
                <a:spcPct val="90000"/>
              </a:lnSpc>
              <a:buFont typeface="Arial" panose="020B0604020202020204" pitchFamily="34" charset="0"/>
              <a:buNone/>
              <a:defRPr sz="4600" b="0" i="0" spc="0" baseline="0">
                <a:solidFill>
                  <a:schemeClr val="bg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8226463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solidFill>
                <a:schemeClr val="bg1"/>
              </a:solidFill>
            </a:endParaRPr>
          </a:p>
        </p:txBody>
      </p:sp>
    </p:spTree>
    <p:extLst>
      <p:ext uri="{BB962C8B-B14F-4D97-AF65-F5344CB8AC3E}">
        <p14:creationId xmlns:p14="http://schemas.microsoft.com/office/powerpoint/2010/main" val="1974683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1"/>
        </a:solidFill>
        <a:effectLst/>
      </p:bgPr>
    </p:bg>
    <p:spTree>
      <p:nvGrpSpPr>
        <p:cNvPr id="1" name=""/>
        <p:cNvGrpSpPr/>
        <p:nvPr/>
      </p:nvGrpSpPr>
      <p:grpSpPr>
        <a:xfrm>
          <a:off x="0" y="0"/>
          <a:ext cx="0" cy="0"/>
          <a:chOff x="0" y="0"/>
          <a:chExt cx="0" cy="0"/>
        </a:xfrm>
      </p:grpSpPr>
      <p:pic>
        <p:nvPicPr>
          <p:cNvPr id="5" name="Picture 4" descr="A path with trees on the side of a mountain&#10;&#10;Description automatically generated">
            <a:extLst>
              <a:ext uri="{FF2B5EF4-FFF2-40B4-BE49-F238E27FC236}">
                <a16:creationId xmlns:a16="http://schemas.microsoft.com/office/drawing/2014/main" id="{2084111B-E4B4-4666-87F7-AD8F9EFC09AE}"/>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0" y="0"/>
            <a:ext cx="9144000" cy="5143500"/>
          </a:xfrm>
          <a:prstGeom prst="rect">
            <a:avLst/>
          </a:prstGeom>
        </p:spPr>
      </p:pic>
      <p:graphicFrame>
        <p:nvGraphicFramePr>
          <p:cNvPr id="3" name="Object 2" hidden="1">
            <a:extLst>
              <a:ext uri="{FF2B5EF4-FFF2-40B4-BE49-F238E27FC236}">
                <a16:creationId xmlns:a16="http://schemas.microsoft.com/office/drawing/2014/main" id="{E64C8021-6DBE-4F03-83CC-7073EEFD3D0F}"/>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15466" name="think-cell Slide" r:id="rId6" imgW="425" imgH="424" progId="TCLayout.ActiveDocument.1">
                  <p:embed/>
                </p:oleObj>
              </mc:Choice>
              <mc:Fallback>
                <p:oleObj name="think-cell Slide" r:id="rId6" imgW="425" imgH="424" progId="TCLayout.ActiveDocument.1">
                  <p:embed/>
                  <p:pic>
                    <p:nvPicPr>
                      <p:cNvPr id="3" name="Object 2" hidden="1">
                        <a:extLst>
                          <a:ext uri="{FF2B5EF4-FFF2-40B4-BE49-F238E27FC236}">
                            <a16:creationId xmlns:a16="http://schemas.microsoft.com/office/drawing/2014/main" id="{E64C8021-6DBE-4F03-83CC-7073EEFD3D0F}"/>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CE1C919-DF44-436C-9A59-6030629E328E}"/>
              </a:ext>
            </a:extLst>
          </p:cNvPr>
          <p:cNvSpPr/>
          <p:nvPr userDrawn="1">
            <p:custDataLst>
              <p:tags r:id="rId3"/>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a:endParaRPr lang="en-GB" sz="4000" b="0" i="0" baseline="0">
              <a:latin typeface="CiscoSansTT ExtraLight" panose="020B0303020201020303" pitchFamily="34" charset="0"/>
              <a:sym typeface="CiscoSansTT ExtraLight" panose="020B0303020201020303" pitchFamily="34" charset="0"/>
            </a:endParaRPr>
          </a:p>
        </p:txBody>
      </p:sp>
      <p:sp>
        <p:nvSpPr>
          <p:cNvPr id="16" name="Subtitle 2"/>
          <p:cNvSpPr>
            <a:spLocks noGrp="1"/>
          </p:cNvSpPr>
          <p:nvPr>
            <p:ph type="subTitle" idx="1" hasCustomPrompt="1"/>
          </p:nvPr>
        </p:nvSpPr>
        <p:spPr>
          <a:xfrm>
            <a:off x="469497" y="3868769"/>
            <a:ext cx="8296421" cy="288131"/>
          </a:xfrm>
          <a:prstGeom prst="rect">
            <a:avLst/>
          </a:prstGeom>
        </p:spPr>
        <p:txBody>
          <a:bodyPr lIns="91420" tIns="45710" rIns="91420" bIns="45710" anchor="b" anchorCtr="0">
            <a:noAutofit/>
          </a:bodyPr>
          <a:lstStyle>
            <a:lvl1pPr marL="0" indent="0" algn="l">
              <a:buNone/>
              <a:defRPr sz="1600" b="0" i="0">
                <a:solidFill>
                  <a:schemeClr val="tx1"/>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a:t>Speaker Name</a:t>
            </a:r>
            <a:endParaRPr lang="en-US"/>
          </a:p>
        </p:txBody>
      </p:sp>
      <p:sp>
        <p:nvSpPr>
          <p:cNvPr id="19" name="Text Placeholder 2"/>
          <p:cNvSpPr>
            <a:spLocks noGrp="1"/>
          </p:cNvSpPr>
          <p:nvPr>
            <p:ph type="body" sz="quarter" idx="13" hasCustomPrompt="1"/>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tx1"/>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tx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013">
              <a:solidFill>
                <a:schemeClr val="bg1"/>
              </a:solidFill>
            </a:endParaRP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7" name="Text Placeholder 38"/>
          <p:cNvSpPr>
            <a:spLocks noGrp="1"/>
          </p:cNvSpPr>
          <p:nvPr>
            <p:ph type="body" sz="quarter" idx="11" hasCustomPrompt="1"/>
          </p:nvPr>
        </p:nvSpPr>
        <p:spPr>
          <a:xfrm>
            <a:off x="469497" y="4108766"/>
            <a:ext cx="8296421" cy="288131"/>
          </a:xfrm>
          <a:prstGeom prst="rect">
            <a:avLst/>
          </a:prstGeom>
        </p:spPr>
        <p:txBody>
          <a:bodyPr lIns="91420" tIns="45710" rIns="91420" bIns="45710"/>
          <a:lstStyle>
            <a:lvl1pPr marL="0" indent="0" algn="l">
              <a:buFontTx/>
              <a:buNone/>
              <a:defRPr lang="en-US" sz="1600" b="0" i="0" kern="1200" dirty="0" smtClean="0">
                <a:solidFill>
                  <a:schemeClr val="tx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Tree>
    <p:extLst>
      <p:ext uri="{BB962C8B-B14F-4D97-AF65-F5344CB8AC3E}">
        <p14:creationId xmlns:p14="http://schemas.microsoft.com/office/powerpoint/2010/main" val="3567375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tags" Target="../tags/tag18.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0" Type="http://schemas.openxmlformats.org/officeDocument/2006/relationships/slideLayout" Target="../slideLayouts/slideLayout273.xml"/><Relationship Id="rId29" Type="http://schemas.openxmlformats.org/officeDocument/2006/relationships/slideLayout" Target="../slideLayouts/slideLayout282.xml"/><Relationship Id="rId41" Type="http://schemas.openxmlformats.org/officeDocument/2006/relationships/slideLayout" Target="../slideLayouts/slideLayout294.xml"/><Relationship Id="rId54" Type="http://schemas.openxmlformats.org/officeDocument/2006/relationships/tags" Target="../tags/tag1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vmlDrawing" Target="../drawings/vmlDrawing7.vml"/><Relationship Id="rId5" Type="http://schemas.openxmlformats.org/officeDocument/2006/relationships/slideLayout" Target="../slideLayouts/slideLayout258.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 Id="rId57" Type="http://schemas.openxmlformats.org/officeDocument/2006/relationships/image" Target="../media/image18.emf"/><Relationship Id="rId10" Type="http://schemas.openxmlformats.org/officeDocument/2006/relationships/slideLayout" Target="../slideLayouts/slideLayout263.xml"/><Relationship Id="rId19" Type="http://schemas.openxmlformats.org/officeDocument/2006/relationships/slideLayout" Target="../slideLayouts/slideLayout272.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theme" Target="../theme/theme10.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56" Type="http://schemas.openxmlformats.org/officeDocument/2006/relationships/oleObject" Target="../embeddings/oleObject7.bin"/><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2.xml"/><Relationship Id="rId13" Type="http://schemas.openxmlformats.org/officeDocument/2006/relationships/slideLayout" Target="../slideLayouts/slideLayout317.xml"/><Relationship Id="rId18" Type="http://schemas.openxmlformats.org/officeDocument/2006/relationships/slideLayout" Target="../slideLayouts/slideLayout322.xml"/><Relationship Id="rId26" Type="http://schemas.openxmlformats.org/officeDocument/2006/relationships/slideLayout" Target="../slideLayouts/slideLayout330.xml"/><Relationship Id="rId39" Type="http://schemas.openxmlformats.org/officeDocument/2006/relationships/slideLayout" Target="../slideLayouts/slideLayout343.xml"/><Relationship Id="rId3" Type="http://schemas.openxmlformats.org/officeDocument/2006/relationships/slideLayout" Target="../slideLayouts/slideLayout307.xml"/><Relationship Id="rId21" Type="http://schemas.openxmlformats.org/officeDocument/2006/relationships/slideLayout" Target="../slideLayouts/slideLayout325.xml"/><Relationship Id="rId34" Type="http://schemas.openxmlformats.org/officeDocument/2006/relationships/slideLayout" Target="../slideLayouts/slideLayout338.xml"/><Relationship Id="rId7" Type="http://schemas.openxmlformats.org/officeDocument/2006/relationships/slideLayout" Target="../slideLayouts/slideLayout311.xml"/><Relationship Id="rId12" Type="http://schemas.openxmlformats.org/officeDocument/2006/relationships/slideLayout" Target="../slideLayouts/slideLayout316.xml"/><Relationship Id="rId17" Type="http://schemas.openxmlformats.org/officeDocument/2006/relationships/slideLayout" Target="../slideLayouts/slideLayout321.xml"/><Relationship Id="rId25" Type="http://schemas.openxmlformats.org/officeDocument/2006/relationships/slideLayout" Target="../slideLayouts/slideLayout329.xml"/><Relationship Id="rId33" Type="http://schemas.openxmlformats.org/officeDocument/2006/relationships/slideLayout" Target="../slideLayouts/slideLayout337.xml"/><Relationship Id="rId38" Type="http://schemas.openxmlformats.org/officeDocument/2006/relationships/slideLayout" Target="../slideLayouts/slideLayout342.xml"/><Relationship Id="rId2" Type="http://schemas.openxmlformats.org/officeDocument/2006/relationships/slideLayout" Target="../slideLayouts/slideLayout306.xml"/><Relationship Id="rId16" Type="http://schemas.openxmlformats.org/officeDocument/2006/relationships/slideLayout" Target="../slideLayouts/slideLayout320.xml"/><Relationship Id="rId20" Type="http://schemas.openxmlformats.org/officeDocument/2006/relationships/slideLayout" Target="../slideLayouts/slideLayout324.xml"/><Relationship Id="rId29" Type="http://schemas.openxmlformats.org/officeDocument/2006/relationships/slideLayout" Target="../slideLayouts/slideLayout333.xml"/><Relationship Id="rId41" Type="http://schemas.openxmlformats.org/officeDocument/2006/relationships/theme" Target="../theme/theme11.xml"/><Relationship Id="rId1" Type="http://schemas.openxmlformats.org/officeDocument/2006/relationships/slideLayout" Target="../slideLayouts/slideLayout305.xml"/><Relationship Id="rId6" Type="http://schemas.openxmlformats.org/officeDocument/2006/relationships/slideLayout" Target="../slideLayouts/slideLayout310.xml"/><Relationship Id="rId11" Type="http://schemas.openxmlformats.org/officeDocument/2006/relationships/slideLayout" Target="../slideLayouts/slideLayout315.xml"/><Relationship Id="rId24" Type="http://schemas.openxmlformats.org/officeDocument/2006/relationships/slideLayout" Target="../slideLayouts/slideLayout328.xml"/><Relationship Id="rId32" Type="http://schemas.openxmlformats.org/officeDocument/2006/relationships/slideLayout" Target="../slideLayouts/slideLayout336.xml"/><Relationship Id="rId37" Type="http://schemas.openxmlformats.org/officeDocument/2006/relationships/slideLayout" Target="../slideLayouts/slideLayout341.xml"/><Relationship Id="rId40" Type="http://schemas.openxmlformats.org/officeDocument/2006/relationships/slideLayout" Target="../slideLayouts/slideLayout344.xml"/><Relationship Id="rId5" Type="http://schemas.openxmlformats.org/officeDocument/2006/relationships/slideLayout" Target="../slideLayouts/slideLayout309.xml"/><Relationship Id="rId15" Type="http://schemas.openxmlformats.org/officeDocument/2006/relationships/slideLayout" Target="../slideLayouts/slideLayout319.xml"/><Relationship Id="rId23" Type="http://schemas.openxmlformats.org/officeDocument/2006/relationships/slideLayout" Target="../slideLayouts/slideLayout327.xml"/><Relationship Id="rId28" Type="http://schemas.openxmlformats.org/officeDocument/2006/relationships/slideLayout" Target="../slideLayouts/slideLayout332.xml"/><Relationship Id="rId36" Type="http://schemas.openxmlformats.org/officeDocument/2006/relationships/slideLayout" Target="../slideLayouts/slideLayout340.xml"/><Relationship Id="rId10" Type="http://schemas.openxmlformats.org/officeDocument/2006/relationships/slideLayout" Target="../slideLayouts/slideLayout314.xml"/><Relationship Id="rId19" Type="http://schemas.openxmlformats.org/officeDocument/2006/relationships/slideLayout" Target="../slideLayouts/slideLayout323.xml"/><Relationship Id="rId31" Type="http://schemas.openxmlformats.org/officeDocument/2006/relationships/slideLayout" Target="../slideLayouts/slideLayout335.xml"/><Relationship Id="rId4" Type="http://schemas.openxmlformats.org/officeDocument/2006/relationships/slideLayout" Target="../slideLayouts/slideLayout308.xml"/><Relationship Id="rId9" Type="http://schemas.openxmlformats.org/officeDocument/2006/relationships/slideLayout" Target="../slideLayouts/slideLayout313.xml"/><Relationship Id="rId14" Type="http://schemas.openxmlformats.org/officeDocument/2006/relationships/slideLayout" Target="../slideLayouts/slideLayout318.xml"/><Relationship Id="rId22" Type="http://schemas.openxmlformats.org/officeDocument/2006/relationships/slideLayout" Target="../slideLayouts/slideLayout326.xml"/><Relationship Id="rId27" Type="http://schemas.openxmlformats.org/officeDocument/2006/relationships/slideLayout" Target="../slideLayouts/slideLayout331.xml"/><Relationship Id="rId30" Type="http://schemas.openxmlformats.org/officeDocument/2006/relationships/slideLayout" Target="../slideLayouts/slideLayout334.xml"/><Relationship Id="rId35" Type="http://schemas.openxmlformats.org/officeDocument/2006/relationships/slideLayout" Target="../slideLayouts/slideLayout33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52.xml"/><Relationship Id="rId13" Type="http://schemas.openxmlformats.org/officeDocument/2006/relationships/slideLayout" Target="../slideLayouts/slideLayout357.xml"/><Relationship Id="rId18" Type="http://schemas.openxmlformats.org/officeDocument/2006/relationships/slideLayout" Target="../slideLayouts/slideLayout362.xml"/><Relationship Id="rId26" Type="http://schemas.openxmlformats.org/officeDocument/2006/relationships/slideLayout" Target="../slideLayouts/slideLayout370.xml"/><Relationship Id="rId3" Type="http://schemas.openxmlformats.org/officeDocument/2006/relationships/slideLayout" Target="../slideLayouts/slideLayout347.xml"/><Relationship Id="rId21" Type="http://schemas.openxmlformats.org/officeDocument/2006/relationships/slideLayout" Target="../slideLayouts/slideLayout365.xml"/><Relationship Id="rId34" Type="http://schemas.openxmlformats.org/officeDocument/2006/relationships/slideLayout" Target="../slideLayouts/slideLayout378.xml"/><Relationship Id="rId7" Type="http://schemas.openxmlformats.org/officeDocument/2006/relationships/slideLayout" Target="../slideLayouts/slideLayout351.xml"/><Relationship Id="rId12" Type="http://schemas.openxmlformats.org/officeDocument/2006/relationships/slideLayout" Target="../slideLayouts/slideLayout356.xml"/><Relationship Id="rId17" Type="http://schemas.openxmlformats.org/officeDocument/2006/relationships/slideLayout" Target="../slideLayouts/slideLayout361.xml"/><Relationship Id="rId25" Type="http://schemas.openxmlformats.org/officeDocument/2006/relationships/slideLayout" Target="../slideLayouts/slideLayout369.xml"/><Relationship Id="rId33" Type="http://schemas.openxmlformats.org/officeDocument/2006/relationships/slideLayout" Target="../slideLayouts/slideLayout377.xml"/><Relationship Id="rId2" Type="http://schemas.openxmlformats.org/officeDocument/2006/relationships/slideLayout" Target="../slideLayouts/slideLayout346.xml"/><Relationship Id="rId16" Type="http://schemas.openxmlformats.org/officeDocument/2006/relationships/slideLayout" Target="../slideLayouts/slideLayout360.xml"/><Relationship Id="rId20" Type="http://schemas.openxmlformats.org/officeDocument/2006/relationships/slideLayout" Target="../slideLayouts/slideLayout364.xml"/><Relationship Id="rId29" Type="http://schemas.openxmlformats.org/officeDocument/2006/relationships/slideLayout" Target="../slideLayouts/slideLayout373.xml"/><Relationship Id="rId1" Type="http://schemas.openxmlformats.org/officeDocument/2006/relationships/slideLayout" Target="../slideLayouts/slideLayout345.xml"/><Relationship Id="rId6" Type="http://schemas.openxmlformats.org/officeDocument/2006/relationships/slideLayout" Target="../slideLayouts/slideLayout350.xml"/><Relationship Id="rId11" Type="http://schemas.openxmlformats.org/officeDocument/2006/relationships/slideLayout" Target="../slideLayouts/slideLayout355.xml"/><Relationship Id="rId24" Type="http://schemas.openxmlformats.org/officeDocument/2006/relationships/slideLayout" Target="../slideLayouts/slideLayout368.xml"/><Relationship Id="rId32" Type="http://schemas.openxmlformats.org/officeDocument/2006/relationships/slideLayout" Target="../slideLayouts/slideLayout376.xml"/><Relationship Id="rId5" Type="http://schemas.openxmlformats.org/officeDocument/2006/relationships/slideLayout" Target="../slideLayouts/slideLayout349.xml"/><Relationship Id="rId15" Type="http://schemas.openxmlformats.org/officeDocument/2006/relationships/slideLayout" Target="../slideLayouts/slideLayout359.xml"/><Relationship Id="rId23" Type="http://schemas.openxmlformats.org/officeDocument/2006/relationships/slideLayout" Target="../slideLayouts/slideLayout367.xml"/><Relationship Id="rId28" Type="http://schemas.openxmlformats.org/officeDocument/2006/relationships/slideLayout" Target="../slideLayouts/slideLayout372.xml"/><Relationship Id="rId10" Type="http://schemas.openxmlformats.org/officeDocument/2006/relationships/slideLayout" Target="../slideLayouts/slideLayout354.xml"/><Relationship Id="rId19" Type="http://schemas.openxmlformats.org/officeDocument/2006/relationships/slideLayout" Target="../slideLayouts/slideLayout363.xml"/><Relationship Id="rId31" Type="http://schemas.openxmlformats.org/officeDocument/2006/relationships/slideLayout" Target="../slideLayouts/slideLayout375.xml"/><Relationship Id="rId4" Type="http://schemas.openxmlformats.org/officeDocument/2006/relationships/slideLayout" Target="../slideLayouts/slideLayout348.xml"/><Relationship Id="rId9" Type="http://schemas.openxmlformats.org/officeDocument/2006/relationships/slideLayout" Target="../slideLayouts/slideLayout353.xml"/><Relationship Id="rId14" Type="http://schemas.openxmlformats.org/officeDocument/2006/relationships/slideLayout" Target="../slideLayouts/slideLayout358.xml"/><Relationship Id="rId22" Type="http://schemas.openxmlformats.org/officeDocument/2006/relationships/slideLayout" Target="../slideLayouts/slideLayout366.xml"/><Relationship Id="rId27" Type="http://schemas.openxmlformats.org/officeDocument/2006/relationships/slideLayout" Target="../slideLayouts/slideLayout371.xml"/><Relationship Id="rId30" Type="http://schemas.openxmlformats.org/officeDocument/2006/relationships/slideLayout" Target="../slideLayouts/slideLayout374.xml"/><Relationship Id="rId35"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slideLayout" Target="../slideLayouts/slideLayout404.xml"/><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slideLayout" Target="../slideLayouts/slideLayout403.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slideLayout" Target="../slideLayouts/slideLayout402.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slideLayout" Target="../slideLayouts/slideLayout401.xml"/><Relationship Id="rId28" Type="http://schemas.openxmlformats.org/officeDocument/2006/relationships/theme" Target="../theme/theme13.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slideLayout" Target="../slideLayouts/slideLayout40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13.xml"/><Relationship Id="rId13" Type="http://schemas.openxmlformats.org/officeDocument/2006/relationships/slideLayout" Target="../slideLayouts/slideLayout418.xml"/><Relationship Id="rId18" Type="http://schemas.openxmlformats.org/officeDocument/2006/relationships/slideLayout" Target="../slideLayouts/slideLayout423.xml"/><Relationship Id="rId26" Type="http://schemas.openxmlformats.org/officeDocument/2006/relationships/slideLayout" Target="../slideLayouts/slideLayout431.xml"/><Relationship Id="rId39" Type="http://schemas.openxmlformats.org/officeDocument/2006/relationships/image" Target="../media/image1.emf"/><Relationship Id="rId3" Type="http://schemas.openxmlformats.org/officeDocument/2006/relationships/slideLayout" Target="../slideLayouts/slideLayout408.xml"/><Relationship Id="rId21" Type="http://schemas.openxmlformats.org/officeDocument/2006/relationships/slideLayout" Target="../slideLayouts/slideLayout426.xml"/><Relationship Id="rId34" Type="http://schemas.openxmlformats.org/officeDocument/2006/relationships/vmlDrawing" Target="../drawings/vmlDrawing9.vml"/><Relationship Id="rId7" Type="http://schemas.openxmlformats.org/officeDocument/2006/relationships/slideLayout" Target="../slideLayouts/slideLayout412.xml"/><Relationship Id="rId12" Type="http://schemas.openxmlformats.org/officeDocument/2006/relationships/slideLayout" Target="../slideLayouts/slideLayout417.xml"/><Relationship Id="rId17" Type="http://schemas.openxmlformats.org/officeDocument/2006/relationships/slideLayout" Target="../slideLayouts/slideLayout422.xml"/><Relationship Id="rId25" Type="http://schemas.openxmlformats.org/officeDocument/2006/relationships/slideLayout" Target="../slideLayouts/slideLayout430.xml"/><Relationship Id="rId33" Type="http://schemas.openxmlformats.org/officeDocument/2006/relationships/theme" Target="../theme/theme14.xml"/><Relationship Id="rId38" Type="http://schemas.openxmlformats.org/officeDocument/2006/relationships/oleObject" Target="../embeddings/oleObject9.bin"/><Relationship Id="rId2" Type="http://schemas.openxmlformats.org/officeDocument/2006/relationships/slideLayout" Target="../slideLayouts/slideLayout407.xml"/><Relationship Id="rId16" Type="http://schemas.openxmlformats.org/officeDocument/2006/relationships/slideLayout" Target="../slideLayouts/slideLayout421.xml"/><Relationship Id="rId20" Type="http://schemas.openxmlformats.org/officeDocument/2006/relationships/slideLayout" Target="../slideLayouts/slideLayout425.xml"/><Relationship Id="rId29" Type="http://schemas.openxmlformats.org/officeDocument/2006/relationships/slideLayout" Target="../slideLayouts/slideLayout434.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24" Type="http://schemas.openxmlformats.org/officeDocument/2006/relationships/slideLayout" Target="../slideLayouts/slideLayout429.xml"/><Relationship Id="rId32" Type="http://schemas.openxmlformats.org/officeDocument/2006/relationships/slideLayout" Target="../slideLayouts/slideLayout437.xml"/><Relationship Id="rId37" Type="http://schemas.openxmlformats.org/officeDocument/2006/relationships/tags" Target="../tags/tag23.xml"/><Relationship Id="rId5" Type="http://schemas.openxmlformats.org/officeDocument/2006/relationships/slideLayout" Target="../slideLayouts/slideLayout410.xml"/><Relationship Id="rId15" Type="http://schemas.openxmlformats.org/officeDocument/2006/relationships/slideLayout" Target="../slideLayouts/slideLayout420.xml"/><Relationship Id="rId23" Type="http://schemas.openxmlformats.org/officeDocument/2006/relationships/slideLayout" Target="../slideLayouts/slideLayout428.xml"/><Relationship Id="rId28" Type="http://schemas.openxmlformats.org/officeDocument/2006/relationships/slideLayout" Target="../slideLayouts/slideLayout433.xml"/><Relationship Id="rId36" Type="http://schemas.openxmlformats.org/officeDocument/2006/relationships/tags" Target="../tags/tag22.xml"/><Relationship Id="rId10" Type="http://schemas.openxmlformats.org/officeDocument/2006/relationships/slideLayout" Target="../slideLayouts/slideLayout415.xml"/><Relationship Id="rId19" Type="http://schemas.openxmlformats.org/officeDocument/2006/relationships/slideLayout" Target="../slideLayouts/slideLayout424.xml"/><Relationship Id="rId31" Type="http://schemas.openxmlformats.org/officeDocument/2006/relationships/slideLayout" Target="../slideLayouts/slideLayout436.xml"/><Relationship Id="rId4" Type="http://schemas.openxmlformats.org/officeDocument/2006/relationships/slideLayout" Target="../slideLayouts/slideLayout409.xml"/><Relationship Id="rId9" Type="http://schemas.openxmlformats.org/officeDocument/2006/relationships/slideLayout" Target="../slideLayouts/slideLayout414.xml"/><Relationship Id="rId14" Type="http://schemas.openxmlformats.org/officeDocument/2006/relationships/slideLayout" Target="../slideLayouts/slideLayout419.xml"/><Relationship Id="rId22" Type="http://schemas.openxmlformats.org/officeDocument/2006/relationships/slideLayout" Target="../slideLayouts/slideLayout427.xml"/><Relationship Id="rId27" Type="http://schemas.openxmlformats.org/officeDocument/2006/relationships/slideLayout" Target="../slideLayouts/slideLayout432.xml"/><Relationship Id="rId30" Type="http://schemas.openxmlformats.org/officeDocument/2006/relationships/slideLayout" Target="../slideLayouts/slideLayout435.xml"/><Relationship Id="rId35" Type="http://schemas.openxmlformats.org/officeDocument/2006/relationships/tags" Target="../tags/tag2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26" Type="http://schemas.openxmlformats.org/officeDocument/2006/relationships/slideLayout" Target="../slideLayouts/slideLayout463.xml"/><Relationship Id="rId3" Type="http://schemas.openxmlformats.org/officeDocument/2006/relationships/slideLayout" Target="../slideLayouts/slideLayout440.xml"/><Relationship Id="rId21" Type="http://schemas.openxmlformats.org/officeDocument/2006/relationships/slideLayout" Target="../slideLayouts/slideLayout458.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5" Type="http://schemas.openxmlformats.org/officeDocument/2006/relationships/slideLayout" Target="../slideLayouts/slideLayout462.xml"/><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29" Type="http://schemas.openxmlformats.org/officeDocument/2006/relationships/tags" Target="../tags/tag24.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slideLayout" Target="../slideLayouts/slideLayout461.xml"/><Relationship Id="rId32" Type="http://schemas.openxmlformats.org/officeDocument/2006/relationships/image" Target="../media/image35.emf"/><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slideLayout" Target="../slideLayouts/slideLayout460.xml"/><Relationship Id="rId28" Type="http://schemas.openxmlformats.org/officeDocument/2006/relationships/vmlDrawing" Target="../drawings/vmlDrawing10.vml"/><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31" Type="http://schemas.openxmlformats.org/officeDocument/2006/relationships/oleObject" Target="../embeddings/oleObject10.bin"/><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slideLayout" Target="../slideLayouts/slideLayout459.xml"/><Relationship Id="rId27" Type="http://schemas.openxmlformats.org/officeDocument/2006/relationships/theme" Target="../theme/theme15.xml"/><Relationship Id="rId30" Type="http://schemas.openxmlformats.org/officeDocument/2006/relationships/tags" Target="../tags/tag2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71.xml"/><Relationship Id="rId13" Type="http://schemas.openxmlformats.org/officeDocument/2006/relationships/slideLayout" Target="../slideLayouts/slideLayout476.xml"/><Relationship Id="rId18" Type="http://schemas.openxmlformats.org/officeDocument/2006/relationships/slideLayout" Target="../slideLayouts/slideLayout481.xml"/><Relationship Id="rId26" Type="http://schemas.openxmlformats.org/officeDocument/2006/relationships/slideLayout" Target="../slideLayouts/slideLayout489.xml"/><Relationship Id="rId39" Type="http://schemas.openxmlformats.org/officeDocument/2006/relationships/image" Target="../media/image1.emf"/><Relationship Id="rId3" Type="http://schemas.openxmlformats.org/officeDocument/2006/relationships/slideLayout" Target="../slideLayouts/slideLayout466.xml"/><Relationship Id="rId21" Type="http://schemas.openxmlformats.org/officeDocument/2006/relationships/slideLayout" Target="../slideLayouts/slideLayout484.xml"/><Relationship Id="rId34" Type="http://schemas.openxmlformats.org/officeDocument/2006/relationships/vmlDrawing" Target="../drawings/vmlDrawing11.vml"/><Relationship Id="rId7" Type="http://schemas.openxmlformats.org/officeDocument/2006/relationships/slideLayout" Target="../slideLayouts/slideLayout470.xml"/><Relationship Id="rId12" Type="http://schemas.openxmlformats.org/officeDocument/2006/relationships/slideLayout" Target="../slideLayouts/slideLayout475.xml"/><Relationship Id="rId17" Type="http://schemas.openxmlformats.org/officeDocument/2006/relationships/slideLayout" Target="../slideLayouts/slideLayout480.xml"/><Relationship Id="rId25" Type="http://schemas.openxmlformats.org/officeDocument/2006/relationships/slideLayout" Target="../slideLayouts/slideLayout488.xml"/><Relationship Id="rId33" Type="http://schemas.openxmlformats.org/officeDocument/2006/relationships/theme" Target="../theme/theme16.xml"/><Relationship Id="rId38" Type="http://schemas.openxmlformats.org/officeDocument/2006/relationships/oleObject" Target="../embeddings/oleObject11.bin"/><Relationship Id="rId2" Type="http://schemas.openxmlformats.org/officeDocument/2006/relationships/slideLayout" Target="../slideLayouts/slideLayout465.xml"/><Relationship Id="rId16" Type="http://schemas.openxmlformats.org/officeDocument/2006/relationships/slideLayout" Target="../slideLayouts/slideLayout479.xml"/><Relationship Id="rId20" Type="http://schemas.openxmlformats.org/officeDocument/2006/relationships/slideLayout" Target="../slideLayouts/slideLayout483.xml"/><Relationship Id="rId29" Type="http://schemas.openxmlformats.org/officeDocument/2006/relationships/slideLayout" Target="../slideLayouts/slideLayout492.xml"/><Relationship Id="rId1" Type="http://schemas.openxmlformats.org/officeDocument/2006/relationships/slideLayout" Target="../slideLayouts/slideLayout464.xml"/><Relationship Id="rId6" Type="http://schemas.openxmlformats.org/officeDocument/2006/relationships/slideLayout" Target="../slideLayouts/slideLayout469.xml"/><Relationship Id="rId11" Type="http://schemas.openxmlformats.org/officeDocument/2006/relationships/slideLayout" Target="../slideLayouts/slideLayout474.xml"/><Relationship Id="rId24" Type="http://schemas.openxmlformats.org/officeDocument/2006/relationships/slideLayout" Target="../slideLayouts/slideLayout487.xml"/><Relationship Id="rId32" Type="http://schemas.openxmlformats.org/officeDocument/2006/relationships/slideLayout" Target="../slideLayouts/slideLayout495.xml"/><Relationship Id="rId37" Type="http://schemas.openxmlformats.org/officeDocument/2006/relationships/tags" Target="../tags/tag28.xml"/><Relationship Id="rId5" Type="http://schemas.openxmlformats.org/officeDocument/2006/relationships/slideLayout" Target="../slideLayouts/slideLayout468.xml"/><Relationship Id="rId15" Type="http://schemas.openxmlformats.org/officeDocument/2006/relationships/slideLayout" Target="../slideLayouts/slideLayout478.xml"/><Relationship Id="rId23" Type="http://schemas.openxmlformats.org/officeDocument/2006/relationships/slideLayout" Target="../slideLayouts/slideLayout486.xml"/><Relationship Id="rId28" Type="http://schemas.openxmlformats.org/officeDocument/2006/relationships/slideLayout" Target="../slideLayouts/slideLayout491.xml"/><Relationship Id="rId36" Type="http://schemas.openxmlformats.org/officeDocument/2006/relationships/tags" Target="../tags/tag27.xml"/><Relationship Id="rId10" Type="http://schemas.openxmlformats.org/officeDocument/2006/relationships/slideLayout" Target="../slideLayouts/slideLayout473.xml"/><Relationship Id="rId19" Type="http://schemas.openxmlformats.org/officeDocument/2006/relationships/slideLayout" Target="../slideLayouts/slideLayout482.xml"/><Relationship Id="rId31" Type="http://schemas.openxmlformats.org/officeDocument/2006/relationships/slideLayout" Target="../slideLayouts/slideLayout494.xml"/><Relationship Id="rId4" Type="http://schemas.openxmlformats.org/officeDocument/2006/relationships/slideLayout" Target="../slideLayouts/slideLayout467.xml"/><Relationship Id="rId9" Type="http://schemas.openxmlformats.org/officeDocument/2006/relationships/slideLayout" Target="../slideLayouts/slideLayout472.xml"/><Relationship Id="rId14" Type="http://schemas.openxmlformats.org/officeDocument/2006/relationships/slideLayout" Target="../slideLayouts/slideLayout477.xml"/><Relationship Id="rId22" Type="http://schemas.openxmlformats.org/officeDocument/2006/relationships/slideLayout" Target="../slideLayouts/slideLayout485.xml"/><Relationship Id="rId27" Type="http://schemas.openxmlformats.org/officeDocument/2006/relationships/slideLayout" Target="../slideLayouts/slideLayout490.xml"/><Relationship Id="rId30" Type="http://schemas.openxmlformats.org/officeDocument/2006/relationships/slideLayout" Target="../slideLayouts/slideLayout493.xml"/><Relationship Id="rId35" Type="http://schemas.openxmlformats.org/officeDocument/2006/relationships/tags" Target="../tags/tag2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503.xml"/><Relationship Id="rId13" Type="http://schemas.openxmlformats.org/officeDocument/2006/relationships/slideLayout" Target="../slideLayouts/slideLayout508.xml"/><Relationship Id="rId18" Type="http://schemas.openxmlformats.org/officeDocument/2006/relationships/slideLayout" Target="../slideLayouts/slideLayout513.xml"/><Relationship Id="rId26" Type="http://schemas.openxmlformats.org/officeDocument/2006/relationships/slideLayout" Target="../slideLayouts/slideLayout521.xml"/><Relationship Id="rId3" Type="http://schemas.openxmlformats.org/officeDocument/2006/relationships/slideLayout" Target="../slideLayouts/slideLayout498.xml"/><Relationship Id="rId21" Type="http://schemas.openxmlformats.org/officeDocument/2006/relationships/slideLayout" Target="../slideLayouts/slideLayout516.xml"/><Relationship Id="rId7" Type="http://schemas.openxmlformats.org/officeDocument/2006/relationships/slideLayout" Target="../slideLayouts/slideLayout502.xml"/><Relationship Id="rId12" Type="http://schemas.openxmlformats.org/officeDocument/2006/relationships/slideLayout" Target="../slideLayouts/slideLayout507.xml"/><Relationship Id="rId17" Type="http://schemas.openxmlformats.org/officeDocument/2006/relationships/slideLayout" Target="../slideLayouts/slideLayout512.xml"/><Relationship Id="rId25" Type="http://schemas.openxmlformats.org/officeDocument/2006/relationships/slideLayout" Target="../slideLayouts/slideLayout520.xml"/><Relationship Id="rId2" Type="http://schemas.openxmlformats.org/officeDocument/2006/relationships/slideLayout" Target="../slideLayouts/slideLayout497.xml"/><Relationship Id="rId16" Type="http://schemas.openxmlformats.org/officeDocument/2006/relationships/slideLayout" Target="../slideLayouts/slideLayout511.xml"/><Relationship Id="rId20" Type="http://schemas.openxmlformats.org/officeDocument/2006/relationships/slideLayout" Target="../slideLayouts/slideLayout515.xml"/><Relationship Id="rId29" Type="http://schemas.openxmlformats.org/officeDocument/2006/relationships/theme" Target="../theme/theme17.xml"/><Relationship Id="rId1" Type="http://schemas.openxmlformats.org/officeDocument/2006/relationships/slideLayout" Target="../slideLayouts/slideLayout496.xml"/><Relationship Id="rId6" Type="http://schemas.openxmlformats.org/officeDocument/2006/relationships/slideLayout" Target="../slideLayouts/slideLayout501.xml"/><Relationship Id="rId11" Type="http://schemas.openxmlformats.org/officeDocument/2006/relationships/slideLayout" Target="../slideLayouts/slideLayout506.xml"/><Relationship Id="rId24" Type="http://schemas.openxmlformats.org/officeDocument/2006/relationships/slideLayout" Target="../slideLayouts/slideLayout519.xml"/><Relationship Id="rId5" Type="http://schemas.openxmlformats.org/officeDocument/2006/relationships/slideLayout" Target="../slideLayouts/slideLayout500.xml"/><Relationship Id="rId15" Type="http://schemas.openxmlformats.org/officeDocument/2006/relationships/slideLayout" Target="../slideLayouts/slideLayout510.xml"/><Relationship Id="rId23" Type="http://schemas.openxmlformats.org/officeDocument/2006/relationships/slideLayout" Target="../slideLayouts/slideLayout518.xml"/><Relationship Id="rId28" Type="http://schemas.openxmlformats.org/officeDocument/2006/relationships/slideLayout" Target="../slideLayouts/slideLayout523.xml"/><Relationship Id="rId10" Type="http://schemas.openxmlformats.org/officeDocument/2006/relationships/slideLayout" Target="../slideLayouts/slideLayout505.xml"/><Relationship Id="rId19" Type="http://schemas.openxmlformats.org/officeDocument/2006/relationships/slideLayout" Target="../slideLayouts/slideLayout514.xml"/><Relationship Id="rId4" Type="http://schemas.openxmlformats.org/officeDocument/2006/relationships/slideLayout" Target="../slideLayouts/slideLayout499.xml"/><Relationship Id="rId9" Type="http://schemas.openxmlformats.org/officeDocument/2006/relationships/slideLayout" Target="../slideLayouts/slideLayout504.xml"/><Relationship Id="rId14" Type="http://schemas.openxmlformats.org/officeDocument/2006/relationships/slideLayout" Target="../slideLayouts/slideLayout509.xml"/><Relationship Id="rId22" Type="http://schemas.openxmlformats.org/officeDocument/2006/relationships/slideLayout" Target="../slideLayouts/slideLayout517.xml"/><Relationship Id="rId27" Type="http://schemas.openxmlformats.org/officeDocument/2006/relationships/slideLayout" Target="../slideLayouts/slideLayout52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31.xml"/><Relationship Id="rId13" Type="http://schemas.openxmlformats.org/officeDocument/2006/relationships/slideLayout" Target="../slideLayouts/slideLayout536.xml"/><Relationship Id="rId18" Type="http://schemas.openxmlformats.org/officeDocument/2006/relationships/slideLayout" Target="../slideLayouts/slideLayout541.xml"/><Relationship Id="rId26" Type="http://schemas.openxmlformats.org/officeDocument/2006/relationships/slideLayout" Target="../slideLayouts/slideLayout549.xml"/><Relationship Id="rId39" Type="http://schemas.openxmlformats.org/officeDocument/2006/relationships/slideLayout" Target="../slideLayouts/slideLayout562.xml"/><Relationship Id="rId3" Type="http://schemas.openxmlformats.org/officeDocument/2006/relationships/slideLayout" Target="../slideLayouts/slideLayout526.xml"/><Relationship Id="rId21" Type="http://schemas.openxmlformats.org/officeDocument/2006/relationships/slideLayout" Target="../slideLayouts/slideLayout544.xml"/><Relationship Id="rId34" Type="http://schemas.openxmlformats.org/officeDocument/2006/relationships/slideLayout" Target="../slideLayouts/slideLayout557.xml"/><Relationship Id="rId7" Type="http://schemas.openxmlformats.org/officeDocument/2006/relationships/slideLayout" Target="../slideLayouts/slideLayout530.xml"/><Relationship Id="rId12" Type="http://schemas.openxmlformats.org/officeDocument/2006/relationships/slideLayout" Target="../slideLayouts/slideLayout535.xml"/><Relationship Id="rId17" Type="http://schemas.openxmlformats.org/officeDocument/2006/relationships/slideLayout" Target="../slideLayouts/slideLayout540.xml"/><Relationship Id="rId25" Type="http://schemas.openxmlformats.org/officeDocument/2006/relationships/slideLayout" Target="../slideLayouts/slideLayout548.xml"/><Relationship Id="rId33" Type="http://schemas.openxmlformats.org/officeDocument/2006/relationships/slideLayout" Target="../slideLayouts/slideLayout556.xml"/><Relationship Id="rId38" Type="http://schemas.openxmlformats.org/officeDocument/2006/relationships/slideLayout" Target="../slideLayouts/slideLayout561.xml"/><Relationship Id="rId2" Type="http://schemas.openxmlformats.org/officeDocument/2006/relationships/slideLayout" Target="../slideLayouts/slideLayout525.xml"/><Relationship Id="rId16" Type="http://schemas.openxmlformats.org/officeDocument/2006/relationships/slideLayout" Target="../slideLayouts/slideLayout539.xml"/><Relationship Id="rId20" Type="http://schemas.openxmlformats.org/officeDocument/2006/relationships/slideLayout" Target="../slideLayouts/slideLayout543.xml"/><Relationship Id="rId29" Type="http://schemas.openxmlformats.org/officeDocument/2006/relationships/slideLayout" Target="../slideLayouts/slideLayout552.xml"/><Relationship Id="rId1" Type="http://schemas.openxmlformats.org/officeDocument/2006/relationships/slideLayout" Target="../slideLayouts/slideLayout524.xml"/><Relationship Id="rId6" Type="http://schemas.openxmlformats.org/officeDocument/2006/relationships/slideLayout" Target="../slideLayouts/slideLayout529.xml"/><Relationship Id="rId11" Type="http://schemas.openxmlformats.org/officeDocument/2006/relationships/slideLayout" Target="../slideLayouts/slideLayout534.xml"/><Relationship Id="rId24" Type="http://schemas.openxmlformats.org/officeDocument/2006/relationships/slideLayout" Target="../slideLayouts/slideLayout547.xml"/><Relationship Id="rId32" Type="http://schemas.openxmlformats.org/officeDocument/2006/relationships/slideLayout" Target="../slideLayouts/slideLayout555.xml"/><Relationship Id="rId37" Type="http://schemas.openxmlformats.org/officeDocument/2006/relationships/slideLayout" Target="../slideLayouts/slideLayout560.xml"/><Relationship Id="rId40" Type="http://schemas.openxmlformats.org/officeDocument/2006/relationships/theme" Target="../theme/theme18.xml"/><Relationship Id="rId5" Type="http://schemas.openxmlformats.org/officeDocument/2006/relationships/slideLayout" Target="../slideLayouts/slideLayout528.xml"/><Relationship Id="rId15" Type="http://schemas.openxmlformats.org/officeDocument/2006/relationships/slideLayout" Target="../slideLayouts/slideLayout538.xml"/><Relationship Id="rId23" Type="http://schemas.openxmlformats.org/officeDocument/2006/relationships/slideLayout" Target="../slideLayouts/slideLayout546.xml"/><Relationship Id="rId28" Type="http://schemas.openxmlformats.org/officeDocument/2006/relationships/slideLayout" Target="../slideLayouts/slideLayout551.xml"/><Relationship Id="rId36" Type="http://schemas.openxmlformats.org/officeDocument/2006/relationships/slideLayout" Target="../slideLayouts/slideLayout559.xml"/><Relationship Id="rId10" Type="http://schemas.openxmlformats.org/officeDocument/2006/relationships/slideLayout" Target="../slideLayouts/slideLayout533.xml"/><Relationship Id="rId19" Type="http://schemas.openxmlformats.org/officeDocument/2006/relationships/slideLayout" Target="../slideLayouts/slideLayout542.xml"/><Relationship Id="rId31" Type="http://schemas.openxmlformats.org/officeDocument/2006/relationships/slideLayout" Target="../slideLayouts/slideLayout554.xml"/><Relationship Id="rId4" Type="http://schemas.openxmlformats.org/officeDocument/2006/relationships/slideLayout" Target="../slideLayouts/slideLayout527.xml"/><Relationship Id="rId9" Type="http://schemas.openxmlformats.org/officeDocument/2006/relationships/slideLayout" Target="../slideLayouts/slideLayout532.xml"/><Relationship Id="rId14" Type="http://schemas.openxmlformats.org/officeDocument/2006/relationships/slideLayout" Target="../slideLayouts/slideLayout537.xml"/><Relationship Id="rId22" Type="http://schemas.openxmlformats.org/officeDocument/2006/relationships/slideLayout" Target="../slideLayouts/slideLayout545.xml"/><Relationship Id="rId27" Type="http://schemas.openxmlformats.org/officeDocument/2006/relationships/slideLayout" Target="../slideLayouts/slideLayout550.xml"/><Relationship Id="rId30" Type="http://schemas.openxmlformats.org/officeDocument/2006/relationships/slideLayout" Target="../slideLayouts/slideLayout553.xml"/><Relationship Id="rId35" Type="http://schemas.openxmlformats.org/officeDocument/2006/relationships/slideLayout" Target="../slideLayouts/slideLayout55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570.xml"/><Relationship Id="rId13" Type="http://schemas.openxmlformats.org/officeDocument/2006/relationships/slideLayout" Target="../slideLayouts/slideLayout575.xml"/><Relationship Id="rId18" Type="http://schemas.openxmlformats.org/officeDocument/2006/relationships/slideLayout" Target="../slideLayouts/slideLayout580.xml"/><Relationship Id="rId26" Type="http://schemas.openxmlformats.org/officeDocument/2006/relationships/slideLayout" Target="../slideLayouts/slideLayout588.xml"/><Relationship Id="rId39" Type="http://schemas.openxmlformats.org/officeDocument/2006/relationships/theme" Target="../theme/theme19.xml"/><Relationship Id="rId3" Type="http://schemas.openxmlformats.org/officeDocument/2006/relationships/slideLayout" Target="../slideLayouts/slideLayout565.xml"/><Relationship Id="rId21" Type="http://schemas.openxmlformats.org/officeDocument/2006/relationships/slideLayout" Target="../slideLayouts/slideLayout583.xml"/><Relationship Id="rId34" Type="http://schemas.openxmlformats.org/officeDocument/2006/relationships/slideLayout" Target="../slideLayouts/slideLayout596.xml"/><Relationship Id="rId7" Type="http://schemas.openxmlformats.org/officeDocument/2006/relationships/slideLayout" Target="../slideLayouts/slideLayout569.xml"/><Relationship Id="rId12" Type="http://schemas.openxmlformats.org/officeDocument/2006/relationships/slideLayout" Target="../slideLayouts/slideLayout574.xml"/><Relationship Id="rId17" Type="http://schemas.openxmlformats.org/officeDocument/2006/relationships/slideLayout" Target="../slideLayouts/slideLayout579.xml"/><Relationship Id="rId25" Type="http://schemas.openxmlformats.org/officeDocument/2006/relationships/slideLayout" Target="../slideLayouts/slideLayout587.xml"/><Relationship Id="rId33" Type="http://schemas.openxmlformats.org/officeDocument/2006/relationships/slideLayout" Target="../slideLayouts/slideLayout595.xml"/><Relationship Id="rId38" Type="http://schemas.openxmlformats.org/officeDocument/2006/relationships/slideLayout" Target="../slideLayouts/slideLayout600.xml"/><Relationship Id="rId2" Type="http://schemas.openxmlformats.org/officeDocument/2006/relationships/slideLayout" Target="../slideLayouts/slideLayout564.xml"/><Relationship Id="rId16" Type="http://schemas.openxmlformats.org/officeDocument/2006/relationships/slideLayout" Target="../slideLayouts/slideLayout578.xml"/><Relationship Id="rId20" Type="http://schemas.openxmlformats.org/officeDocument/2006/relationships/slideLayout" Target="../slideLayouts/slideLayout582.xml"/><Relationship Id="rId29" Type="http://schemas.openxmlformats.org/officeDocument/2006/relationships/slideLayout" Target="../slideLayouts/slideLayout591.xml"/><Relationship Id="rId1" Type="http://schemas.openxmlformats.org/officeDocument/2006/relationships/slideLayout" Target="../slideLayouts/slideLayout563.xml"/><Relationship Id="rId6" Type="http://schemas.openxmlformats.org/officeDocument/2006/relationships/slideLayout" Target="../slideLayouts/slideLayout568.xml"/><Relationship Id="rId11" Type="http://schemas.openxmlformats.org/officeDocument/2006/relationships/slideLayout" Target="../slideLayouts/slideLayout573.xml"/><Relationship Id="rId24" Type="http://schemas.openxmlformats.org/officeDocument/2006/relationships/slideLayout" Target="../slideLayouts/slideLayout586.xml"/><Relationship Id="rId32" Type="http://schemas.openxmlformats.org/officeDocument/2006/relationships/slideLayout" Target="../slideLayouts/slideLayout594.xml"/><Relationship Id="rId37" Type="http://schemas.openxmlformats.org/officeDocument/2006/relationships/slideLayout" Target="../slideLayouts/slideLayout599.xml"/><Relationship Id="rId5" Type="http://schemas.openxmlformats.org/officeDocument/2006/relationships/slideLayout" Target="../slideLayouts/slideLayout567.xml"/><Relationship Id="rId15" Type="http://schemas.openxmlformats.org/officeDocument/2006/relationships/slideLayout" Target="../slideLayouts/slideLayout577.xml"/><Relationship Id="rId23" Type="http://schemas.openxmlformats.org/officeDocument/2006/relationships/slideLayout" Target="../slideLayouts/slideLayout585.xml"/><Relationship Id="rId28" Type="http://schemas.openxmlformats.org/officeDocument/2006/relationships/slideLayout" Target="../slideLayouts/slideLayout590.xml"/><Relationship Id="rId36" Type="http://schemas.openxmlformats.org/officeDocument/2006/relationships/slideLayout" Target="../slideLayouts/slideLayout598.xml"/><Relationship Id="rId10" Type="http://schemas.openxmlformats.org/officeDocument/2006/relationships/slideLayout" Target="../slideLayouts/slideLayout572.xml"/><Relationship Id="rId19" Type="http://schemas.openxmlformats.org/officeDocument/2006/relationships/slideLayout" Target="../slideLayouts/slideLayout581.xml"/><Relationship Id="rId31" Type="http://schemas.openxmlformats.org/officeDocument/2006/relationships/slideLayout" Target="../slideLayouts/slideLayout593.xml"/><Relationship Id="rId4" Type="http://schemas.openxmlformats.org/officeDocument/2006/relationships/slideLayout" Target="../slideLayouts/slideLayout566.xml"/><Relationship Id="rId9" Type="http://schemas.openxmlformats.org/officeDocument/2006/relationships/slideLayout" Target="../slideLayouts/slideLayout571.xml"/><Relationship Id="rId14" Type="http://schemas.openxmlformats.org/officeDocument/2006/relationships/slideLayout" Target="../slideLayouts/slideLayout576.xml"/><Relationship Id="rId22" Type="http://schemas.openxmlformats.org/officeDocument/2006/relationships/slideLayout" Target="../slideLayouts/slideLayout584.xml"/><Relationship Id="rId27" Type="http://schemas.openxmlformats.org/officeDocument/2006/relationships/slideLayout" Target="../slideLayouts/slideLayout589.xml"/><Relationship Id="rId30" Type="http://schemas.openxmlformats.org/officeDocument/2006/relationships/slideLayout" Target="../slideLayouts/slideLayout592.xml"/><Relationship Id="rId35" Type="http://schemas.openxmlformats.org/officeDocument/2006/relationships/slideLayout" Target="../slideLayouts/slideLayout59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608.xml"/><Relationship Id="rId13" Type="http://schemas.openxmlformats.org/officeDocument/2006/relationships/slideLayout" Target="../slideLayouts/slideLayout613.xml"/><Relationship Id="rId18" Type="http://schemas.openxmlformats.org/officeDocument/2006/relationships/slideLayout" Target="../slideLayouts/slideLayout618.xml"/><Relationship Id="rId26" Type="http://schemas.openxmlformats.org/officeDocument/2006/relationships/slideLayout" Target="../slideLayouts/slideLayout626.xml"/><Relationship Id="rId39" Type="http://schemas.openxmlformats.org/officeDocument/2006/relationships/tags" Target="../tags/tag31.xml"/><Relationship Id="rId3" Type="http://schemas.openxmlformats.org/officeDocument/2006/relationships/slideLayout" Target="../slideLayouts/slideLayout603.xml"/><Relationship Id="rId21" Type="http://schemas.openxmlformats.org/officeDocument/2006/relationships/slideLayout" Target="../slideLayouts/slideLayout621.xml"/><Relationship Id="rId34" Type="http://schemas.openxmlformats.org/officeDocument/2006/relationships/slideLayout" Target="../slideLayouts/slideLayout634.xml"/><Relationship Id="rId7" Type="http://schemas.openxmlformats.org/officeDocument/2006/relationships/slideLayout" Target="../slideLayouts/slideLayout607.xml"/><Relationship Id="rId12" Type="http://schemas.openxmlformats.org/officeDocument/2006/relationships/slideLayout" Target="../slideLayouts/slideLayout612.xml"/><Relationship Id="rId17" Type="http://schemas.openxmlformats.org/officeDocument/2006/relationships/slideLayout" Target="../slideLayouts/slideLayout617.xml"/><Relationship Id="rId25" Type="http://schemas.openxmlformats.org/officeDocument/2006/relationships/slideLayout" Target="../slideLayouts/slideLayout625.xml"/><Relationship Id="rId33" Type="http://schemas.openxmlformats.org/officeDocument/2006/relationships/slideLayout" Target="../slideLayouts/slideLayout633.xml"/><Relationship Id="rId38" Type="http://schemas.openxmlformats.org/officeDocument/2006/relationships/tags" Target="../tags/tag30.xml"/><Relationship Id="rId2" Type="http://schemas.openxmlformats.org/officeDocument/2006/relationships/slideLayout" Target="../slideLayouts/slideLayout602.xml"/><Relationship Id="rId16" Type="http://schemas.openxmlformats.org/officeDocument/2006/relationships/slideLayout" Target="../slideLayouts/slideLayout616.xml"/><Relationship Id="rId20" Type="http://schemas.openxmlformats.org/officeDocument/2006/relationships/slideLayout" Target="../slideLayouts/slideLayout620.xml"/><Relationship Id="rId29" Type="http://schemas.openxmlformats.org/officeDocument/2006/relationships/slideLayout" Target="../slideLayouts/slideLayout629.xml"/><Relationship Id="rId41" Type="http://schemas.openxmlformats.org/officeDocument/2006/relationships/image" Target="../media/image1.emf"/><Relationship Id="rId1" Type="http://schemas.openxmlformats.org/officeDocument/2006/relationships/slideLayout" Target="../slideLayouts/slideLayout601.xml"/><Relationship Id="rId6" Type="http://schemas.openxmlformats.org/officeDocument/2006/relationships/slideLayout" Target="../slideLayouts/slideLayout606.xml"/><Relationship Id="rId11" Type="http://schemas.openxmlformats.org/officeDocument/2006/relationships/slideLayout" Target="../slideLayouts/slideLayout611.xml"/><Relationship Id="rId24" Type="http://schemas.openxmlformats.org/officeDocument/2006/relationships/slideLayout" Target="../slideLayouts/slideLayout624.xml"/><Relationship Id="rId32" Type="http://schemas.openxmlformats.org/officeDocument/2006/relationships/slideLayout" Target="../slideLayouts/slideLayout632.xml"/><Relationship Id="rId37" Type="http://schemas.openxmlformats.org/officeDocument/2006/relationships/tags" Target="../tags/tag29.xml"/><Relationship Id="rId40" Type="http://schemas.openxmlformats.org/officeDocument/2006/relationships/oleObject" Target="../embeddings/oleObject12.bin"/><Relationship Id="rId5" Type="http://schemas.openxmlformats.org/officeDocument/2006/relationships/slideLayout" Target="../slideLayouts/slideLayout605.xml"/><Relationship Id="rId15" Type="http://schemas.openxmlformats.org/officeDocument/2006/relationships/slideLayout" Target="../slideLayouts/slideLayout615.xml"/><Relationship Id="rId23" Type="http://schemas.openxmlformats.org/officeDocument/2006/relationships/slideLayout" Target="../slideLayouts/slideLayout623.xml"/><Relationship Id="rId28" Type="http://schemas.openxmlformats.org/officeDocument/2006/relationships/slideLayout" Target="../slideLayouts/slideLayout628.xml"/><Relationship Id="rId36" Type="http://schemas.openxmlformats.org/officeDocument/2006/relationships/vmlDrawing" Target="../drawings/vmlDrawing12.vml"/><Relationship Id="rId10" Type="http://schemas.openxmlformats.org/officeDocument/2006/relationships/slideLayout" Target="../slideLayouts/slideLayout610.xml"/><Relationship Id="rId19" Type="http://schemas.openxmlformats.org/officeDocument/2006/relationships/slideLayout" Target="../slideLayouts/slideLayout619.xml"/><Relationship Id="rId31" Type="http://schemas.openxmlformats.org/officeDocument/2006/relationships/slideLayout" Target="../slideLayouts/slideLayout631.xml"/><Relationship Id="rId4" Type="http://schemas.openxmlformats.org/officeDocument/2006/relationships/slideLayout" Target="../slideLayouts/slideLayout604.xml"/><Relationship Id="rId9" Type="http://schemas.openxmlformats.org/officeDocument/2006/relationships/slideLayout" Target="../slideLayouts/slideLayout609.xml"/><Relationship Id="rId14" Type="http://schemas.openxmlformats.org/officeDocument/2006/relationships/slideLayout" Target="../slideLayouts/slideLayout614.xml"/><Relationship Id="rId22" Type="http://schemas.openxmlformats.org/officeDocument/2006/relationships/slideLayout" Target="../slideLayouts/slideLayout622.xml"/><Relationship Id="rId27" Type="http://schemas.openxmlformats.org/officeDocument/2006/relationships/slideLayout" Target="../slideLayouts/slideLayout627.xml"/><Relationship Id="rId30" Type="http://schemas.openxmlformats.org/officeDocument/2006/relationships/slideLayout" Target="../slideLayouts/slideLayout630.xml"/><Relationship Id="rId35" Type="http://schemas.openxmlformats.org/officeDocument/2006/relationships/theme" Target="../theme/theme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image" Target="../media/image1.emf"/><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vmlDrawing" Target="../drawings/vmlDrawing3.v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theme" Target="../theme/theme3.xml"/><Relationship Id="rId38" Type="http://schemas.openxmlformats.org/officeDocument/2006/relationships/oleObject" Target="../embeddings/oleObject3.bin"/><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tags" Target="../tags/tag9.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tags" Target="../tags/tag8.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heme" Target="../theme/theme4.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tags" Target="../tags/tag12.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vmlDrawing" Target="../drawings/vmlDrawing5.vml"/><Relationship Id="rId38" Type="http://schemas.openxmlformats.org/officeDocument/2006/relationships/image" Target="../media/image1.emf"/><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theme" Target="../theme/theme5.xml"/><Relationship Id="rId37" Type="http://schemas.openxmlformats.org/officeDocument/2006/relationships/oleObject" Target="../embeddings/oleObject5.bin"/><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tags" Target="../tags/tag14.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theme" Target="../theme/theme6.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 Type="http://schemas.openxmlformats.org/officeDocument/2006/relationships/slideLayout" Target="../slideLayouts/slideLayout171.xml"/><Relationship Id="rId21" Type="http://schemas.openxmlformats.org/officeDocument/2006/relationships/slideLayout" Target="../slideLayouts/slideLayout189.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theme" Target="../theme/theme8.x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slideLayout" Target="../slideLayouts/slideLayout219.xml"/><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34" Type="http://schemas.openxmlformats.org/officeDocument/2006/relationships/slideLayout" Target="../slideLayouts/slideLayout253.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33" Type="http://schemas.openxmlformats.org/officeDocument/2006/relationships/slideLayout" Target="../slideLayouts/slideLayout252.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29" Type="http://schemas.openxmlformats.org/officeDocument/2006/relationships/slideLayout" Target="../slideLayouts/slideLayout248.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32" Type="http://schemas.openxmlformats.org/officeDocument/2006/relationships/slideLayout" Target="../slideLayouts/slideLayout251.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slideLayout" Target="../slideLayouts/slideLayout247.xml"/><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31" Type="http://schemas.openxmlformats.org/officeDocument/2006/relationships/slideLayout" Target="../slideLayouts/slideLayout250.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slideLayout" Target="../slideLayouts/slideLayout246.xml"/><Relationship Id="rId30" Type="http://schemas.openxmlformats.org/officeDocument/2006/relationships/slideLayout" Target="../slideLayouts/slideLayout249.xml"/><Relationship Id="rId35"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4"/>
            </p:custDataLst>
            <p:extLst>
              <p:ext uri="{D42A27DB-BD31-4B8C-83A1-F6EECF244321}">
                <p14:modId xmlns:p14="http://schemas.microsoft.com/office/powerpoint/2010/main" val="3794417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8298" name="think-cell Slide" r:id="rId37" imgW="425" imgH="424" progId="TCLayout.ActiveDocument.1">
                  <p:embed/>
                </p:oleObj>
              </mc:Choice>
              <mc:Fallback>
                <p:oleObj name="think-cell Slide" r:id="rId37"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5"/>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6"/>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3400331502"/>
      </p:ext>
    </p:extLst>
  </p:cSld>
  <p:clrMap bg1="lt1" tx1="dk1" bg2="lt2" tx2="dk2" accent1="accent1" accent2="accent2" accent3="accent3" accent4="accent4" accent5="accent5" accent6="accent6" hlink="hlink" folHlink="folHlink"/>
  <p:sldLayoutIdLst>
    <p:sldLayoutId id="2147484096" r:id="rId1"/>
    <p:sldLayoutId id="2147484097" r:id="rId2"/>
    <p:sldLayoutId id="2147484098" r:id="rId3"/>
    <p:sldLayoutId id="2147484099" r:id="rId4"/>
    <p:sldLayoutId id="2147484100" r:id="rId5"/>
    <p:sldLayoutId id="2147484101" r:id="rId6"/>
    <p:sldLayoutId id="2147484102" r:id="rId7"/>
    <p:sldLayoutId id="2147484103" r:id="rId8"/>
    <p:sldLayoutId id="2147484104" r:id="rId9"/>
    <p:sldLayoutId id="2147484105" r:id="rId10"/>
    <p:sldLayoutId id="2147484106" r:id="rId11"/>
    <p:sldLayoutId id="2147484107" r:id="rId12"/>
    <p:sldLayoutId id="2147484108" r:id="rId13"/>
    <p:sldLayoutId id="2147484200" r:id="rId14"/>
    <p:sldLayoutId id="2147484109" r:id="rId15"/>
    <p:sldLayoutId id="2147484110" r:id="rId16"/>
    <p:sldLayoutId id="2147484111" r:id="rId17"/>
    <p:sldLayoutId id="2147484112" r:id="rId18"/>
    <p:sldLayoutId id="2147484113" r:id="rId19"/>
    <p:sldLayoutId id="2147484114" r:id="rId20"/>
    <p:sldLayoutId id="2147484115" r:id="rId21"/>
    <p:sldLayoutId id="2147484116" r:id="rId22"/>
    <p:sldLayoutId id="2147484117" r:id="rId23"/>
    <p:sldLayoutId id="2147484118" r:id="rId24"/>
    <p:sldLayoutId id="2147484119" r:id="rId25"/>
    <p:sldLayoutId id="2147484120" r:id="rId26"/>
    <p:sldLayoutId id="2147484121" r:id="rId27"/>
    <p:sldLayoutId id="2147484197" r:id="rId28"/>
    <p:sldLayoutId id="2147484198" r:id="rId29"/>
    <p:sldLayoutId id="2147484199" r:id="rId30"/>
    <p:sldLayoutId id="2147484372" r:id="rId31"/>
  </p:sldLayoutIdLst>
  <p:txStyles>
    <p:titleStyle>
      <a:lvl1pPr algn="l" defTabSz="684196" rtl="0" eaLnBrk="1" fontAlgn="base" hangingPunct="1">
        <a:lnSpc>
          <a:spcPct val="80000"/>
        </a:lnSpc>
        <a:spcBef>
          <a:spcPct val="0"/>
        </a:spcBef>
        <a:spcAft>
          <a:spcPct val="0"/>
        </a:spcAft>
        <a:defRPr lang="en-US" sz="21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userDrawn="1">
          <p15:clr>
            <a:srgbClr val="F26B43"/>
          </p15:clr>
        </p15:guide>
        <p15:guide id="9" pos="333" userDrawn="1">
          <p15:clr>
            <a:srgbClr val="F26B43"/>
          </p15:clr>
        </p15:guide>
        <p15:guide id="10" pos="5424" userDrawn="1">
          <p15:clr>
            <a:srgbClr val="F26B43"/>
          </p15:clr>
        </p15:guide>
        <p15:guide id="11" orient="horz" pos="204" userDrawn="1">
          <p15:clr>
            <a:srgbClr val="F26B43"/>
          </p15:clr>
        </p15:guide>
        <p15:guide id="14" orient="horz" pos="684"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A2F0BE-8647-9F44-838E-29A6259C9FFC}"/>
              </a:ext>
            </a:extLst>
          </p:cNvPr>
          <p:cNvGraphicFramePr>
            <a:graphicFrameLocks noChangeAspect="1"/>
          </p:cNvGraphicFramePr>
          <p:nvPr userDrawn="1">
            <p:custDataLst>
              <p:tags r:id="rId5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0" name="think-cell Slide" r:id="rId56" imgW="7772400" imgH="10058400" progId="TCLayout.ActiveDocument.1">
                  <p:embed/>
                </p:oleObj>
              </mc:Choice>
              <mc:Fallback>
                <p:oleObj name="think-cell Slide" r:id="rId56" imgW="7772400" imgH="10058400" progId="TCLayout.ActiveDocument.1">
                  <p:embed/>
                  <p:pic>
                    <p:nvPicPr>
                      <p:cNvPr id="3" name="Object 2" hidden="1">
                        <a:extLst>
                          <a:ext uri="{FF2B5EF4-FFF2-40B4-BE49-F238E27FC236}">
                            <a16:creationId xmlns:a16="http://schemas.microsoft.com/office/drawing/2014/main" id="{23A2F0BE-8647-9F44-838E-29A6259C9FFC}"/>
                          </a:ext>
                        </a:extLst>
                      </p:cNvPr>
                      <p:cNvPicPr/>
                      <p:nvPr/>
                    </p:nvPicPr>
                    <p:blipFill>
                      <a:blip r:embed="rId5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E0C16C5-2648-4543-B1E5-DA18B0ABF91F}"/>
              </a:ext>
            </a:extLst>
          </p:cNvPr>
          <p:cNvSpPr/>
          <p:nvPr userDrawn="1">
            <p:custDataLst>
              <p:tags r:id="rId55"/>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a:latin typeface="CiscoSansTT Light" panose="020B0503020201020303" pitchFamily="34" charset="0"/>
              <a:sym typeface="CiscoSansTT Light" panose="020B0503020201020303" pitchFamily="34" charset="0"/>
            </a:endParaRPr>
          </a:p>
        </p:txBody>
      </p:sp>
      <p:sp>
        <p:nvSpPr>
          <p:cNvPr id="1026" name="Title Placeholder 5"/>
          <p:cNvSpPr>
            <a:spLocks noGrp="1"/>
          </p:cNvSpPr>
          <p:nvPr>
            <p:ph type="title"/>
          </p:nvPr>
        </p:nvSpPr>
        <p:spPr bwMode="auto">
          <a:xfrm>
            <a:off x="437766" y="188914"/>
            <a:ext cx="8257032"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b"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1775343143"/>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3" r:id="rId47"/>
    <p:sldLayoutId id="2147484494" r:id="rId48"/>
    <p:sldLayoutId id="2147484496" r:id="rId49"/>
    <p:sldLayoutId id="2147484642" r:id="rId50"/>
    <p:sldLayoutId id="2147484811" r:id="rId51"/>
  </p:sldLayoutIdLst>
  <p:hf hdr="0" dt="0"/>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CiscoSansTT Light" panose="020B0503020201020303" pitchFamily="34" charset="0"/>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2892">
          <p15:clr>
            <a:srgbClr val="F26B43"/>
          </p15:clr>
        </p15:guide>
        <p15:guide id="11" pos="336">
          <p15:clr>
            <a:srgbClr val="F26B43"/>
          </p15:clr>
        </p15:guide>
        <p15:guide id="12" pos="5424">
          <p15:clr>
            <a:srgbClr val="F26B43"/>
          </p15:clr>
        </p15:guide>
        <p15:guide id="13" orient="horz" pos="757">
          <p15:clr>
            <a:srgbClr val="F26B43"/>
          </p15:clr>
        </p15:guide>
        <p15:guide id="14" orient="horz" pos="324">
          <p15:clr>
            <a:srgbClr val="F26B43"/>
          </p15:clr>
        </p15:guide>
        <p15:guide id="15" pos="2876">
          <p15:clr>
            <a:srgbClr val="F26B43"/>
          </p15:clr>
        </p15:guide>
        <p15:guide id="16" orient="horz" pos="1620">
          <p15:clr>
            <a:srgbClr val="F26B43"/>
          </p15:clr>
        </p15:guide>
        <p15:guide id="17" orient="horz" pos="50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1738"/>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grpSp>
        <p:nvGrpSpPr>
          <p:cNvPr id="15" name="Group 14">
            <a:extLst>
              <a:ext uri="{FF2B5EF4-FFF2-40B4-BE49-F238E27FC236}">
                <a16:creationId xmlns:a16="http://schemas.microsoft.com/office/drawing/2014/main" id="{CBED5B83-1E8D-644B-9D99-73AF8BF11929}"/>
              </a:ext>
            </a:extLst>
          </p:cNvPr>
          <p:cNvGrpSpPr/>
          <p:nvPr userDrawn="1"/>
        </p:nvGrpSpPr>
        <p:grpSpPr>
          <a:xfrm>
            <a:off x="528763" y="4712481"/>
            <a:ext cx="921665" cy="191516"/>
            <a:chOff x="528763" y="4734321"/>
            <a:chExt cx="816561" cy="169676"/>
          </a:xfrm>
        </p:grpSpPr>
        <p:grpSp>
          <p:nvGrpSpPr>
            <p:cNvPr id="16" name="Graphic 2">
              <a:extLst>
                <a:ext uri="{FF2B5EF4-FFF2-40B4-BE49-F238E27FC236}">
                  <a16:creationId xmlns:a16="http://schemas.microsoft.com/office/drawing/2014/main" id="{B4346FFB-18F0-A14C-88D9-6B596E64AD83}"/>
                </a:ext>
              </a:extLst>
            </p:cNvPr>
            <p:cNvGrpSpPr/>
            <p:nvPr userDrawn="1"/>
          </p:nvGrpSpPr>
          <p:grpSpPr>
            <a:xfrm>
              <a:off x="896434" y="4795886"/>
              <a:ext cx="448890" cy="108111"/>
              <a:chOff x="4433187" y="1865375"/>
              <a:chExt cx="2298157" cy="553493"/>
            </a:xfrm>
            <a:solidFill>
              <a:schemeClr val="tx2"/>
            </a:solidFill>
          </p:grpSpPr>
          <p:sp>
            <p:nvSpPr>
              <p:cNvPr id="18" name="Freeform 17">
                <a:extLst>
                  <a:ext uri="{FF2B5EF4-FFF2-40B4-BE49-F238E27FC236}">
                    <a16:creationId xmlns:a16="http://schemas.microsoft.com/office/drawing/2014/main" id="{042A2B56-6FEB-F54C-A2BC-5EE3D63C0C2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19" name="Freeform 18">
                <a:extLst>
                  <a:ext uri="{FF2B5EF4-FFF2-40B4-BE49-F238E27FC236}">
                    <a16:creationId xmlns:a16="http://schemas.microsoft.com/office/drawing/2014/main" id="{CFB12BFD-05F3-FA48-9138-1112F65A4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0" name="Freeform 19">
                <a:extLst>
                  <a:ext uri="{FF2B5EF4-FFF2-40B4-BE49-F238E27FC236}">
                    <a16:creationId xmlns:a16="http://schemas.microsoft.com/office/drawing/2014/main" id="{83D9EA9D-4EFB-104F-966A-6971C09C94F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3436A28A-6312-9E42-8194-07996A6A6509}"/>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47821BB3-D7E0-304B-997D-9FFA9A362889}"/>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58C95125-B3C6-5648-A684-B284AD3181C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7" name="Freeform 6">
              <a:extLst>
                <a:ext uri="{FF2B5EF4-FFF2-40B4-BE49-F238E27FC236}">
                  <a16:creationId xmlns:a16="http://schemas.microsoft.com/office/drawing/2014/main" id="{EFF30873-2CCF-204E-8D5E-18B9F31E7799}"/>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2887769821"/>
      </p:ext>
    </p:extLst>
  </p:cSld>
  <p:clrMap bg1="lt1" tx1="dk1" bg2="lt2" tx2="dk2" accent1="accent1" accent2="accent2" accent3="accent3" accent4="accent4" accent5="accent5" accent6="accent6" hlink="hlink" folHlink="folHlink"/>
  <p:sldLayoutIdLst>
    <p:sldLayoutId id="2147484602" r:id="rId1"/>
    <p:sldLayoutId id="2147484603" r:id="rId2"/>
    <p:sldLayoutId id="2147484604" r:id="rId3"/>
    <p:sldLayoutId id="2147484605" r:id="rId4"/>
    <p:sldLayoutId id="2147484606" r:id="rId5"/>
    <p:sldLayoutId id="2147484607" r:id="rId6"/>
    <p:sldLayoutId id="2147484608" r:id="rId7"/>
    <p:sldLayoutId id="2147484609" r:id="rId8"/>
    <p:sldLayoutId id="2147484610" r:id="rId9"/>
    <p:sldLayoutId id="2147484611" r:id="rId10"/>
    <p:sldLayoutId id="2147484612" r:id="rId11"/>
    <p:sldLayoutId id="2147484613" r:id="rId12"/>
    <p:sldLayoutId id="2147484614" r:id="rId13"/>
    <p:sldLayoutId id="2147484615" r:id="rId14"/>
    <p:sldLayoutId id="2147484616" r:id="rId15"/>
    <p:sldLayoutId id="2147484617" r:id="rId16"/>
    <p:sldLayoutId id="2147484618" r:id="rId17"/>
    <p:sldLayoutId id="2147484619" r:id="rId18"/>
    <p:sldLayoutId id="2147484620" r:id="rId19"/>
    <p:sldLayoutId id="2147484621" r:id="rId20"/>
    <p:sldLayoutId id="2147484622" r:id="rId21"/>
    <p:sldLayoutId id="2147484623" r:id="rId22"/>
    <p:sldLayoutId id="2147484624" r:id="rId23"/>
    <p:sldLayoutId id="2147484625" r:id="rId24"/>
    <p:sldLayoutId id="2147484626" r:id="rId25"/>
    <p:sldLayoutId id="2147484627" r:id="rId26"/>
    <p:sldLayoutId id="2147484628" r:id="rId27"/>
    <p:sldLayoutId id="2147484629" r:id="rId28"/>
    <p:sldLayoutId id="2147484630" r:id="rId29"/>
    <p:sldLayoutId id="2147484631" r:id="rId30"/>
    <p:sldLayoutId id="2147484632" r:id="rId31"/>
    <p:sldLayoutId id="2147484633" r:id="rId32"/>
    <p:sldLayoutId id="2147484634" r:id="rId33"/>
    <p:sldLayoutId id="2147484635" r:id="rId34"/>
    <p:sldLayoutId id="2147484636" r:id="rId35"/>
    <p:sldLayoutId id="2147484637" r:id="rId36"/>
    <p:sldLayoutId id="2147484638" r:id="rId37"/>
    <p:sldLayoutId id="2147484639" r:id="rId38"/>
    <p:sldLayoutId id="2147485199" r:id="rId39"/>
    <p:sldLayoutId id="2147485381" r:id="rId40"/>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accent2"/>
        </a:buClr>
        <a:buSzPct val="80000"/>
        <a:buFont typeface="Arial" charset="0"/>
        <a:buChar char="•"/>
        <a:defRPr lang="en-US" sz="1800" kern="1200" dirty="0">
          <a:solidFill>
            <a:schemeClr val="tx1"/>
          </a:solidFill>
          <a:latin typeface="+mn-lt"/>
          <a:ea typeface="ＭＳ Ｐゴシック" charset="0"/>
          <a:cs typeface="CiscoSans"/>
        </a:defRPr>
      </a:lvl1pPr>
      <a:lvl2pPr marL="285750" indent="-114300" algn="l" defTabSz="684213" rtl="0" eaLnBrk="1" fontAlgn="base" hangingPunct="1">
        <a:lnSpc>
          <a:spcPct val="95000"/>
        </a:lnSpc>
        <a:spcBef>
          <a:spcPts val="600"/>
        </a:spcBef>
        <a:spcAft>
          <a:spcPct val="0"/>
        </a:spcAft>
        <a:buClr>
          <a:schemeClr val="accent2"/>
        </a:buClr>
        <a:buSzPct val="80000"/>
        <a:buFont typeface="System Font Regular"/>
        <a:buChar char="-"/>
        <a:tabLst>
          <a:tab pos="171450" algn="l"/>
        </a:tabLst>
        <a:defRPr lang="en-US" sz="1600" kern="1200" dirty="0">
          <a:solidFill>
            <a:schemeClr val="tx1"/>
          </a:solidFill>
          <a:latin typeface="+mn-lt"/>
          <a:ea typeface="ＭＳ Ｐゴシック" charset="0"/>
          <a:cs typeface="CiscoSans"/>
        </a:defRPr>
      </a:lvl2pPr>
      <a:lvl3pPr marL="400050" indent="-117475" algn="l" defTabSz="684213" rtl="0" eaLnBrk="1" fontAlgn="base" hangingPunct="1">
        <a:lnSpc>
          <a:spcPct val="95000"/>
        </a:lnSpc>
        <a:spcBef>
          <a:spcPts val="625"/>
        </a:spcBef>
        <a:spcAft>
          <a:spcPct val="0"/>
        </a:spcAft>
        <a:buClr>
          <a:schemeClr val="accent2"/>
        </a:buClr>
        <a:buSzPct val="80000"/>
        <a:buFont typeface="Arial" charset="0"/>
        <a:buChar char="•"/>
        <a:tabLst/>
        <a:defRPr lang="en-US" sz="1400" kern="1200" dirty="0">
          <a:solidFill>
            <a:schemeClr val="tx1"/>
          </a:solidFill>
          <a:latin typeface="+mn-lt"/>
          <a:ea typeface="ＭＳ Ｐゴシック" charset="0"/>
          <a:cs typeface="CiscoSans"/>
        </a:defRPr>
      </a:lvl3pPr>
      <a:lvl4pPr marL="514350" indent="-117475" algn="l" defTabSz="684213" rtl="0" eaLnBrk="1" fontAlgn="base" hangingPunct="1">
        <a:lnSpc>
          <a:spcPct val="95000"/>
        </a:lnSpc>
        <a:spcBef>
          <a:spcPts val="625"/>
        </a:spcBef>
        <a:spcAft>
          <a:spcPct val="0"/>
        </a:spcAft>
        <a:buClr>
          <a:schemeClr val="accent2"/>
        </a:buClr>
        <a:buSzPct val="80000"/>
        <a:buFont typeface="System Font Regular"/>
        <a:buChar char="-"/>
        <a:tabLst/>
        <a:defRPr lang="en-US" sz="1200" kern="1200" dirty="0">
          <a:solidFill>
            <a:schemeClr val="tx1"/>
          </a:solidFill>
          <a:latin typeface="+mn-lt"/>
          <a:ea typeface="ＭＳ Ｐゴシック" charset="0"/>
          <a:cs typeface="CiscoSans"/>
        </a:defRPr>
      </a:lvl4pPr>
      <a:lvl5pPr marL="628650" indent="-114300" algn="l" defTabSz="684213" rtl="0" eaLnBrk="1" fontAlgn="base" hangingPunct="1">
        <a:lnSpc>
          <a:spcPct val="95000"/>
        </a:lnSpc>
        <a:spcBef>
          <a:spcPts val="625"/>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1023544580"/>
      </p:ext>
    </p:extLst>
  </p:cSld>
  <p:clrMap bg1="lt1" tx1="dk1" bg2="lt2" tx2="dk2" accent1="accent1" accent2="accent2" accent3="accent3" accent4="accent4" accent5="accent5" accent6="accent6" hlink="hlink" folHlink="folHlink"/>
  <p:sldLayoutIdLst>
    <p:sldLayoutId id="2147484644" r:id="rId1"/>
    <p:sldLayoutId id="2147484645" r:id="rId2"/>
    <p:sldLayoutId id="2147484646" r:id="rId3"/>
    <p:sldLayoutId id="2147484647" r:id="rId4"/>
    <p:sldLayoutId id="2147484648" r:id="rId5"/>
    <p:sldLayoutId id="2147484649" r:id="rId6"/>
    <p:sldLayoutId id="2147484650" r:id="rId7"/>
    <p:sldLayoutId id="2147484651" r:id="rId8"/>
    <p:sldLayoutId id="2147484652" r:id="rId9"/>
    <p:sldLayoutId id="2147484653" r:id="rId10"/>
    <p:sldLayoutId id="2147484654" r:id="rId11"/>
    <p:sldLayoutId id="2147484655" r:id="rId12"/>
    <p:sldLayoutId id="2147484656" r:id="rId13"/>
    <p:sldLayoutId id="2147484657" r:id="rId14"/>
    <p:sldLayoutId id="2147484658" r:id="rId15"/>
    <p:sldLayoutId id="2147484659" r:id="rId16"/>
    <p:sldLayoutId id="2147484660" r:id="rId17"/>
    <p:sldLayoutId id="2147484661" r:id="rId18"/>
    <p:sldLayoutId id="2147484662" r:id="rId19"/>
    <p:sldLayoutId id="2147484663" r:id="rId20"/>
    <p:sldLayoutId id="2147484664" r:id="rId21"/>
    <p:sldLayoutId id="2147484665" r:id="rId22"/>
    <p:sldLayoutId id="2147484666" r:id="rId23"/>
    <p:sldLayoutId id="2147484667" r:id="rId24"/>
    <p:sldLayoutId id="2147484668" r:id="rId25"/>
    <p:sldLayoutId id="2147484669" r:id="rId26"/>
    <p:sldLayoutId id="2147484670" r:id="rId27"/>
    <p:sldLayoutId id="2147484671" r:id="rId28"/>
    <p:sldLayoutId id="2147484672" r:id="rId29"/>
    <p:sldLayoutId id="2147484673" r:id="rId30"/>
    <p:sldLayoutId id="2147484674" r:id="rId31"/>
    <p:sldLayoutId id="2147484675" r:id="rId32"/>
    <p:sldLayoutId id="2147484676" r:id="rId33"/>
    <p:sldLayoutId id="2147484677" r:id="rId3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5">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00050" y="361355"/>
            <a:ext cx="8345488" cy="33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GB"/>
              <a:t>Title Goes Here</a:t>
            </a:r>
          </a:p>
        </p:txBody>
      </p:sp>
      <p:sp>
        <p:nvSpPr>
          <p:cNvPr id="2" name="Footer Placeholder 1">
            <a:extLst>
              <a:ext uri="{FF2B5EF4-FFF2-40B4-BE49-F238E27FC236}">
                <a16:creationId xmlns:a16="http://schemas.microsoft.com/office/drawing/2014/main" id="{0B05702D-EA35-4179-B6DC-BD684859F012}"/>
              </a:ext>
            </a:extLst>
          </p:cNvPr>
          <p:cNvSpPr>
            <a:spLocks noGrp="1"/>
          </p:cNvSpPr>
          <p:nvPr>
            <p:ph type="ftr" sz="quarter" idx="3"/>
          </p:nvPr>
        </p:nvSpPr>
        <p:spPr>
          <a:xfrm>
            <a:off x="400050" y="4774354"/>
            <a:ext cx="2676214" cy="92333"/>
          </a:xfrm>
          <a:prstGeom prst="rect">
            <a:avLst/>
          </a:prstGeom>
        </p:spPr>
        <p:txBody>
          <a:bodyPr vert="horz" wrap="none" lIns="0" tIns="0" rIns="0" bIns="0" rtlCol="0" anchor="ctr">
            <a:spAutoFit/>
          </a:bodyPr>
          <a:lstStyle>
            <a:lvl1pPr marL="0" marR="0" indent="0" algn="l" defTabSz="685800" rtl="0" eaLnBrk="1" fontAlgn="auto" latinLnBrk="0" hangingPunct="1">
              <a:lnSpc>
                <a:spcPct val="100000"/>
              </a:lnSpc>
              <a:spcBef>
                <a:spcPts val="0"/>
              </a:spcBef>
              <a:spcAft>
                <a:spcPts val="0"/>
              </a:spcAft>
              <a:buClrTx/>
              <a:buSzTx/>
              <a:buFontTx/>
              <a:buNone/>
              <a:tabLst/>
              <a:defRPr lang="en-US" sz="600" kern="1200" spc="20" smtClean="0">
                <a:solidFill>
                  <a:srgbClr val="FFFFFF">
                    <a:lumMod val="65000"/>
                  </a:srgbClr>
                </a:solidFill>
                <a:latin typeface="+mn-lt"/>
                <a:ea typeface="+mn-ea"/>
                <a:cs typeface="CiscoSans Thin"/>
              </a:defRPr>
            </a:lvl1pPr>
          </a:lstStyle>
          <a:p>
            <a:pPr>
              <a:defRPr/>
            </a:pPr>
            <a:r>
              <a:rPr lang="en-US"/>
              <a:t>© 2020 Cisco and/or its affiliates. All rights reserved. Cisco Confidential</a:t>
            </a:r>
          </a:p>
        </p:txBody>
      </p:sp>
      <p:grpSp>
        <p:nvGrpSpPr>
          <p:cNvPr id="5" name="Group 4">
            <a:extLst>
              <a:ext uri="{FF2B5EF4-FFF2-40B4-BE49-F238E27FC236}">
                <a16:creationId xmlns:a16="http://schemas.microsoft.com/office/drawing/2014/main" id="{FFE6B3D4-6EF8-45CC-A417-B9FDAFA27066}"/>
              </a:ext>
            </a:extLst>
          </p:cNvPr>
          <p:cNvGrpSpPr/>
          <p:nvPr userDrawn="1"/>
        </p:nvGrpSpPr>
        <p:grpSpPr>
          <a:xfrm>
            <a:off x="9186863" y="-1"/>
            <a:ext cx="719778" cy="5143501"/>
            <a:chOff x="12192000" y="-2"/>
            <a:chExt cx="959704" cy="6858001"/>
          </a:xfrm>
        </p:grpSpPr>
        <p:sp>
          <p:nvSpPr>
            <p:cNvPr id="27" name="Rectangle 26">
              <a:extLst>
                <a:ext uri="{FF2B5EF4-FFF2-40B4-BE49-F238E27FC236}">
                  <a16:creationId xmlns:a16="http://schemas.microsoft.com/office/drawing/2014/main" id="{BEFD7862-080A-45EF-8616-8946272C2B90}"/>
                </a:ext>
              </a:extLst>
            </p:cNvPr>
            <p:cNvSpPr/>
            <p:nvPr/>
          </p:nvSpPr>
          <p:spPr>
            <a:xfrm>
              <a:off x="12192000" y="2403006"/>
              <a:ext cx="429052" cy="850480"/>
            </a:xfrm>
            <a:prstGeom prst="rect">
              <a:avLst/>
            </a:prstGeom>
            <a:solidFill>
              <a:srgbClr val="1E4471"/>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28" name="Rectangle 27">
              <a:extLst>
                <a:ext uri="{FF2B5EF4-FFF2-40B4-BE49-F238E27FC236}">
                  <a16:creationId xmlns:a16="http://schemas.microsoft.com/office/drawing/2014/main" id="{88AC7DB0-3B58-4BE3-8A22-F187E231D7F7}"/>
                </a:ext>
              </a:extLst>
            </p:cNvPr>
            <p:cNvSpPr/>
            <p:nvPr/>
          </p:nvSpPr>
          <p:spPr>
            <a:xfrm>
              <a:off x="12192000" y="3604510"/>
              <a:ext cx="429052" cy="850480"/>
            </a:xfrm>
            <a:prstGeom prst="rect">
              <a:avLst/>
            </a:prstGeom>
            <a:solidFill>
              <a:srgbClr val="74BF4B"/>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29" name="Rectangle 28">
              <a:extLst>
                <a:ext uri="{FF2B5EF4-FFF2-40B4-BE49-F238E27FC236}">
                  <a16:creationId xmlns:a16="http://schemas.microsoft.com/office/drawing/2014/main" id="{6C4CB6D6-D9FD-481A-BB59-BEC48DE75994}"/>
                </a:ext>
              </a:extLst>
            </p:cNvPr>
            <p:cNvSpPr/>
            <p:nvPr/>
          </p:nvSpPr>
          <p:spPr>
            <a:xfrm>
              <a:off x="12192000" y="4806013"/>
              <a:ext cx="429052" cy="850480"/>
            </a:xfrm>
            <a:prstGeom prst="rect">
              <a:avLst/>
            </a:prstGeom>
            <a:solidFill>
              <a:srgbClr val="E3241B"/>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30" name="Rectangle 29">
              <a:extLst>
                <a:ext uri="{FF2B5EF4-FFF2-40B4-BE49-F238E27FC236}">
                  <a16:creationId xmlns:a16="http://schemas.microsoft.com/office/drawing/2014/main" id="{48B42AEA-8ABB-46D5-8C13-19F53A3C5E0B}"/>
                </a:ext>
              </a:extLst>
            </p:cNvPr>
            <p:cNvSpPr/>
            <p:nvPr/>
          </p:nvSpPr>
          <p:spPr>
            <a:xfrm>
              <a:off x="12192000" y="6007519"/>
              <a:ext cx="429052" cy="850480"/>
            </a:xfrm>
            <a:prstGeom prst="rect">
              <a:avLst/>
            </a:prstGeom>
            <a:solidFill>
              <a:srgbClr val="FBAB2C"/>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25" name="Rectangle 24">
              <a:extLst>
                <a:ext uri="{FF2B5EF4-FFF2-40B4-BE49-F238E27FC236}">
                  <a16:creationId xmlns:a16="http://schemas.microsoft.com/office/drawing/2014/main" id="{3F7D6909-8175-4E0C-8084-A6EAF92555EC}"/>
                </a:ext>
              </a:extLst>
            </p:cNvPr>
            <p:cNvSpPr/>
            <p:nvPr/>
          </p:nvSpPr>
          <p:spPr>
            <a:xfrm>
              <a:off x="12192000" y="-1"/>
              <a:ext cx="429052" cy="850480"/>
            </a:xfrm>
            <a:prstGeom prst="rect">
              <a:avLst/>
            </a:prstGeom>
            <a:solidFill>
              <a:srgbClr val="00BCEB"/>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26" name="Rectangle 25">
              <a:extLst>
                <a:ext uri="{FF2B5EF4-FFF2-40B4-BE49-F238E27FC236}">
                  <a16:creationId xmlns:a16="http://schemas.microsoft.com/office/drawing/2014/main" id="{79A9A73C-2AA5-4A11-BB38-18CFA4914382}"/>
                </a:ext>
              </a:extLst>
            </p:cNvPr>
            <p:cNvSpPr/>
            <p:nvPr/>
          </p:nvSpPr>
          <p:spPr>
            <a:xfrm>
              <a:off x="12192000" y="1201503"/>
              <a:ext cx="429052" cy="850480"/>
            </a:xfrm>
            <a:prstGeom prst="rect">
              <a:avLst/>
            </a:prstGeom>
            <a:solidFill>
              <a:srgbClr val="0D274D"/>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11" name="Rectangle 10">
              <a:extLst>
                <a:ext uri="{FF2B5EF4-FFF2-40B4-BE49-F238E27FC236}">
                  <a16:creationId xmlns:a16="http://schemas.microsoft.com/office/drawing/2014/main" id="{8CCE48E2-5B79-4701-8DFD-1A5113832C50}"/>
                </a:ext>
              </a:extLst>
            </p:cNvPr>
            <p:cNvSpPr/>
            <p:nvPr userDrawn="1"/>
          </p:nvSpPr>
          <p:spPr>
            <a:xfrm>
              <a:off x="12722652" y="-2"/>
              <a:ext cx="429052" cy="850478"/>
            </a:xfrm>
            <a:prstGeom prst="rect">
              <a:avLst/>
            </a:prstGeom>
            <a:solidFill>
              <a:srgbClr val="9E9EA2"/>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sp>
          <p:nvSpPr>
            <p:cNvPr id="12" name="Rectangle 11">
              <a:extLst>
                <a:ext uri="{FF2B5EF4-FFF2-40B4-BE49-F238E27FC236}">
                  <a16:creationId xmlns:a16="http://schemas.microsoft.com/office/drawing/2014/main" id="{0303C02D-D89C-468D-9A78-3769A68AEBBC}"/>
                </a:ext>
              </a:extLst>
            </p:cNvPr>
            <p:cNvSpPr/>
            <p:nvPr userDrawn="1"/>
          </p:nvSpPr>
          <p:spPr>
            <a:xfrm>
              <a:off x="12722652" y="1201502"/>
              <a:ext cx="429052" cy="850478"/>
            </a:xfrm>
            <a:prstGeom prst="rect">
              <a:avLst/>
            </a:prstGeom>
            <a:solidFill>
              <a:srgbClr val="000000"/>
            </a:solidFill>
            <a:ln w="25400" cap="flat" cmpd="sng" algn="ctr">
              <a:noFill/>
              <a:prstDash val="solid"/>
            </a:ln>
            <a:effectLst/>
          </p:spPr>
          <p:txBody>
            <a:bodyPr rtlCol="0" anchor="t"/>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1E4471"/>
                </a:solidFill>
                <a:effectLst/>
                <a:uLnTx/>
                <a:uFillTx/>
                <a:latin typeface="CiscoSansTT ExtraLight"/>
                <a:ea typeface="+mn-ea"/>
                <a:cs typeface="+mn-cs"/>
              </a:endParaRPr>
            </a:p>
          </p:txBody>
        </p:sp>
      </p:grpSp>
    </p:spTree>
    <p:extLst>
      <p:ext uri="{BB962C8B-B14F-4D97-AF65-F5344CB8AC3E}">
        <p14:creationId xmlns:p14="http://schemas.microsoft.com/office/powerpoint/2010/main" val="4241569068"/>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 id="2147484684" r:id="rId4"/>
    <p:sldLayoutId id="2147484685" r:id="rId5"/>
    <p:sldLayoutId id="2147484686" r:id="rId6"/>
    <p:sldLayoutId id="2147484687" r:id="rId7"/>
    <p:sldLayoutId id="2147484688" r:id="rId8"/>
    <p:sldLayoutId id="2147484689" r:id="rId9"/>
    <p:sldLayoutId id="2147484690" r:id="rId10"/>
    <p:sldLayoutId id="2147484691" r:id="rId11"/>
    <p:sldLayoutId id="2147484692" r:id="rId12"/>
    <p:sldLayoutId id="2147484693" r:id="rId13"/>
    <p:sldLayoutId id="2147484694" r:id="rId14"/>
    <p:sldLayoutId id="2147484695" r:id="rId15"/>
    <p:sldLayoutId id="2147484696" r:id="rId16"/>
    <p:sldLayoutId id="2147484697" r:id="rId17"/>
    <p:sldLayoutId id="2147484698" r:id="rId18"/>
    <p:sldLayoutId id="2147484699" r:id="rId19"/>
    <p:sldLayoutId id="2147484700" r:id="rId20"/>
    <p:sldLayoutId id="2147484701" r:id="rId21"/>
    <p:sldLayoutId id="2147484702" r:id="rId22"/>
    <p:sldLayoutId id="2147484703" r:id="rId23"/>
    <p:sldLayoutId id="2147484704" r:id="rId24"/>
    <p:sldLayoutId id="2147484705" r:id="rId25"/>
    <p:sldLayoutId id="2147484706" r:id="rId26"/>
    <p:sldLayoutId id="2147484746" r:id="rId27"/>
  </p:sldLayoutIdLst>
  <p:hf sldNum="0" hdr="0" dt="0"/>
  <p:txStyles>
    <p:titleStyle>
      <a:lvl1pPr algn="l" defTabSz="684179" rtl="0" eaLnBrk="1" fontAlgn="base" hangingPunct="1">
        <a:lnSpc>
          <a:spcPct val="80000"/>
        </a:lnSpc>
        <a:spcBef>
          <a:spcPct val="0"/>
        </a:spcBef>
        <a:spcAft>
          <a:spcPct val="0"/>
        </a:spcAft>
        <a:defRPr lang="en-US" sz="2700" b="0" i="0" kern="1200" dirty="0">
          <a:solidFill>
            <a:srgbClr val="1E4471"/>
          </a:solidFill>
          <a:latin typeface="+mj-lt"/>
          <a:ea typeface="CiscoSansTT Thin" charset="0"/>
          <a:cs typeface="CiscoSansTT Thin" charset="0"/>
        </a:defRPr>
      </a:lvl1pPr>
      <a:lvl2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78"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55"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32"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09"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5" indent="-169855" algn="l" defTabSz="684179"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57" indent="-215888" algn="l" defTabSz="684179"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78" indent="-169855" algn="l" defTabSz="684179"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13"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47"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13" indent="-171437" algn="l" defTabSz="685743"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798" indent="-171414" algn="l" defTabSz="685743"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00" indent="0" algn="l" defTabSz="685743"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09" indent="-171437" algn="l" defTabSz="68574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3" rtl="0" eaLnBrk="1" latinLnBrk="0" hangingPunct="1">
        <a:defRPr sz="1400" kern="1200">
          <a:solidFill>
            <a:schemeClr val="tx1"/>
          </a:solidFill>
          <a:latin typeface="+mn-lt"/>
          <a:ea typeface="+mn-ea"/>
          <a:cs typeface="+mn-cs"/>
        </a:defRPr>
      </a:lvl1pPr>
      <a:lvl2pPr marL="342869" algn="l" defTabSz="685743" rtl="0" eaLnBrk="1" latinLnBrk="0" hangingPunct="1">
        <a:defRPr sz="1400" kern="1200">
          <a:solidFill>
            <a:schemeClr val="tx1"/>
          </a:solidFill>
          <a:latin typeface="+mn-lt"/>
          <a:ea typeface="+mn-ea"/>
          <a:cs typeface="+mn-cs"/>
        </a:defRPr>
      </a:lvl2pPr>
      <a:lvl3pPr marL="685743" algn="l" defTabSz="685743" rtl="0" eaLnBrk="1" latinLnBrk="0" hangingPunct="1">
        <a:defRPr sz="1400" kern="1200">
          <a:solidFill>
            <a:schemeClr val="tx1"/>
          </a:solidFill>
          <a:latin typeface="+mn-lt"/>
          <a:ea typeface="+mn-ea"/>
          <a:cs typeface="+mn-cs"/>
        </a:defRPr>
      </a:lvl3pPr>
      <a:lvl4pPr marL="1028613" algn="l" defTabSz="685743" rtl="0" eaLnBrk="1" latinLnBrk="0" hangingPunct="1">
        <a:defRPr sz="1400" kern="1200">
          <a:solidFill>
            <a:schemeClr val="tx1"/>
          </a:solidFill>
          <a:latin typeface="+mn-lt"/>
          <a:ea typeface="+mn-ea"/>
          <a:cs typeface="+mn-cs"/>
        </a:defRPr>
      </a:lvl4pPr>
      <a:lvl5pPr marL="1371487" algn="l" defTabSz="685743" rtl="0" eaLnBrk="1" latinLnBrk="0" hangingPunct="1">
        <a:defRPr sz="1400" kern="1200">
          <a:solidFill>
            <a:schemeClr val="tx1"/>
          </a:solidFill>
          <a:latin typeface="+mn-lt"/>
          <a:ea typeface="+mn-ea"/>
          <a:cs typeface="+mn-cs"/>
        </a:defRPr>
      </a:lvl5pPr>
      <a:lvl6pPr marL="1714355" algn="l" defTabSz="685743" rtl="0" eaLnBrk="1" latinLnBrk="0" hangingPunct="1">
        <a:defRPr sz="1400" kern="1200">
          <a:solidFill>
            <a:schemeClr val="tx1"/>
          </a:solidFill>
          <a:latin typeface="+mn-lt"/>
          <a:ea typeface="+mn-ea"/>
          <a:cs typeface="+mn-cs"/>
        </a:defRPr>
      </a:lvl6pPr>
      <a:lvl7pPr marL="2057230" algn="l" defTabSz="685743" rtl="0" eaLnBrk="1" latinLnBrk="0" hangingPunct="1">
        <a:defRPr sz="1400" kern="1200">
          <a:solidFill>
            <a:schemeClr val="tx1"/>
          </a:solidFill>
          <a:latin typeface="+mn-lt"/>
          <a:ea typeface="+mn-ea"/>
          <a:cs typeface="+mn-cs"/>
        </a:defRPr>
      </a:lvl7pPr>
      <a:lvl8pPr marL="2400100" algn="l" defTabSz="685743" rtl="0" eaLnBrk="1" latinLnBrk="0" hangingPunct="1">
        <a:defRPr sz="1400" kern="1200">
          <a:solidFill>
            <a:schemeClr val="tx1"/>
          </a:solidFill>
          <a:latin typeface="+mn-lt"/>
          <a:ea typeface="+mn-ea"/>
          <a:cs typeface="+mn-cs"/>
        </a:defRPr>
      </a:lvl8pPr>
      <a:lvl9pPr marL="2742974" algn="l" defTabSz="68574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864">
          <p15:clr>
            <a:srgbClr val="F26B43"/>
          </p15:clr>
        </p15:guide>
        <p15:guide id="5" orient="horz" pos="360">
          <p15:clr>
            <a:srgbClr val="F26B43"/>
          </p15:clr>
        </p15:guide>
        <p15:guide id="6" pos="2876">
          <p15:clr>
            <a:srgbClr val="F26B43"/>
          </p15:clr>
        </p15:guide>
        <p15:guide id="7" orient="horz" pos="720">
          <p15:clr>
            <a:srgbClr val="F26B43"/>
          </p15:clr>
        </p15:guide>
        <p15:guide id="8" pos="7344">
          <p15:clr>
            <a:srgbClr val="F26B43"/>
          </p15:clr>
        </p15:guide>
        <p15:guide id="9" orient="horz" pos="4008">
          <p15:clr>
            <a:srgbClr val="F26B43"/>
          </p15:clr>
        </p15:guide>
        <p15:guide id="10" orient="horz" pos="96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5"/>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38" imgW="425" imgH="424" progId="TCLayout.ActiveDocument.1">
                  <p:embed/>
                </p:oleObj>
              </mc:Choice>
              <mc:Fallback>
                <p:oleObj name="think-cell Slide" r:id="rId38"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39"/>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6"/>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1" y="4741656"/>
            <a:ext cx="3401050" cy="154518"/>
          </a:xfrm>
          <a:prstGeom prst="rect">
            <a:avLst/>
          </a:prstGeom>
          <a:noFill/>
          <a:ln w="9525">
            <a:noFill/>
            <a:miter lim="800000"/>
            <a:headEnd/>
            <a:tailEnd/>
          </a:ln>
          <a:effectLst/>
        </p:spPr>
        <p:txBody>
          <a:bodyPr wrap="square" lIns="61586" tIns="30792" rIns="61586" bIns="30792" anchor="b">
            <a:spAutoFit/>
          </a:bodyPr>
          <a:lstStyle/>
          <a:p>
            <a:pPr defTabSz="610714"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7"/>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3645586910"/>
      </p:ext>
    </p:extLst>
  </p:cSld>
  <p:clrMap bg1="lt1" tx1="dk1" bg2="lt2" tx2="dk2" accent1="accent1" accent2="accent2" accent3="accent3" accent4="accent4" accent5="accent5" accent6="accent6" hlink="hlink" folHlink="folHlink"/>
  <p:sldLayoutIdLst>
    <p:sldLayoutId id="2147484710" r:id="rId1"/>
    <p:sldLayoutId id="2147484711" r:id="rId2"/>
    <p:sldLayoutId id="2147484712" r:id="rId3"/>
    <p:sldLayoutId id="2147484713" r:id="rId4"/>
    <p:sldLayoutId id="2147484714" r:id="rId5"/>
    <p:sldLayoutId id="2147484715" r:id="rId6"/>
    <p:sldLayoutId id="2147484716" r:id="rId7"/>
    <p:sldLayoutId id="2147484717" r:id="rId8"/>
    <p:sldLayoutId id="2147484718" r:id="rId9"/>
    <p:sldLayoutId id="2147484719" r:id="rId10"/>
    <p:sldLayoutId id="2147484720" r:id="rId11"/>
    <p:sldLayoutId id="2147484721" r:id="rId12"/>
    <p:sldLayoutId id="2147484722" r:id="rId13"/>
    <p:sldLayoutId id="2147484723" r:id="rId14"/>
    <p:sldLayoutId id="2147484724" r:id="rId15"/>
    <p:sldLayoutId id="2147484725" r:id="rId16"/>
    <p:sldLayoutId id="2147484726" r:id="rId17"/>
    <p:sldLayoutId id="2147484727" r:id="rId18"/>
    <p:sldLayoutId id="2147484728" r:id="rId19"/>
    <p:sldLayoutId id="2147484729" r:id="rId20"/>
    <p:sldLayoutId id="2147484730" r:id="rId21"/>
    <p:sldLayoutId id="2147484731" r:id="rId22"/>
    <p:sldLayoutId id="2147484732" r:id="rId23"/>
    <p:sldLayoutId id="2147484733" r:id="rId24"/>
    <p:sldLayoutId id="2147484734" r:id="rId25"/>
    <p:sldLayoutId id="2147484735" r:id="rId26"/>
    <p:sldLayoutId id="2147484736" r:id="rId27"/>
    <p:sldLayoutId id="2147484737" r:id="rId28"/>
    <p:sldLayoutId id="2147484738" r:id="rId29"/>
    <p:sldLayoutId id="2147484739" r:id="rId30"/>
    <p:sldLayoutId id="2147484740" r:id="rId31"/>
    <p:sldLayoutId id="2147484741" r:id="rId32"/>
  </p:sldLayoutIdLst>
  <p:txStyles>
    <p:titleStyle>
      <a:lvl1pPr algn="l" defTabSz="684179"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78"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55"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32"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09"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5" indent="-169855" algn="l" defTabSz="684179"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57" indent="-215888" algn="l" defTabSz="684179"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78" indent="-169855" algn="l" defTabSz="684179"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13"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47"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13" indent="-171437" algn="l" defTabSz="685743"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798" indent="-171414" algn="l" defTabSz="685743"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00" indent="0" algn="l" defTabSz="685743"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09" indent="-171437" algn="l" defTabSz="68574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3" rtl="0" eaLnBrk="1" latinLnBrk="0" hangingPunct="1">
        <a:defRPr sz="1400" kern="1200">
          <a:solidFill>
            <a:schemeClr val="tx1"/>
          </a:solidFill>
          <a:latin typeface="+mn-lt"/>
          <a:ea typeface="+mn-ea"/>
          <a:cs typeface="+mn-cs"/>
        </a:defRPr>
      </a:lvl1pPr>
      <a:lvl2pPr marL="342869" algn="l" defTabSz="685743" rtl="0" eaLnBrk="1" latinLnBrk="0" hangingPunct="1">
        <a:defRPr sz="1400" kern="1200">
          <a:solidFill>
            <a:schemeClr val="tx1"/>
          </a:solidFill>
          <a:latin typeface="+mn-lt"/>
          <a:ea typeface="+mn-ea"/>
          <a:cs typeface="+mn-cs"/>
        </a:defRPr>
      </a:lvl2pPr>
      <a:lvl3pPr marL="685743" algn="l" defTabSz="685743" rtl="0" eaLnBrk="1" latinLnBrk="0" hangingPunct="1">
        <a:defRPr sz="1400" kern="1200">
          <a:solidFill>
            <a:schemeClr val="tx1"/>
          </a:solidFill>
          <a:latin typeface="+mn-lt"/>
          <a:ea typeface="+mn-ea"/>
          <a:cs typeface="+mn-cs"/>
        </a:defRPr>
      </a:lvl3pPr>
      <a:lvl4pPr marL="1028613" algn="l" defTabSz="685743" rtl="0" eaLnBrk="1" latinLnBrk="0" hangingPunct="1">
        <a:defRPr sz="1400" kern="1200">
          <a:solidFill>
            <a:schemeClr val="tx1"/>
          </a:solidFill>
          <a:latin typeface="+mn-lt"/>
          <a:ea typeface="+mn-ea"/>
          <a:cs typeface="+mn-cs"/>
        </a:defRPr>
      </a:lvl4pPr>
      <a:lvl5pPr marL="1371487" algn="l" defTabSz="685743" rtl="0" eaLnBrk="1" latinLnBrk="0" hangingPunct="1">
        <a:defRPr sz="1400" kern="1200">
          <a:solidFill>
            <a:schemeClr val="tx1"/>
          </a:solidFill>
          <a:latin typeface="+mn-lt"/>
          <a:ea typeface="+mn-ea"/>
          <a:cs typeface="+mn-cs"/>
        </a:defRPr>
      </a:lvl5pPr>
      <a:lvl6pPr marL="1714355" algn="l" defTabSz="685743" rtl="0" eaLnBrk="1" latinLnBrk="0" hangingPunct="1">
        <a:defRPr sz="1400" kern="1200">
          <a:solidFill>
            <a:schemeClr val="tx1"/>
          </a:solidFill>
          <a:latin typeface="+mn-lt"/>
          <a:ea typeface="+mn-ea"/>
          <a:cs typeface="+mn-cs"/>
        </a:defRPr>
      </a:lvl6pPr>
      <a:lvl7pPr marL="2057230" algn="l" defTabSz="685743" rtl="0" eaLnBrk="1" latinLnBrk="0" hangingPunct="1">
        <a:defRPr sz="1400" kern="1200">
          <a:solidFill>
            <a:schemeClr val="tx1"/>
          </a:solidFill>
          <a:latin typeface="+mn-lt"/>
          <a:ea typeface="+mn-ea"/>
          <a:cs typeface="+mn-cs"/>
        </a:defRPr>
      </a:lvl7pPr>
      <a:lvl8pPr marL="2400100" algn="l" defTabSz="685743" rtl="0" eaLnBrk="1" latinLnBrk="0" hangingPunct="1">
        <a:defRPr sz="1400" kern="1200">
          <a:solidFill>
            <a:schemeClr val="tx1"/>
          </a:solidFill>
          <a:latin typeface="+mn-lt"/>
          <a:ea typeface="+mn-ea"/>
          <a:cs typeface="+mn-cs"/>
        </a:defRPr>
      </a:lvl8pPr>
      <a:lvl9pPr marL="2742974" algn="l" defTabSz="68574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p15:clr>
            <a:srgbClr val="F26B43"/>
          </p15:clr>
        </p15:guide>
        <p15:guide id="9" pos="333">
          <p15:clr>
            <a:srgbClr val="F26B43"/>
          </p15:clr>
        </p15:guide>
        <p15:guide id="10" pos="5424">
          <p15:clr>
            <a:srgbClr val="F26B43"/>
          </p15:clr>
        </p15:guide>
        <p15:guide id="11" orient="horz" pos="204">
          <p15:clr>
            <a:srgbClr val="F26B43"/>
          </p15:clr>
        </p15:guide>
        <p15:guide id="14" orient="horz" pos="684">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25A130-5B39-4CC1-9BB2-E18DD7F919D4}"/>
              </a:ext>
            </a:extLst>
          </p:cNvPr>
          <p:cNvGraphicFramePr>
            <a:graphicFrameLocks noChangeAspect="1"/>
          </p:cNvGraphicFramePr>
          <p:nvPr userDrawn="1">
            <p:custDataLst>
              <p:tags r:id="rId2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31" imgW="395" imgH="396" progId="TCLayout.ActiveDocument.1">
                  <p:embed/>
                </p:oleObj>
              </mc:Choice>
              <mc:Fallback>
                <p:oleObj name="think-cell Slide" r:id="rId31" imgW="395" imgH="396" progId="TCLayout.ActiveDocument.1">
                  <p:embed/>
                  <p:pic>
                    <p:nvPicPr>
                      <p:cNvPr id="3" name="Object 2" hidden="1">
                        <a:extLst>
                          <a:ext uri="{FF2B5EF4-FFF2-40B4-BE49-F238E27FC236}">
                            <a16:creationId xmlns:a16="http://schemas.microsoft.com/office/drawing/2014/main" id="{7025A130-5B39-4CC1-9BB2-E18DD7F919D4}"/>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62DCAEC-5A1B-48EF-9277-87A87255E7E9}"/>
              </a:ext>
            </a:extLst>
          </p:cNvPr>
          <p:cNvSpPr/>
          <p:nvPr userDrawn="1">
            <p:custDataLst>
              <p:tags r:id="rId30"/>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0" i="0" baseline="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506067119"/>
      </p:ext>
    </p:extLst>
  </p:cSld>
  <p:clrMap bg1="lt1" tx1="dk1" bg2="lt2" tx2="dk2" accent1="accent1" accent2="accent2" accent3="accent3" accent4="accent4" accent5="accent5" accent6="accent6" hlink="hlink" folHlink="folHlink"/>
  <p:sldLayoutIdLst>
    <p:sldLayoutId id="2147484750" r:id="rId1"/>
    <p:sldLayoutId id="2147484751" r:id="rId2"/>
    <p:sldLayoutId id="2147484752" r:id="rId3"/>
    <p:sldLayoutId id="2147484753" r:id="rId4"/>
    <p:sldLayoutId id="2147484754" r:id="rId5"/>
    <p:sldLayoutId id="2147484755" r:id="rId6"/>
    <p:sldLayoutId id="2147484756" r:id="rId7"/>
    <p:sldLayoutId id="2147484757" r:id="rId8"/>
    <p:sldLayoutId id="2147484758" r:id="rId9"/>
    <p:sldLayoutId id="2147484759" r:id="rId10"/>
    <p:sldLayoutId id="2147484760" r:id="rId11"/>
    <p:sldLayoutId id="2147484761" r:id="rId12"/>
    <p:sldLayoutId id="2147484762" r:id="rId13"/>
    <p:sldLayoutId id="2147484763" r:id="rId14"/>
    <p:sldLayoutId id="2147484764" r:id="rId15"/>
    <p:sldLayoutId id="2147484765" r:id="rId16"/>
    <p:sldLayoutId id="2147484766" r:id="rId17"/>
    <p:sldLayoutId id="2147484767" r:id="rId18"/>
    <p:sldLayoutId id="2147484768" r:id="rId19"/>
    <p:sldLayoutId id="2147484769" r:id="rId20"/>
    <p:sldLayoutId id="2147484770" r:id="rId21"/>
    <p:sldLayoutId id="2147484771" r:id="rId22"/>
    <p:sldLayoutId id="2147484772" r:id="rId23"/>
    <p:sldLayoutId id="2147484773" r:id="rId24"/>
    <p:sldLayoutId id="2147484774" r:id="rId25"/>
    <p:sldLayoutId id="2147484775" r:id="rId2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38" imgW="425" imgH="424" progId="TCLayout.ActiveDocument.1">
                  <p:embed/>
                </p:oleObj>
              </mc:Choice>
              <mc:Fallback>
                <p:oleObj name="think-cell Slide" r:id="rId38"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6"/>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7"/>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2282674509"/>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1" r:id="rId4"/>
    <p:sldLayoutId id="2147484782" r:id="rId5"/>
    <p:sldLayoutId id="2147484783" r:id="rId6"/>
    <p:sldLayoutId id="2147484784" r:id="rId7"/>
    <p:sldLayoutId id="2147484785" r:id="rId8"/>
    <p:sldLayoutId id="2147484786" r:id="rId9"/>
    <p:sldLayoutId id="2147484787" r:id="rId10"/>
    <p:sldLayoutId id="2147484788" r:id="rId11"/>
    <p:sldLayoutId id="2147484789" r:id="rId12"/>
    <p:sldLayoutId id="2147484790" r:id="rId13"/>
    <p:sldLayoutId id="2147484791" r:id="rId14"/>
    <p:sldLayoutId id="2147484792" r:id="rId15"/>
    <p:sldLayoutId id="2147484793" r:id="rId16"/>
    <p:sldLayoutId id="2147484794" r:id="rId17"/>
    <p:sldLayoutId id="2147484795" r:id="rId18"/>
    <p:sldLayoutId id="2147484796" r:id="rId19"/>
    <p:sldLayoutId id="2147484797" r:id="rId20"/>
    <p:sldLayoutId id="2147484798" r:id="rId21"/>
    <p:sldLayoutId id="2147484799" r:id="rId22"/>
    <p:sldLayoutId id="2147484800" r:id="rId23"/>
    <p:sldLayoutId id="2147484801" r:id="rId24"/>
    <p:sldLayoutId id="2147484802" r:id="rId25"/>
    <p:sldLayoutId id="2147484803" r:id="rId26"/>
    <p:sldLayoutId id="2147484804" r:id="rId27"/>
    <p:sldLayoutId id="2147484805" r:id="rId28"/>
    <p:sldLayoutId id="2147484806" r:id="rId29"/>
    <p:sldLayoutId id="2147484807" r:id="rId30"/>
    <p:sldLayoutId id="2147484808" r:id="rId31"/>
    <p:sldLayoutId id="2147484809" r:id="rId32"/>
  </p:sldLayoutIdLst>
  <p:txStyles>
    <p:titleStyle>
      <a:lvl1pPr algn="l" defTabSz="684196" rtl="0" eaLnBrk="1" fontAlgn="base" hangingPunct="1">
        <a:lnSpc>
          <a:spcPct val="80000"/>
        </a:lnSpc>
        <a:spcBef>
          <a:spcPct val="0"/>
        </a:spcBef>
        <a:spcAft>
          <a:spcPct val="0"/>
        </a:spcAft>
        <a:defRPr lang="en-US" sz="21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p15:clr>
            <a:srgbClr val="F26B43"/>
          </p15:clr>
        </p15:guide>
        <p15:guide id="9" pos="333">
          <p15:clr>
            <a:srgbClr val="F26B43"/>
          </p15:clr>
        </p15:guide>
        <p15:guide id="10" pos="5424">
          <p15:clr>
            <a:srgbClr val="F26B43"/>
          </p15:clr>
        </p15:guide>
        <p15:guide id="11" orient="horz" pos="204">
          <p15:clr>
            <a:srgbClr val="F26B43"/>
          </p15:clr>
        </p15:guide>
        <p15:guide id="14" orient="horz" pos="684">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00050" y="361355"/>
            <a:ext cx="8345488" cy="336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GB"/>
              <a:t>Title Goes Here</a:t>
            </a:r>
          </a:p>
        </p:txBody>
      </p:sp>
      <p:sp>
        <p:nvSpPr>
          <p:cNvPr id="2" name="Footer Placeholder 1">
            <a:extLst>
              <a:ext uri="{FF2B5EF4-FFF2-40B4-BE49-F238E27FC236}">
                <a16:creationId xmlns:a16="http://schemas.microsoft.com/office/drawing/2014/main" id="{0B05702D-EA35-4179-B6DC-BD684859F012}"/>
              </a:ext>
            </a:extLst>
          </p:cNvPr>
          <p:cNvSpPr>
            <a:spLocks noGrp="1"/>
          </p:cNvSpPr>
          <p:nvPr>
            <p:ph type="ftr" sz="quarter" idx="3"/>
          </p:nvPr>
        </p:nvSpPr>
        <p:spPr>
          <a:xfrm>
            <a:off x="400050" y="4751271"/>
            <a:ext cx="2771593" cy="138499"/>
          </a:xfrm>
          <a:prstGeom prst="rect">
            <a:avLst/>
          </a:prstGeom>
        </p:spPr>
        <p:txBody>
          <a:bodyPr vert="horz" wrap="none" lIns="0" tIns="0" rIns="0" bIns="0" rtlCol="0" anchor="ctr">
            <a:spAutoFit/>
          </a:bodyPr>
          <a:lstStyle>
            <a:lvl1pPr marL="0" marR="0" indent="0" algn="l" defTabSz="610714" rtl="0" eaLnBrk="1" fontAlgn="auto" latinLnBrk="0" hangingPunct="1">
              <a:lnSpc>
                <a:spcPct val="100000"/>
              </a:lnSpc>
              <a:spcBef>
                <a:spcPts val="0"/>
              </a:spcBef>
              <a:spcAft>
                <a:spcPts val="0"/>
              </a:spcAft>
              <a:buClrTx/>
              <a:buSzTx/>
              <a:buFontTx/>
              <a:buNone/>
              <a:tabLst/>
              <a:defRPr lang="en-US" sz="900" kern="1200" smtClean="0">
                <a:solidFill>
                  <a:schemeClr val="tx1">
                    <a:tint val="75000"/>
                  </a:schemeClr>
                </a:solidFill>
                <a:latin typeface="+mn-lt"/>
                <a:ea typeface="+mn-ea"/>
                <a:cs typeface="+mn-cs"/>
              </a:defRPr>
            </a:lvl1pPr>
          </a:lstStyle>
          <a:p>
            <a:pPr>
              <a:defRPr/>
            </a:pPr>
            <a:r>
              <a:rPr lang="en-US"/>
              <a:t>© 2020 Cisco and/or its affiliates. All rights reserved.</a:t>
            </a:r>
          </a:p>
        </p:txBody>
      </p:sp>
    </p:spTree>
    <p:extLst>
      <p:ext uri="{BB962C8B-B14F-4D97-AF65-F5344CB8AC3E}">
        <p14:creationId xmlns:p14="http://schemas.microsoft.com/office/powerpoint/2010/main" val="1124870494"/>
      </p:ext>
    </p:extLst>
  </p:cSld>
  <p:clrMap bg1="lt1" tx1="dk1" bg2="lt2" tx2="dk2" accent1="accent1" accent2="accent2" accent3="accent3" accent4="accent4" accent5="accent5" accent6="accent6" hlink="hlink" folHlink="folHlink"/>
  <p:sldLayoutIdLst>
    <p:sldLayoutId id="2147484813" r:id="rId1"/>
    <p:sldLayoutId id="2147484814" r:id="rId2"/>
    <p:sldLayoutId id="2147484815" r:id="rId3"/>
    <p:sldLayoutId id="2147484816" r:id="rId4"/>
    <p:sldLayoutId id="2147484817" r:id="rId5"/>
    <p:sldLayoutId id="2147484818" r:id="rId6"/>
    <p:sldLayoutId id="2147484819" r:id="rId7"/>
    <p:sldLayoutId id="2147484820" r:id="rId8"/>
    <p:sldLayoutId id="2147484821" r:id="rId9"/>
    <p:sldLayoutId id="2147484822" r:id="rId10"/>
    <p:sldLayoutId id="2147484823" r:id="rId11"/>
    <p:sldLayoutId id="2147484824" r:id="rId12"/>
    <p:sldLayoutId id="2147484825" r:id="rId13"/>
    <p:sldLayoutId id="2147484826" r:id="rId14"/>
    <p:sldLayoutId id="2147484827" r:id="rId15"/>
    <p:sldLayoutId id="2147484828" r:id="rId16"/>
    <p:sldLayoutId id="2147484829" r:id="rId17"/>
    <p:sldLayoutId id="2147484830" r:id="rId18"/>
    <p:sldLayoutId id="2147484831" r:id="rId19"/>
    <p:sldLayoutId id="2147484832" r:id="rId20"/>
    <p:sldLayoutId id="2147484833" r:id="rId21"/>
    <p:sldLayoutId id="2147484834" r:id="rId22"/>
    <p:sldLayoutId id="2147484835" r:id="rId23"/>
    <p:sldLayoutId id="2147484836" r:id="rId24"/>
    <p:sldLayoutId id="2147484837" r:id="rId25"/>
    <p:sldLayoutId id="2147484838" r:id="rId26"/>
    <p:sldLayoutId id="2147484839" r:id="rId27"/>
    <p:sldLayoutId id="2147484840" r:id="rId28"/>
  </p:sldLayoutIdLst>
  <p:hf sldNum="0" hdr="0" dt="0"/>
  <p:txStyles>
    <p:titleStyle>
      <a:lvl1pPr algn="l" defTabSz="684179" rtl="0" eaLnBrk="1" fontAlgn="base" hangingPunct="1">
        <a:lnSpc>
          <a:spcPct val="80000"/>
        </a:lnSpc>
        <a:spcBef>
          <a:spcPct val="0"/>
        </a:spcBef>
        <a:spcAft>
          <a:spcPct val="0"/>
        </a:spcAft>
        <a:defRPr lang="en-US" sz="2700" b="0" i="0" kern="1200" dirty="0">
          <a:solidFill>
            <a:srgbClr val="1E4471"/>
          </a:solidFill>
          <a:latin typeface="+mj-lt"/>
          <a:ea typeface="CiscoSansTT Thin" charset="0"/>
          <a:cs typeface="CiscoSansTT Thin" charset="0"/>
        </a:defRPr>
      </a:lvl1pPr>
      <a:lvl2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78"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55"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32"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09" algn="l" defTabSz="684179"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5" indent="-169855" algn="l" defTabSz="684179"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57" indent="-215888" algn="l" defTabSz="684179"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78" indent="-169855" algn="l" defTabSz="684179"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13"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47" indent="-169855" algn="l" defTabSz="684179"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13" indent="-171437" algn="l" defTabSz="685743"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798" indent="-171414" algn="l" defTabSz="685743"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00" indent="0" algn="l" defTabSz="685743"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09" indent="-171437" algn="l" defTabSz="68574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43" rtl="0" eaLnBrk="1" latinLnBrk="0" hangingPunct="1">
        <a:defRPr sz="1400" kern="1200">
          <a:solidFill>
            <a:schemeClr val="tx1"/>
          </a:solidFill>
          <a:latin typeface="+mn-lt"/>
          <a:ea typeface="+mn-ea"/>
          <a:cs typeface="+mn-cs"/>
        </a:defRPr>
      </a:lvl1pPr>
      <a:lvl2pPr marL="342869" algn="l" defTabSz="685743" rtl="0" eaLnBrk="1" latinLnBrk="0" hangingPunct="1">
        <a:defRPr sz="1400" kern="1200">
          <a:solidFill>
            <a:schemeClr val="tx1"/>
          </a:solidFill>
          <a:latin typeface="+mn-lt"/>
          <a:ea typeface="+mn-ea"/>
          <a:cs typeface="+mn-cs"/>
        </a:defRPr>
      </a:lvl2pPr>
      <a:lvl3pPr marL="685743" algn="l" defTabSz="685743" rtl="0" eaLnBrk="1" latinLnBrk="0" hangingPunct="1">
        <a:defRPr sz="1400" kern="1200">
          <a:solidFill>
            <a:schemeClr val="tx1"/>
          </a:solidFill>
          <a:latin typeface="+mn-lt"/>
          <a:ea typeface="+mn-ea"/>
          <a:cs typeface="+mn-cs"/>
        </a:defRPr>
      </a:lvl3pPr>
      <a:lvl4pPr marL="1028613" algn="l" defTabSz="685743" rtl="0" eaLnBrk="1" latinLnBrk="0" hangingPunct="1">
        <a:defRPr sz="1400" kern="1200">
          <a:solidFill>
            <a:schemeClr val="tx1"/>
          </a:solidFill>
          <a:latin typeface="+mn-lt"/>
          <a:ea typeface="+mn-ea"/>
          <a:cs typeface="+mn-cs"/>
        </a:defRPr>
      </a:lvl4pPr>
      <a:lvl5pPr marL="1371487" algn="l" defTabSz="685743" rtl="0" eaLnBrk="1" latinLnBrk="0" hangingPunct="1">
        <a:defRPr sz="1400" kern="1200">
          <a:solidFill>
            <a:schemeClr val="tx1"/>
          </a:solidFill>
          <a:latin typeface="+mn-lt"/>
          <a:ea typeface="+mn-ea"/>
          <a:cs typeface="+mn-cs"/>
        </a:defRPr>
      </a:lvl5pPr>
      <a:lvl6pPr marL="1714355" algn="l" defTabSz="685743" rtl="0" eaLnBrk="1" latinLnBrk="0" hangingPunct="1">
        <a:defRPr sz="1400" kern="1200">
          <a:solidFill>
            <a:schemeClr val="tx1"/>
          </a:solidFill>
          <a:latin typeface="+mn-lt"/>
          <a:ea typeface="+mn-ea"/>
          <a:cs typeface="+mn-cs"/>
        </a:defRPr>
      </a:lvl6pPr>
      <a:lvl7pPr marL="2057230" algn="l" defTabSz="685743" rtl="0" eaLnBrk="1" latinLnBrk="0" hangingPunct="1">
        <a:defRPr sz="1400" kern="1200">
          <a:solidFill>
            <a:schemeClr val="tx1"/>
          </a:solidFill>
          <a:latin typeface="+mn-lt"/>
          <a:ea typeface="+mn-ea"/>
          <a:cs typeface="+mn-cs"/>
        </a:defRPr>
      </a:lvl7pPr>
      <a:lvl8pPr marL="2400100" algn="l" defTabSz="685743" rtl="0" eaLnBrk="1" latinLnBrk="0" hangingPunct="1">
        <a:defRPr sz="1400" kern="1200">
          <a:solidFill>
            <a:schemeClr val="tx1"/>
          </a:solidFill>
          <a:latin typeface="+mn-lt"/>
          <a:ea typeface="+mn-ea"/>
          <a:cs typeface="+mn-cs"/>
        </a:defRPr>
      </a:lvl8pPr>
      <a:lvl9pPr marL="2742974" algn="l" defTabSz="685743"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864">
          <p15:clr>
            <a:srgbClr val="F26B43"/>
          </p15:clr>
        </p15:guide>
        <p15:guide id="5" orient="horz" pos="360">
          <p15:clr>
            <a:srgbClr val="F26B43"/>
          </p15:clr>
        </p15:guide>
        <p15:guide id="6" pos="2876">
          <p15:clr>
            <a:srgbClr val="F26B43"/>
          </p15:clr>
        </p15:guide>
        <p15:guide id="7" orient="horz" pos="720">
          <p15:clr>
            <a:srgbClr val="F26B43"/>
          </p15:clr>
        </p15:guide>
        <p15:guide id="8" pos="7344">
          <p15:clr>
            <a:srgbClr val="F26B43"/>
          </p15:clr>
        </p15:guide>
        <p15:guide id="9" orient="horz" pos="4008">
          <p15:clr>
            <a:srgbClr val="F26B43"/>
          </p15:clr>
        </p15:guide>
        <p15:guide id="10" orient="horz" pos="96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1738"/>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0"/>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44"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44"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grpSp>
        <p:nvGrpSpPr>
          <p:cNvPr id="15" name="Group 14">
            <a:extLst>
              <a:ext uri="{FF2B5EF4-FFF2-40B4-BE49-F238E27FC236}">
                <a16:creationId xmlns:a16="http://schemas.microsoft.com/office/drawing/2014/main" id="{CBED5B83-1E8D-644B-9D99-73AF8BF11929}"/>
              </a:ext>
            </a:extLst>
          </p:cNvPr>
          <p:cNvGrpSpPr/>
          <p:nvPr userDrawn="1"/>
        </p:nvGrpSpPr>
        <p:grpSpPr>
          <a:xfrm>
            <a:off x="528763" y="4712481"/>
            <a:ext cx="921665" cy="191516"/>
            <a:chOff x="528763" y="4734321"/>
            <a:chExt cx="816561" cy="169676"/>
          </a:xfrm>
        </p:grpSpPr>
        <p:grpSp>
          <p:nvGrpSpPr>
            <p:cNvPr id="16" name="Graphic 2">
              <a:extLst>
                <a:ext uri="{FF2B5EF4-FFF2-40B4-BE49-F238E27FC236}">
                  <a16:creationId xmlns:a16="http://schemas.microsoft.com/office/drawing/2014/main" id="{B4346FFB-18F0-A14C-88D9-6B596E64AD83}"/>
                </a:ext>
              </a:extLst>
            </p:cNvPr>
            <p:cNvGrpSpPr/>
            <p:nvPr userDrawn="1"/>
          </p:nvGrpSpPr>
          <p:grpSpPr>
            <a:xfrm>
              <a:off x="896434" y="4795886"/>
              <a:ext cx="448890" cy="108111"/>
              <a:chOff x="4433187" y="1865375"/>
              <a:chExt cx="2298157" cy="553493"/>
            </a:xfrm>
            <a:solidFill>
              <a:schemeClr val="tx2"/>
            </a:solidFill>
          </p:grpSpPr>
          <p:sp>
            <p:nvSpPr>
              <p:cNvPr id="18" name="Freeform 17">
                <a:extLst>
                  <a:ext uri="{FF2B5EF4-FFF2-40B4-BE49-F238E27FC236}">
                    <a16:creationId xmlns:a16="http://schemas.microsoft.com/office/drawing/2014/main" id="{042A2B56-6FEB-F54C-A2BC-5EE3D63C0C2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a:solidFill>
                    <a:schemeClr val="tx2"/>
                  </a:solidFill>
                </a:endParaRPr>
              </a:p>
            </p:txBody>
          </p:sp>
          <p:sp>
            <p:nvSpPr>
              <p:cNvPr id="19" name="Freeform 18">
                <a:extLst>
                  <a:ext uri="{FF2B5EF4-FFF2-40B4-BE49-F238E27FC236}">
                    <a16:creationId xmlns:a16="http://schemas.microsoft.com/office/drawing/2014/main" id="{CFB12BFD-05F3-FA48-9138-1112F65A4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a:solidFill>
                    <a:schemeClr val="tx2"/>
                  </a:solidFill>
                </a:endParaRPr>
              </a:p>
            </p:txBody>
          </p:sp>
          <p:sp>
            <p:nvSpPr>
              <p:cNvPr id="20" name="Freeform 19">
                <a:extLst>
                  <a:ext uri="{FF2B5EF4-FFF2-40B4-BE49-F238E27FC236}">
                    <a16:creationId xmlns:a16="http://schemas.microsoft.com/office/drawing/2014/main" id="{83D9EA9D-4EFB-104F-966A-6971C09C94F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a:solidFill>
                    <a:schemeClr val="tx2"/>
                  </a:solidFill>
                </a:endParaRPr>
              </a:p>
            </p:txBody>
          </p:sp>
          <p:sp>
            <p:nvSpPr>
              <p:cNvPr id="21" name="Freeform 20">
                <a:extLst>
                  <a:ext uri="{FF2B5EF4-FFF2-40B4-BE49-F238E27FC236}">
                    <a16:creationId xmlns:a16="http://schemas.microsoft.com/office/drawing/2014/main" id="{3436A28A-6312-9E42-8194-07996A6A6509}"/>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a:solidFill>
                    <a:schemeClr val="tx2"/>
                  </a:solidFill>
                </a:endParaRPr>
              </a:p>
            </p:txBody>
          </p:sp>
          <p:sp>
            <p:nvSpPr>
              <p:cNvPr id="22" name="Freeform 21">
                <a:extLst>
                  <a:ext uri="{FF2B5EF4-FFF2-40B4-BE49-F238E27FC236}">
                    <a16:creationId xmlns:a16="http://schemas.microsoft.com/office/drawing/2014/main" id="{47821BB3-D7E0-304B-997D-9FFA9A362889}"/>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a:solidFill>
                    <a:schemeClr val="tx2"/>
                  </a:solidFill>
                </a:endParaRPr>
              </a:p>
            </p:txBody>
          </p:sp>
          <p:sp>
            <p:nvSpPr>
              <p:cNvPr id="23" name="Freeform 22">
                <a:extLst>
                  <a:ext uri="{FF2B5EF4-FFF2-40B4-BE49-F238E27FC236}">
                    <a16:creationId xmlns:a16="http://schemas.microsoft.com/office/drawing/2014/main" id="{58C95125-B3C6-5648-A684-B284AD3181C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a:solidFill>
                    <a:schemeClr val="tx2"/>
                  </a:solidFill>
                </a:endParaRPr>
              </a:p>
            </p:txBody>
          </p:sp>
        </p:grpSp>
        <p:sp>
          <p:nvSpPr>
            <p:cNvPr id="17" name="Freeform 6">
              <a:extLst>
                <a:ext uri="{FF2B5EF4-FFF2-40B4-BE49-F238E27FC236}">
                  <a16:creationId xmlns:a16="http://schemas.microsoft.com/office/drawing/2014/main" id="{EFF30873-2CCF-204E-8D5E-18B9F31E7799}"/>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6" y="4799810"/>
            <a:ext cx="34010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832965169"/>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 id="2147484848" r:id="rId6"/>
    <p:sldLayoutId id="2147484849" r:id="rId7"/>
    <p:sldLayoutId id="2147484850" r:id="rId8"/>
    <p:sldLayoutId id="2147484851" r:id="rId9"/>
    <p:sldLayoutId id="2147484852" r:id="rId10"/>
    <p:sldLayoutId id="2147484853" r:id="rId11"/>
    <p:sldLayoutId id="2147484854" r:id="rId12"/>
    <p:sldLayoutId id="2147484855" r:id="rId13"/>
    <p:sldLayoutId id="2147484856" r:id="rId14"/>
    <p:sldLayoutId id="2147484857" r:id="rId15"/>
    <p:sldLayoutId id="2147484858" r:id="rId16"/>
    <p:sldLayoutId id="2147484859" r:id="rId17"/>
    <p:sldLayoutId id="2147484860" r:id="rId18"/>
    <p:sldLayoutId id="2147484861" r:id="rId19"/>
    <p:sldLayoutId id="2147484862" r:id="rId20"/>
    <p:sldLayoutId id="2147484863" r:id="rId21"/>
    <p:sldLayoutId id="2147484864" r:id="rId22"/>
    <p:sldLayoutId id="2147484865" r:id="rId23"/>
    <p:sldLayoutId id="2147484866" r:id="rId24"/>
    <p:sldLayoutId id="2147484867" r:id="rId25"/>
    <p:sldLayoutId id="2147484868" r:id="rId26"/>
    <p:sldLayoutId id="2147484869" r:id="rId27"/>
    <p:sldLayoutId id="2147484870" r:id="rId28"/>
    <p:sldLayoutId id="2147484871" r:id="rId29"/>
    <p:sldLayoutId id="2147484872" r:id="rId30"/>
    <p:sldLayoutId id="2147484873" r:id="rId31"/>
    <p:sldLayoutId id="2147484874" r:id="rId32"/>
    <p:sldLayoutId id="2147484875" r:id="rId33"/>
    <p:sldLayoutId id="2147484876" r:id="rId34"/>
    <p:sldLayoutId id="2147484877" r:id="rId35"/>
    <p:sldLayoutId id="2147484878" r:id="rId36"/>
    <p:sldLayoutId id="2147484879" r:id="rId37"/>
    <p:sldLayoutId id="2147484880" r:id="rId38"/>
    <p:sldLayoutId id="2147484881" r:id="rId39"/>
  </p:sldLayoutIdLst>
  <p:txStyles>
    <p:titleStyle>
      <a:lvl1pPr algn="l" defTabSz="684213"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accent2"/>
        </a:buClr>
        <a:buSzPct val="80000"/>
        <a:buFont typeface="Arial" charset="0"/>
        <a:buChar char="•"/>
        <a:defRPr lang="en-US" sz="1800" kern="1200" dirty="0">
          <a:solidFill>
            <a:schemeClr val="tx1"/>
          </a:solidFill>
          <a:latin typeface="+mn-lt"/>
          <a:ea typeface="ＭＳ Ｐゴシック" charset="0"/>
          <a:cs typeface="CiscoSans"/>
        </a:defRPr>
      </a:lvl1pPr>
      <a:lvl2pPr marL="285750" indent="-114300" algn="l" defTabSz="684213" rtl="0" eaLnBrk="1" fontAlgn="base" hangingPunct="1">
        <a:lnSpc>
          <a:spcPct val="95000"/>
        </a:lnSpc>
        <a:spcBef>
          <a:spcPts val="600"/>
        </a:spcBef>
        <a:spcAft>
          <a:spcPct val="0"/>
        </a:spcAft>
        <a:buClr>
          <a:schemeClr val="accent2"/>
        </a:buClr>
        <a:buSzPct val="80000"/>
        <a:buFont typeface="System Font Regular"/>
        <a:buChar char="-"/>
        <a:tabLst>
          <a:tab pos="171450" algn="l"/>
        </a:tabLst>
        <a:defRPr lang="en-US" sz="1600" kern="1200" dirty="0">
          <a:solidFill>
            <a:schemeClr val="tx1"/>
          </a:solidFill>
          <a:latin typeface="+mn-lt"/>
          <a:ea typeface="ＭＳ Ｐゴシック" charset="0"/>
          <a:cs typeface="CiscoSans"/>
        </a:defRPr>
      </a:lvl2pPr>
      <a:lvl3pPr marL="400050" indent="-117475" algn="l" defTabSz="684213" rtl="0" eaLnBrk="1" fontAlgn="base" hangingPunct="1">
        <a:lnSpc>
          <a:spcPct val="95000"/>
        </a:lnSpc>
        <a:spcBef>
          <a:spcPts val="625"/>
        </a:spcBef>
        <a:spcAft>
          <a:spcPct val="0"/>
        </a:spcAft>
        <a:buClr>
          <a:schemeClr val="accent2"/>
        </a:buClr>
        <a:buSzPct val="80000"/>
        <a:buFont typeface="Arial" charset="0"/>
        <a:buChar char="•"/>
        <a:tabLst/>
        <a:defRPr lang="en-US" sz="1400" kern="1200" dirty="0">
          <a:solidFill>
            <a:schemeClr val="tx1"/>
          </a:solidFill>
          <a:latin typeface="+mn-lt"/>
          <a:ea typeface="ＭＳ Ｐゴシック" charset="0"/>
          <a:cs typeface="CiscoSans"/>
        </a:defRPr>
      </a:lvl3pPr>
      <a:lvl4pPr marL="514350" indent="-117475" algn="l" defTabSz="684213" rtl="0" eaLnBrk="1" fontAlgn="base" hangingPunct="1">
        <a:lnSpc>
          <a:spcPct val="95000"/>
        </a:lnSpc>
        <a:spcBef>
          <a:spcPts val="625"/>
        </a:spcBef>
        <a:spcAft>
          <a:spcPct val="0"/>
        </a:spcAft>
        <a:buClr>
          <a:schemeClr val="accent2"/>
        </a:buClr>
        <a:buSzPct val="80000"/>
        <a:buFont typeface="System Font Regular"/>
        <a:buChar char="-"/>
        <a:tabLst/>
        <a:defRPr lang="en-US" sz="1200" kern="1200" dirty="0">
          <a:solidFill>
            <a:schemeClr val="tx1"/>
          </a:solidFill>
          <a:latin typeface="+mn-lt"/>
          <a:ea typeface="ＭＳ Ｐゴシック" charset="0"/>
          <a:cs typeface="CiscoSans"/>
        </a:defRPr>
      </a:lvl4pPr>
      <a:lvl5pPr marL="628650" indent="-114300" algn="l" defTabSz="684213" rtl="0" eaLnBrk="1" fontAlgn="base" hangingPunct="1">
        <a:lnSpc>
          <a:spcPct val="95000"/>
        </a:lnSpc>
        <a:spcBef>
          <a:spcPts val="625"/>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 (28pt)</a:t>
            </a:r>
          </a:p>
        </p:txBody>
      </p:sp>
      <p:sp>
        <p:nvSpPr>
          <p:cNvPr id="2" name="Text Placeholder 1">
            <a:extLst>
              <a:ext uri="{FF2B5EF4-FFF2-40B4-BE49-F238E27FC236}">
                <a16:creationId xmlns:a16="http://schemas.microsoft.com/office/drawing/2014/main" id="{A9EF330F-B908-6346-B31E-2887F4B77649}"/>
              </a:ext>
            </a:extLst>
          </p:cNvPr>
          <p:cNvSpPr>
            <a:spLocks noGrp="1"/>
          </p:cNvSpPr>
          <p:nvPr>
            <p:ph type="body" idx="1"/>
          </p:nvPr>
        </p:nvSpPr>
        <p:spPr>
          <a:xfrm>
            <a:off x="437766" y="1201738"/>
            <a:ext cx="8348472" cy="3313112"/>
          </a:xfrm>
          <a:prstGeom prst="rect">
            <a:avLst/>
          </a:prstGeom>
        </p:spPr>
        <p:txBody>
          <a:bodyPr vert="horz" lIns="91440" tIns="45720" rIns="91440" bIns="45720" rtlCol="0">
            <a:noAutofit/>
          </a:body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sp>
        <p:nvSpPr>
          <p:cNvPr id="38" name="Rectangle 7">
            <a:extLst>
              <a:ext uri="{FF2B5EF4-FFF2-40B4-BE49-F238E27FC236}">
                <a16:creationId xmlns:a16="http://schemas.microsoft.com/office/drawing/2014/main" id="{BE2A35EC-DBE8-634E-9F00-D46A28C2F392}"/>
              </a:ext>
            </a:extLst>
          </p:cNvPr>
          <p:cNvSpPr>
            <a:spLocks noChangeArrowheads="1"/>
          </p:cNvSpPr>
          <p:nvPr userDrawn="1"/>
        </p:nvSpPr>
        <p:spPr bwMode="ltGray">
          <a:xfrm>
            <a:off x="8506829" y="4799811"/>
            <a:ext cx="223441" cy="154518"/>
          </a:xfrm>
          <a:prstGeom prst="rect">
            <a:avLst/>
          </a:prstGeom>
          <a:noFill/>
          <a:ln w="9525" algn="ctr">
            <a:noFill/>
            <a:miter lim="800000"/>
            <a:headEnd/>
            <a:tailEnd/>
          </a:ln>
          <a:effectLst/>
        </p:spPr>
        <p:txBody>
          <a:bodyPr wrap="none" lIns="61586" tIns="30792" rIns="61586" bIns="30792" anchor="b">
            <a:spAutoFit/>
          </a:bodyPr>
          <a:lstStyle/>
          <a:p>
            <a:pPr algn="r" defTabSz="610729" rtl="0" fontAlgn="auto">
              <a:spcBef>
                <a:spcPts val="0"/>
              </a:spcBef>
              <a:spcAft>
                <a:spcPts val="0"/>
              </a:spcAft>
              <a:defRPr/>
            </a:pPr>
            <a:fld id="{6A1E46DC-7EF6-4EA2-B285-14272867D133}" type="slidenum">
              <a:rPr lang="en-US" sz="600" kern="1200" spc="20" baseline="0">
                <a:solidFill>
                  <a:schemeClr val="bg2">
                    <a:lumMod val="65000"/>
                  </a:schemeClr>
                </a:solidFill>
                <a:latin typeface="+mn-lt"/>
                <a:ea typeface="+mn-ea"/>
                <a:cs typeface="CiscoSans Thin"/>
              </a:rPr>
              <a:pPr algn="r" defTabSz="610729" rtl="0" fontAlgn="auto">
                <a:spcBef>
                  <a:spcPts val="0"/>
                </a:spcBef>
                <a:spcAft>
                  <a:spcPts val="0"/>
                </a:spcAft>
                <a:defRPr/>
              </a:pPr>
              <a:t>‹#›</a:t>
            </a:fld>
            <a:endParaRPr lang="en-US" sz="600" kern="1200" spc="20" baseline="0">
              <a:solidFill>
                <a:schemeClr val="bg2">
                  <a:lumMod val="65000"/>
                </a:schemeClr>
              </a:solidFill>
              <a:latin typeface="+mn-lt"/>
              <a:ea typeface="+mn-ea"/>
              <a:cs typeface="CiscoSans Thin"/>
            </a:endParaRPr>
          </a:p>
        </p:txBody>
      </p:sp>
      <p:grpSp>
        <p:nvGrpSpPr>
          <p:cNvPr id="15" name="Group 14">
            <a:extLst>
              <a:ext uri="{FF2B5EF4-FFF2-40B4-BE49-F238E27FC236}">
                <a16:creationId xmlns:a16="http://schemas.microsoft.com/office/drawing/2014/main" id="{CBED5B83-1E8D-644B-9D99-73AF8BF11929}"/>
              </a:ext>
            </a:extLst>
          </p:cNvPr>
          <p:cNvGrpSpPr/>
          <p:nvPr userDrawn="1"/>
        </p:nvGrpSpPr>
        <p:grpSpPr>
          <a:xfrm>
            <a:off x="528764" y="4712482"/>
            <a:ext cx="921665" cy="191516"/>
            <a:chOff x="528763" y="4734321"/>
            <a:chExt cx="816561" cy="169676"/>
          </a:xfrm>
        </p:grpSpPr>
        <p:grpSp>
          <p:nvGrpSpPr>
            <p:cNvPr id="16" name="Graphic 2">
              <a:extLst>
                <a:ext uri="{FF2B5EF4-FFF2-40B4-BE49-F238E27FC236}">
                  <a16:creationId xmlns:a16="http://schemas.microsoft.com/office/drawing/2014/main" id="{B4346FFB-18F0-A14C-88D9-6B596E64AD83}"/>
                </a:ext>
              </a:extLst>
            </p:cNvPr>
            <p:cNvGrpSpPr/>
            <p:nvPr userDrawn="1"/>
          </p:nvGrpSpPr>
          <p:grpSpPr>
            <a:xfrm>
              <a:off x="896434" y="4795886"/>
              <a:ext cx="448890" cy="108111"/>
              <a:chOff x="4433187" y="1865375"/>
              <a:chExt cx="2298157" cy="553493"/>
            </a:xfrm>
            <a:solidFill>
              <a:schemeClr val="tx2"/>
            </a:solidFill>
          </p:grpSpPr>
          <p:sp>
            <p:nvSpPr>
              <p:cNvPr id="18" name="Freeform 17">
                <a:extLst>
                  <a:ext uri="{FF2B5EF4-FFF2-40B4-BE49-F238E27FC236}">
                    <a16:creationId xmlns:a16="http://schemas.microsoft.com/office/drawing/2014/main" id="{042A2B56-6FEB-F54C-A2BC-5EE3D63C0C21}"/>
                  </a:ext>
                </a:extLst>
              </p:cNvPr>
              <p:cNvSpPr/>
              <p:nvPr/>
            </p:nvSpPr>
            <p:spPr>
              <a:xfrm>
                <a:off x="4433187" y="1865375"/>
                <a:ext cx="405252" cy="550912"/>
              </a:xfrm>
              <a:custGeom>
                <a:avLst/>
                <a:gdLst>
                  <a:gd name="connsiteX0" fmla="*/ 365116 w 405252"/>
                  <a:gd name="connsiteY0" fmla="*/ 406411 h 550912"/>
                  <a:gd name="connsiteX1" fmla="*/ 324979 w 405252"/>
                  <a:gd name="connsiteY1" fmla="*/ 325129 h 550912"/>
                  <a:gd name="connsiteX2" fmla="*/ 187737 w 405252"/>
                  <a:gd name="connsiteY2" fmla="*/ 276101 h 550912"/>
                  <a:gd name="connsiteX3" fmla="*/ 55674 w 405252"/>
                  <a:gd name="connsiteY3" fmla="*/ 216753 h 550912"/>
                  <a:gd name="connsiteX4" fmla="*/ 23305 w 405252"/>
                  <a:gd name="connsiteY4" fmla="*/ 130310 h 550912"/>
                  <a:gd name="connsiteX5" fmla="*/ 76389 w 405252"/>
                  <a:gd name="connsiteY5" fmla="*/ 32255 h 550912"/>
                  <a:gd name="connsiteX6" fmla="*/ 205863 w 405252"/>
                  <a:gd name="connsiteY6" fmla="*/ 0 h 550912"/>
                  <a:gd name="connsiteX7" fmla="*/ 345695 w 405252"/>
                  <a:gd name="connsiteY7" fmla="*/ 39996 h 550912"/>
                  <a:gd name="connsiteX8" fmla="*/ 405253 w 405252"/>
                  <a:gd name="connsiteY8" fmla="*/ 132890 h 550912"/>
                  <a:gd name="connsiteX9" fmla="*/ 362526 w 405252"/>
                  <a:gd name="connsiteY9" fmla="*/ 132890 h 550912"/>
                  <a:gd name="connsiteX10" fmla="*/ 305558 w 405252"/>
                  <a:gd name="connsiteY10" fmla="*/ 58059 h 550912"/>
                  <a:gd name="connsiteX11" fmla="*/ 205863 w 405252"/>
                  <a:gd name="connsiteY11" fmla="*/ 34835 h 550912"/>
                  <a:gd name="connsiteX12" fmla="*/ 94516 w 405252"/>
                  <a:gd name="connsiteY12" fmla="*/ 64510 h 550912"/>
                  <a:gd name="connsiteX13" fmla="*/ 64737 w 405252"/>
                  <a:gd name="connsiteY13" fmla="*/ 127729 h 550912"/>
                  <a:gd name="connsiteX14" fmla="*/ 98400 w 405252"/>
                  <a:gd name="connsiteY14" fmla="*/ 199980 h 550912"/>
                  <a:gd name="connsiteX15" fmla="*/ 214926 w 405252"/>
                  <a:gd name="connsiteY15" fmla="*/ 242556 h 550912"/>
                  <a:gd name="connsiteX16" fmla="*/ 369000 w 405252"/>
                  <a:gd name="connsiteY16" fmla="*/ 309646 h 550912"/>
                  <a:gd name="connsiteX17" fmla="*/ 405253 w 405252"/>
                  <a:gd name="connsiteY17" fmla="*/ 403831 h 550912"/>
                  <a:gd name="connsiteX18" fmla="*/ 346989 w 405252"/>
                  <a:gd name="connsiteY18" fmla="*/ 513497 h 550912"/>
                  <a:gd name="connsiteX19" fmla="*/ 207158 w 405252"/>
                  <a:gd name="connsiteY19" fmla="*/ 550913 h 550912"/>
                  <a:gd name="connsiteX20" fmla="*/ 62147 w 405252"/>
                  <a:gd name="connsiteY20" fmla="*/ 507046 h 550912"/>
                  <a:gd name="connsiteX21" fmla="*/ 0 w 405252"/>
                  <a:gd name="connsiteY21" fmla="*/ 403831 h 550912"/>
                  <a:gd name="connsiteX22" fmla="*/ 44021 w 405252"/>
                  <a:gd name="connsiteY22" fmla="*/ 403831 h 550912"/>
                  <a:gd name="connsiteX23" fmla="*/ 104874 w 405252"/>
                  <a:gd name="connsiteY23" fmla="*/ 490274 h 550912"/>
                  <a:gd name="connsiteX24" fmla="*/ 207158 w 405252"/>
                  <a:gd name="connsiteY24" fmla="*/ 514787 h 550912"/>
                  <a:gd name="connsiteX25" fmla="*/ 327568 w 405252"/>
                  <a:gd name="connsiteY25" fmla="*/ 479952 h 550912"/>
                  <a:gd name="connsiteX26" fmla="*/ 365116 w 405252"/>
                  <a:gd name="connsiteY26" fmla="*/ 406411 h 55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05252" h="550912">
                    <a:moveTo>
                      <a:pt x="365116" y="406411"/>
                    </a:moveTo>
                    <a:cubicBezTo>
                      <a:pt x="365116" y="370286"/>
                      <a:pt x="352168" y="343192"/>
                      <a:pt x="324979" y="325129"/>
                    </a:cubicBezTo>
                    <a:cubicBezTo>
                      <a:pt x="299084" y="307066"/>
                      <a:pt x="253768" y="290294"/>
                      <a:pt x="187737" y="276101"/>
                    </a:cubicBezTo>
                    <a:cubicBezTo>
                      <a:pt x="125589" y="261909"/>
                      <a:pt x="81568" y="242556"/>
                      <a:pt x="55674" y="216753"/>
                    </a:cubicBezTo>
                    <a:cubicBezTo>
                      <a:pt x="34958" y="194819"/>
                      <a:pt x="23305" y="166435"/>
                      <a:pt x="23305" y="130310"/>
                    </a:cubicBezTo>
                    <a:cubicBezTo>
                      <a:pt x="23305" y="89023"/>
                      <a:pt x="41432" y="55478"/>
                      <a:pt x="76389" y="32255"/>
                    </a:cubicBezTo>
                    <a:cubicBezTo>
                      <a:pt x="108758" y="10322"/>
                      <a:pt x="152779" y="0"/>
                      <a:pt x="205863" y="0"/>
                    </a:cubicBezTo>
                    <a:cubicBezTo>
                      <a:pt x="262832" y="0"/>
                      <a:pt x="309442" y="12902"/>
                      <a:pt x="345695" y="39996"/>
                    </a:cubicBezTo>
                    <a:cubicBezTo>
                      <a:pt x="378063" y="63219"/>
                      <a:pt x="397484" y="94184"/>
                      <a:pt x="405253" y="132890"/>
                    </a:cubicBezTo>
                    <a:lnTo>
                      <a:pt x="362526" y="132890"/>
                    </a:lnTo>
                    <a:cubicBezTo>
                      <a:pt x="354758" y="100635"/>
                      <a:pt x="336632" y="76121"/>
                      <a:pt x="305558" y="58059"/>
                    </a:cubicBezTo>
                    <a:cubicBezTo>
                      <a:pt x="278368" y="42576"/>
                      <a:pt x="246000" y="34835"/>
                      <a:pt x="205863" y="34835"/>
                    </a:cubicBezTo>
                    <a:cubicBezTo>
                      <a:pt x="156663" y="34835"/>
                      <a:pt x="119116" y="45157"/>
                      <a:pt x="94516" y="64510"/>
                    </a:cubicBezTo>
                    <a:cubicBezTo>
                      <a:pt x="73800" y="81282"/>
                      <a:pt x="64737" y="101925"/>
                      <a:pt x="64737" y="127729"/>
                    </a:cubicBezTo>
                    <a:cubicBezTo>
                      <a:pt x="64737" y="158694"/>
                      <a:pt x="76389" y="183208"/>
                      <a:pt x="98400" y="199980"/>
                    </a:cubicBezTo>
                    <a:cubicBezTo>
                      <a:pt x="120411" y="216753"/>
                      <a:pt x="159253" y="230945"/>
                      <a:pt x="214926" y="242556"/>
                    </a:cubicBezTo>
                    <a:cubicBezTo>
                      <a:pt x="288726" y="259329"/>
                      <a:pt x="340516" y="282552"/>
                      <a:pt x="369000" y="309646"/>
                    </a:cubicBezTo>
                    <a:cubicBezTo>
                      <a:pt x="393600" y="332870"/>
                      <a:pt x="405253" y="365125"/>
                      <a:pt x="405253" y="403831"/>
                    </a:cubicBezTo>
                    <a:cubicBezTo>
                      <a:pt x="405253" y="450278"/>
                      <a:pt x="385832" y="486403"/>
                      <a:pt x="346989" y="513497"/>
                    </a:cubicBezTo>
                    <a:cubicBezTo>
                      <a:pt x="312032" y="538011"/>
                      <a:pt x="265421" y="550913"/>
                      <a:pt x="207158" y="550913"/>
                    </a:cubicBezTo>
                    <a:cubicBezTo>
                      <a:pt x="147600" y="550913"/>
                      <a:pt x="99695" y="536721"/>
                      <a:pt x="62147" y="507046"/>
                    </a:cubicBezTo>
                    <a:cubicBezTo>
                      <a:pt x="28484" y="481242"/>
                      <a:pt x="7768" y="447697"/>
                      <a:pt x="0" y="403831"/>
                    </a:cubicBezTo>
                    <a:lnTo>
                      <a:pt x="44021" y="403831"/>
                    </a:lnTo>
                    <a:cubicBezTo>
                      <a:pt x="51789" y="442536"/>
                      <a:pt x="71211" y="470921"/>
                      <a:pt x="104874" y="490274"/>
                    </a:cubicBezTo>
                    <a:cubicBezTo>
                      <a:pt x="132063" y="507046"/>
                      <a:pt x="167021" y="514787"/>
                      <a:pt x="207158" y="514787"/>
                    </a:cubicBezTo>
                    <a:cubicBezTo>
                      <a:pt x="260242" y="514787"/>
                      <a:pt x="300379" y="503176"/>
                      <a:pt x="327568" y="479952"/>
                    </a:cubicBezTo>
                    <a:cubicBezTo>
                      <a:pt x="353463" y="461889"/>
                      <a:pt x="365116" y="437376"/>
                      <a:pt x="365116" y="406411"/>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19" name="Freeform 18">
                <a:extLst>
                  <a:ext uri="{FF2B5EF4-FFF2-40B4-BE49-F238E27FC236}">
                    <a16:creationId xmlns:a16="http://schemas.microsoft.com/office/drawing/2014/main" id="{CFB12BFD-05F3-FA48-9138-1112F65A44D2}"/>
                  </a:ext>
                </a:extLst>
              </p:cNvPr>
              <p:cNvSpPr/>
              <p:nvPr/>
            </p:nvSpPr>
            <p:spPr>
              <a:xfrm>
                <a:off x="4914829"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1"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1"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2" y="41286"/>
                      <a:pt x="208453"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0" name="Freeform 19">
                <a:extLst>
                  <a:ext uri="{FF2B5EF4-FFF2-40B4-BE49-F238E27FC236}">
                    <a16:creationId xmlns:a16="http://schemas.microsoft.com/office/drawing/2014/main" id="{83D9EA9D-4EFB-104F-966A-6971C09C94F9}"/>
                  </a:ext>
                </a:extLst>
              </p:cNvPr>
              <p:cNvSpPr/>
              <p:nvPr/>
            </p:nvSpPr>
            <p:spPr>
              <a:xfrm>
                <a:off x="5335619" y="2015037"/>
                <a:ext cx="328863" cy="403830"/>
              </a:xfrm>
              <a:custGeom>
                <a:avLst/>
                <a:gdLst>
                  <a:gd name="connsiteX0" fmla="*/ 287432 w 328863"/>
                  <a:gd name="connsiteY0" fmla="*/ 279972 h 403830"/>
                  <a:gd name="connsiteX1" fmla="*/ 328863 w 328863"/>
                  <a:gd name="connsiteY1" fmla="*/ 279972 h 403830"/>
                  <a:gd name="connsiteX2" fmla="*/ 271895 w 328863"/>
                  <a:gd name="connsiteY2" fmla="*/ 372866 h 403830"/>
                  <a:gd name="connsiteX3" fmla="*/ 170905 w 328863"/>
                  <a:gd name="connsiteY3" fmla="*/ 403831 h 403830"/>
                  <a:gd name="connsiteX4" fmla="*/ 44021 w 328863"/>
                  <a:gd name="connsiteY4" fmla="*/ 345772 h 403830"/>
                  <a:gd name="connsiteX5" fmla="*/ 0 w 328863"/>
                  <a:gd name="connsiteY5" fmla="*/ 205141 h 403830"/>
                  <a:gd name="connsiteX6" fmla="*/ 55674 w 328863"/>
                  <a:gd name="connsiteY6" fmla="*/ 45157 h 403830"/>
                  <a:gd name="connsiteX7" fmla="*/ 170905 w 328863"/>
                  <a:gd name="connsiteY7" fmla="*/ 0 h 403830"/>
                  <a:gd name="connsiteX8" fmla="*/ 279663 w 328863"/>
                  <a:gd name="connsiteY8" fmla="*/ 36125 h 403830"/>
                  <a:gd name="connsiteX9" fmla="*/ 326274 w 328863"/>
                  <a:gd name="connsiteY9" fmla="*/ 117408 h 403830"/>
                  <a:gd name="connsiteX10" fmla="*/ 282253 w 328863"/>
                  <a:gd name="connsiteY10" fmla="*/ 117408 h 403830"/>
                  <a:gd name="connsiteX11" fmla="*/ 240821 w 328863"/>
                  <a:gd name="connsiteY11" fmla="*/ 52898 h 403830"/>
                  <a:gd name="connsiteX12" fmla="*/ 170905 w 328863"/>
                  <a:gd name="connsiteY12" fmla="*/ 33545 h 403830"/>
                  <a:gd name="connsiteX13" fmla="*/ 72505 w 328863"/>
                  <a:gd name="connsiteY13" fmla="*/ 82572 h 403830"/>
                  <a:gd name="connsiteX14" fmla="*/ 38842 w 328863"/>
                  <a:gd name="connsiteY14" fmla="*/ 207721 h 403830"/>
                  <a:gd name="connsiteX15" fmla="*/ 82863 w 328863"/>
                  <a:gd name="connsiteY15" fmla="*/ 336741 h 403830"/>
                  <a:gd name="connsiteX16" fmla="*/ 169611 w 328863"/>
                  <a:gd name="connsiteY16" fmla="*/ 371576 h 403830"/>
                  <a:gd name="connsiteX17" fmla="*/ 249884 w 328863"/>
                  <a:gd name="connsiteY17" fmla="*/ 343192 h 403830"/>
                  <a:gd name="connsiteX18" fmla="*/ 287432 w 328863"/>
                  <a:gd name="connsiteY18" fmla="*/ 279972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8863" h="403830">
                    <a:moveTo>
                      <a:pt x="287432" y="279972"/>
                    </a:moveTo>
                    <a:lnTo>
                      <a:pt x="328863" y="279972"/>
                    </a:lnTo>
                    <a:cubicBezTo>
                      <a:pt x="322389" y="318678"/>
                      <a:pt x="302968" y="349642"/>
                      <a:pt x="271895" y="372866"/>
                    </a:cubicBezTo>
                    <a:cubicBezTo>
                      <a:pt x="243410" y="393509"/>
                      <a:pt x="209747" y="403831"/>
                      <a:pt x="170905" y="403831"/>
                    </a:cubicBezTo>
                    <a:cubicBezTo>
                      <a:pt x="117821" y="403831"/>
                      <a:pt x="75095" y="384478"/>
                      <a:pt x="44021" y="345772"/>
                    </a:cubicBezTo>
                    <a:cubicBezTo>
                      <a:pt x="15537" y="310937"/>
                      <a:pt x="0" y="263200"/>
                      <a:pt x="0" y="205141"/>
                    </a:cubicBezTo>
                    <a:cubicBezTo>
                      <a:pt x="0" y="135470"/>
                      <a:pt x="18126" y="82572"/>
                      <a:pt x="55674" y="45157"/>
                    </a:cubicBezTo>
                    <a:cubicBezTo>
                      <a:pt x="86747" y="15482"/>
                      <a:pt x="124295" y="0"/>
                      <a:pt x="170905" y="0"/>
                    </a:cubicBezTo>
                    <a:cubicBezTo>
                      <a:pt x="214926" y="0"/>
                      <a:pt x="251179" y="11612"/>
                      <a:pt x="279663" y="36125"/>
                    </a:cubicBezTo>
                    <a:cubicBezTo>
                      <a:pt x="304263" y="56769"/>
                      <a:pt x="319800" y="83863"/>
                      <a:pt x="326274" y="117408"/>
                    </a:cubicBezTo>
                    <a:lnTo>
                      <a:pt x="282253" y="117408"/>
                    </a:lnTo>
                    <a:cubicBezTo>
                      <a:pt x="277074" y="90314"/>
                      <a:pt x="264126" y="68380"/>
                      <a:pt x="240821" y="52898"/>
                    </a:cubicBezTo>
                    <a:cubicBezTo>
                      <a:pt x="221400" y="39996"/>
                      <a:pt x="198095" y="33545"/>
                      <a:pt x="170905" y="33545"/>
                    </a:cubicBezTo>
                    <a:cubicBezTo>
                      <a:pt x="129474" y="33545"/>
                      <a:pt x="95811" y="50318"/>
                      <a:pt x="72505" y="82572"/>
                    </a:cubicBezTo>
                    <a:cubicBezTo>
                      <a:pt x="50495" y="113537"/>
                      <a:pt x="38842" y="154823"/>
                      <a:pt x="38842" y="207721"/>
                    </a:cubicBezTo>
                    <a:cubicBezTo>
                      <a:pt x="38842" y="264490"/>
                      <a:pt x="53084" y="308356"/>
                      <a:pt x="82863" y="336741"/>
                    </a:cubicBezTo>
                    <a:cubicBezTo>
                      <a:pt x="106168" y="359964"/>
                      <a:pt x="134653" y="371576"/>
                      <a:pt x="169611" y="371576"/>
                    </a:cubicBezTo>
                    <a:cubicBezTo>
                      <a:pt x="201979" y="371576"/>
                      <a:pt x="227874" y="362544"/>
                      <a:pt x="249884" y="343192"/>
                    </a:cubicBezTo>
                    <a:cubicBezTo>
                      <a:pt x="271895" y="325129"/>
                      <a:pt x="283547" y="304486"/>
                      <a:pt x="287432" y="279972"/>
                    </a:cubicBezTo>
                    <a:close/>
                  </a:path>
                </a:pathLst>
              </a:custGeom>
              <a:grpFill/>
              <a:ln w="12940" cap="flat">
                <a:noFill/>
                <a:prstDash val="solid"/>
                <a:miter/>
              </a:ln>
            </p:spPr>
            <p:txBody>
              <a:bodyPr rtlCol="0" anchor="ctr"/>
              <a:lstStyle/>
              <a:p>
                <a:endParaRPr lang="en-US" sz="1800">
                  <a:solidFill>
                    <a:schemeClr val="tx2"/>
                  </a:solidFill>
                </a:endParaRPr>
              </a:p>
            </p:txBody>
          </p:sp>
          <p:sp>
            <p:nvSpPr>
              <p:cNvPr id="21" name="Freeform 20">
                <a:extLst>
                  <a:ext uri="{FF2B5EF4-FFF2-40B4-BE49-F238E27FC236}">
                    <a16:creationId xmlns:a16="http://schemas.microsoft.com/office/drawing/2014/main" id="{3436A28A-6312-9E42-8194-07996A6A6509}"/>
                  </a:ext>
                </a:extLst>
              </p:cNvPr>
              <p:cNvSpPr/>
              <p:nvPr/>
            </p:nvSpPr>
            <p:spPr>
              <a:xfrm>
                <a:off x="5752524" y="2024069"/>
                <a:ext cx="296494" cy="394799"/>
              </a:xfrm>
              <a:custGeom>
                <a:avLst/>
                <a:gdLst>
                  <a:gd name="connsiteX0" fmla="*/ 0 w 296494"/>
                  <a:gd name="connsiteY0" fmla="*/ 0 h 394799"/>
                  <a:gd name="connsiteX1" fmla="*/ 40137 w 296494"/>
                  <a:gd name="connsiteY1" fmla="*/ 0 h 394799"/>
                  <a:gd name="connsiteX2" fmla="*/ 40137 w 296494"/>
                  <a:gd name="connsiteY2" fmla="*/ 259329 h 394799"/>
                  <a:gd name="connsiteX3" fmla="*/ 71211 w 296494"/>
                  <a:gd name="connsiteY3" fmla="*/ 338031 h 394799"/>
                  <a:gd name="connsiteX4" fmla="*/ 141126 w 296494"/>
                  <a:gd name="connsiteY4" fmla="*/ 359964 h 394799"/>
                  <a:gd name="connsiteX5" fmla="*/ 227874 w 296494"/>
                  <a:gd name="connsiteY5" fmla="*/ 319968 h 394799"/>
                  <a:gd name="connsiteX6" fmla="*/ 256358 w 296494"/>
                  <a:gd name="connsiteY6" fmla="*/ 234815 h 394799"/>
                  <a:gd name="connsiteX7" fmla="*/ 256358 w 296494"/>
                  <a:gd name="connsiteY7" fmla="*/ 0 h 394799"/>
                  <a:gd name="connsiteX8" fmla="*/ 296495 w 296494"/>
                  <a:gd name="connsiteY8" fmla="*/ 0 h 394799"/>
                  <a:gd name="connsiteX9" fmla="*/ 296495 w 296494"/>
                  <a:gd name="connsiteY9" fmla="*/ 383188 h 394799"/>
                  <a:gd name="connsiteX10" fmla="*/ 264126 w 296494"/>
                  <a:gd name="connsiteY10" fmla="*/ 383188 h 394799"/>
                  <a:gd name="connsiteX11" fmla="*/ 258947 w 296494"/>
                  <a:gd name="connsiteY11" fmla="*/ 322548 h 394799"/>
                  <a:gd name="connsiteX12" fmla="*/ 199389 w 296494"/>
                  <a:gd name="connsiteY12" fmla="*/ 379317 h 394799"/>
                  <a:gd name="connsiteX13" fmla="*/ 133358 w 296494"/>
                  <a:gd name="connsiteY13" fmla="*/ 394799 h 394799"/>
                  <a:gd name="connsiteX14" fmla="*/ 34958 w 296494"/>
                  <a:gd name="connsiteY14" fmla="*/ 356094 h 394799"/>
                  <a:gd name="connsiteX15" fmla="*/ 1295 w 296494"/>
                  <a:gd name="connsiteY15" fmla="*/ 259329 h 394799"/>
                  <a:gd name="connsiteX16" fmla="*/ 1295 w 296494"/>
                  <a:gd name="connsiteY16" fmla="*/ 0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6494" h="394799">
                    <a:moveTo>
                      <a:pt x="0" y="0"/>
                    </a:moveTo>
                    <a:lnTo>
                      <a:pt x="40137" y="0"/>
                    </a:lnTo>
                    <a:lnTo>
                      <a:pt x="40137" y="259329"/>
                    </a:lnTo>
                    <a:cubicBezTo>
                      <a:pt x="40137" y="294164"/>
                      <a:pt x="50495" y="321258"/>
                      <a:pt x="71211" y="338031"/>
                    </a:cubicBezTo>
                    <a:cubicBezTo>
                      <a:pt x="88042" y="352223"/>
                      <a:pt x="111347" y="359964"/>
                      <a:pt x="141126" y="359964"/>
                    </a:cubicBezTo>
                    <a:cubicBezTo>
                      <a:pt x="176084" y="359964"/>
                      <a:pt x="205863" y="347062"/>
                      <a:pt x="227874" y="319968"/>
                    </a:cubicBezTo>
                    <a:cubicBezTo>
                      <a:pt x="246000" y="296745"/>
                      <a:pt x="256358" y="268360"/>
                      <a:pt x="256358" y="234815"/>
                    </a:cubicBezTo>
                    <a:lnTo>
                      <a:pt x="256358" y="0"/>
                    </a:lnTo>
                    <a:lnTo>
                      <a:pt x="296495" y="0"/>
                    </a:lnTo>
                    <a:lnTo>
                      <a:pt x="296495" y="383188"/>
                    </a:lnTo>
                    <a:lnTo>
                      <a:pt x="264126" y="383188"/>
                    </a:lnTo>
                    <a:lnTo>
                      <a:pt x="258947" y="322548"/>
                    </a:lnTo>
                    <a:cubicBezTo>
                      <a:pt x="244705" y="347062"/>
                      <a:pt x="225284" y="366415"/>
                      <a:pt x="199389" y="379317"/>
                    </a:cubicBezTo>
                    <a:cubicBezTo>
                      <a:pt x="178674" y="389639"/>
                      <a:pt x="156663" y="394799"/>
                      <a:pt x="133358" y="394799"/>
                    </a:cubicBezTo>
                    <a:cubicBezTo>
                      <a:pt x="90632" y="394799"/>
                      <a:pt x="58263" y="381897"/>
                      <a:pt x="34958" y="356094"/>
                    </a:cubicBezTo>
                    <a:cubicBezTo>
                      <a:pt x="12947" y="332870"/>
                      <a:pt x="1295" y="300615"/>
                      <a:pt x="1295" y="259329"/>
                    </a:cubicBezTo>
                    <a:lnTo>
                      <a:pt x="1295" y="0"/>
                    </a:lnTo>
                    <a:close/>
                  </a:path>
                </a:pathLst>
              </a:custGeom>
              <a:grpFill/>
              <a:ln w="12940" cap="flat">
                <a:noFill/>
                <a:prstDash val="solid"/>
                <a:miter/>
              </a:ln>
            </p:spPr>
            <p:txBody>
              <a:bodyPr rtlCol="0" anchor="ctr"/>
              <a:lstStyle/>
              <a:p>
                <a:endParaRPr lang="en-US" sz="1800">
                  <a:solidFill>
                    <a:schemeClr val="tx2"/>
                  </a:solidFill>
                </a:endParaRPr>
              </a:p>
            </p:txBody>
          </p:sp>
          <p:sp>
            <p:nvSpPr>
              <p:cNvPr id="22" name="Freeform 21">
                <a:extLst>
                  <a:ext uri="{FF2B5EF4-FFF2-40B4-BE49-F238E27FC236}">
                    <a16:creationId xmlns:a16="http://schemas.microsoft.com/office/drawing/2014/main" id="{47821BB3-D7E0-304B-997D-9FFA9A362889}"/>
                  </a:ext>
                </a:extLst>
              </p:cNvPr>
              <p:cNvSpPr/>
              <p:nvPr/>
            </p:nvSpPr>
            <p:spPr>
              <a:xfrm>
                <a:off x="6160366" y="2012457"/>
                <a:ext cx="186442" cy="394799"/>
              </a:xfrm>
              <a:custGeom>
                <a:avLst/>
                <a:gdLst>
                  <a:gd name="connsiteX0" fmla="*/ 40137 w 186442"/>
                  <a:gd name="connsiteY0" fmla="*/ 394799 h 394799"/>
                  <a:gd name="connsiteX1" fmla="*/ 0 w 186442"/>
                  <a:gd name="connsiteY1" fmla="*/ 394799 h 394799"/>
                  <a:gd name="connsiteX2" fmla="*/ 0 w 186442"/>
                  <a:gd name="connsiteY2" fmla="*/ 11612 h 394799"/>
                  <a:gd name="connsiteX3" fmla="*/ 32368 w 186442"/>
                  <a:gd name="connsiteY3" fmla="*/ 11612 h 394799"/>
                  <a:gd name="connsiteX4" fmla="*/ 38842 w 186442"/>
                  <a:gd name="connsiteY4" fmla="*/ 85153 h 394799"/>
                  <a:gd name="connsiteX5" fmla="*/ 146305 w 186442"/>
                  <a:gd name="connsiteY5" fmla="*/ 0 h 394799"/>
                  <a:gd name="connsiteX6" fmla="*/ 186442 w 186442"/>
                  <a:gd name="connsiteY6" fmla="*/ 6451 h 394799"/>
                  <a:gd name="connsiteX7" fmla="*/ 186442 w 186442"/>
                  <a:gd name="connsiteY7" fmla="*/ 45157 h 394799"/>
                  <a:gd name="connsiteX8" fmla="*/ 145010 w 186442"/>
                  <a:gd name="connsiteY8" fmla="*/ 38706 h 394799"/>
                  <a:gd name="connsiteX9" fmla="*/ 68621 w 186442"/>
                  <a:gd name="connsiteY9" fmla="*/ 82572 h 394799"/>
                  <a:gd name="connsiteX10" fmla="*/ 41432 w 186442"/>
                  <a:gd name="connsiteY10" fmla="*/ 184498 h 394799"/>
                  <a:gd name="connsiteX11" fmla="*/ 41432 w 186442"/>
                  <a:gd name="connsiteY11" fmla="*/ 394799 h 394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442" h="394799">
                    <a:moveTo>
                      <a:pt x="40137" y="394799"/>
                    </a:moveTo>
                    <a:lnTo>
                      <a:pt x="0" y="394799"/>
                    </a:lnTo>
                    <a:lnTo>
                      <a:pt x="0" y="11612"/>
                    </a:lnTo>
                    <a:lnTo>
                      <a:pt x="32368" y="11612"/>
                    </a:lnTo>
                    <a:lnTo>
                      <a:pt x="38842" y="85153"/>
                    </a:lnTo>
                    <a:cubicBezTo>
                      <a:pt x="59558" y="28384"/>
                      <a:pt x="94516" y="0"/>
                      <a:pt x="146305" y="0"/>
                    </a:cubicBezTo>
                    <a:cubicBezTo>
                      <a:pt x="160547" y="0"/>
                      <a:pt x="174789" y="2580"/>
                      <a:pt x="186442" y="6451"/>
                    </a:cubicBezTo>
                    <a:lnTo>
                      <a:pt x="186442" y="45157"/>
                    </a:lnTo>
                    <a:cubicBezTo>
                      <a:pt x="170905" y="41286"/>
                      <a:pt x="156663" y="38706"/>
                      <a:pt x="145010" y="38706"/>
                    </a:cubicBezTo>
                    <a:cubicBezTo>
                      <a:pt x="113937" y="38706"/>
                      <a:pt x="88042" y="52898"/>
                      <a:pt x="68621" y="82572"/>
                    </a:cubicBezTo>
                    <a:cubicBezTo>
                      <a:pt x="50495" y="109666"/>
                      <a:pt x="41432" y="143211"/>
                      <a:pt x="41432" y="184498"/>
                    </a:cubicBezTo>
                    <a:lnTo>
                      <a:pt x="41432" y="394799"/>
                    </a:lnTo>
                    <a:close/>
                  </a:path>
                </a:pathLst>
              </a:custGeom>
              <a:grpFill/>
              <a:ln w="12940" cap="flat">
                <a:noFill/>
                <a:prstDash val="solid"/>
                <a:miter/>
              </a:ln>
            </p:spPr>
            <p:txBody>
              <a:bodyPr rtlCol="0" anchor="ctr"/>
              <a:lstStyle/>
              <a:p>
                <a:endParaRPr lang="en-US" sz="1800">
                  <a:solidFill>
                    <a:schemeClr val="tx2"/>
                  </a:solidFill>
                </a:endParaRPr>
              </a:p>
            </p:txBody>
          </p:sp>
          <p:sp>
            <p:nvSpPr>
              <p:cNvPr id="23" name="Freeform 22">
                <a:extLst>
                  <a:ext uri="{FF2B5EF4-FFF2-40B4-BE49-F238E27FC236}">
                    <a16:creationId xmlns:a16="http://schemas.microsoft.com/office/drawing/2014/main" id="{58C95125-B3C6-5648-A684-B284AD3181C9}"/>
                  </a:ext>
                </a:extLst>
              </p:cNvPr>
              <p:cNvSpPr/>
              <p:nvPr/>
            </p:nvSpPr>
            <p:spPr>
              <a:xfrm>
                <a:off x="6383061" y="2015037"/>
                <a:ext cx="348284" cy="403830"/>
              </a:xfrm>
              <a:custGeom>
                <a:avLst/>
                <a:gdLst>
                  <a:gd name="connsiteX0" fmla="*/ 299084 w 348284"/>
                  <a:gd name="connsiteY0" fmla="*/ 287713 h 403830"/>
                  <a:gd name="connsiteX1" fmla="*/ 340516 w 348284"/>
                  <a:gd name="connsiteY1" fmla="*/ 287713 h 403830"/>
                  <a:gd name="connsiteX2" fmla="*/ 279663 w 348284"/>
                  <a:gd name="connsiteY2" fmla="*/ 375446 h 403830"/>
                  <a:gd name="connsiteX3" fmla="*/ 181263 w 348284"/>
                  <a:gd name="connsiteY3" fmla="*/ 403831 h 403830"/>
                  <a:gd name="connsiteX4" fmla="*/ 45316 w 348284"/>
                  <a:gd name="connsiteY4" fmla="*/ 344482 h 403830"/>
                  <a:gd name="connsiteX5" fmla="*/ 0 w 348284"/>
                  <a:gd name="connsiteY5" fmla="*/ 201270 h 403830"/>
                  <a:gd name="connsiteX6" fmla="*/ 56968 w 348284"/>
                  <a:gd name="connsiteY6" fmla="*/ 45157 h 403830"/>
                  <a:gd name="connsiteX7" fmla="*/ 174789 w 348284"/>
                  <a:gd name="connsiteY7" fmla="*/ 0 h 403830"/>
                  <a:gd name="connsiteX8" fmla="*/ 304263 w 348284"/>
                  <a:gd name="connsiteY8" fmla="*/ 59349 h 403830"/>
                  <a:gd name="connsiteX9" fmla="*/ 348284 w 348284"/>
                  <a:gd name="connsiteY9" fmla="*/ 212882 h 403830"/>
                  <a:gd name="connsiteX10" fmla="*/ 40137 w 348284"/>
                  <a:gd name="connsiteY10" fmla="*/ 212882 h 403830"/>
                  <a:gd name="connsiteX11" fmla="*/ 89337 w 348284"/>
                  <a:gd name="connsiteY11" fmla="*/ 338031 h 403830"/>
                  <a:gd name="connsiteX12" fmla="*/ 182558 w 348284"/>
                  <a:gd name="connsiteY12" fmla="*/ 371576 h 403830"/>
                  <a:gd name="connsiteX13" fmla="*/ 260242 w 348284"/>
                  <a:gd name="connsiteY13" fmla="*/ 347062 h 403830"/>
                  <a:gd name="connsiteX14" fmla="*/ 299084 w 348284"/>
                  <a:gd name="connsiteY14" fmla="*/ 287713 h 403830"/>
                  <a:gd name="connsiteX15" fmla="*/ 174789 w 348284"/>
                  <a:gd name="connsiteY15" fmla="*/ 30965 h 403830"/>
                  <a:gd name="connsiteX16" fmla="*/ 78979 w 348284"/>
                  <a:gd name="connsiteY16" fmla="*/ 73541 h 403830"/>
                  <a:gd name="connsiteX17" fmla="*/ 40137 w 348284"/>
                  <a:gd name="connsiteY17" fmla="*/ 176757 h 403830"/>
                  <a:gd name="connsiteX18" fmla="*/ 305558 w 348284"/>
                  <a:gd name="connsiteY18" fmla="*/ 176757 h 403830"/>
                  <a:gd name="connsiteX19" fmla="*/ 260242 w 348284"/>
                  <a:gd name="connsiteY19" fmla="*/ 61929 h 403830"/>
                  <a:gd name="connsiteX20" fmla="*/ 174789 w 348284"/>
                  <a:gd name="connsiteY20" fmla="*/ 30965 h 403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8284" h="403830">
                    <a:moveTo>
                      <a:pt x="299084" y="287713"/>
                    </a:moveTo>
                    <a:lnTo>
                      <a:pt x="340516" y="287713"/>
                    </a:lnTo>
                    <a:cubicBezTo>
                      <a:pt x="330158" y="325129"/>
                      <a:pt x="310737" y="354803"/>
                      <a:pt x="279663" y="375446"/>
                    </a:cubicBezTo>
                    <a:cubicBezTo>
                      <a:pt x="252474" y="393509"/>
                      <a:pt x="218810" y="403831"/>
                      <a:pt x="181263" y="403831"/>
                    </a:cubicBezTo>
                    <a:cubicBezTo>
                      <a:pt x="124295" y="403831"/>
                      <a:pt x="77684" y="384478"/>
                      <a:pt x="45316" y="344482"/>
                    </a:cubicBezTo>
                    <a:cubicBezTo>
                      <a:pt x="14242" y="308356"/>
                      <a:pt x="0" y="260619"/>
                      <a:pt x="0" y="201270"/>
                    </a:cubicBezTo>
                    <a:cubicBezTo>
                      <a:pt x="0" y="134180"/>
                      <a:pt x="19421" y="81282"/>
                      <a:pt x="56968" y="45157"/>
                    </a:cubicBezTo>
                    <a:cubicBezTo>
                      <a:pt x="88042" y="14192"/>
                      <a:pt x="126884" y="0"/>
                      <a:pt x="174789" y="0"/>
                    </a:cubicBezTo>
                    <a:cubicBezTo>
                      <a:pt x="230463" y="0"/>
                      <a:pt x="273189" y="19353"/>
                      <a:pt x="304263" y="59349"/>
                    </a:cubicBezTo>
                    <a:cubicBezTo>
                      <a:pt x="332747" y="95474"/>
                      <a:pt x="348284" y="147082"/>
                      <a:pt x="348284" y="212882"/>
                    </a:cubicBezTo>
                    <a:lnTo>
                      <a:pt x="40137" y="212882"/>
                    </a:lnTo>
                    <a:cubicBezTo>
                      <a:pt x="42726" y="268360"/>
                      <a:pt x="58263" y="309646"/>
                      <a:pt x="89337" y="338031"/>
                    </a:cubicBezTo>
                    <a:cubicBezTo>
                      <a:pt x="113937" y="359964"/>
                      <a:pt x="146305" y="371576"/>
                      <a:pt x="182558" y="371576"/>
                    </a:cubicBezTo>
                    <a:cubicBezTo>
                      <a:pt x="213632" y="371576"/>
                      <a:pt x="239526" y="363835"/>
                      <a:pt x="260242" y="347062"/>
                    </a:cubicBezTo>
                    <a:cubicBezTo>
                      <a:pt x="279663" y="330290"/>
                      <a:pt x="292610" y="310937"/>
                      <a:pt x="299084" y="287713"/>
                    </a:cubicBezTo>
                    <a:close/>
                    <a:moveTo>
                      <a:pt x="174789" y="30965"/>
                    </a:moveTo>
                    <a:cubicBezTo>
                      <a:pt x="135947" y="30965"/>
                      <a:pt x="103579" y="45157"/>
                      <a:pt x="78979" y="73541"/>
                    </a:cubicBezTo>
                    <a:cubicBezTo>
                      <a:pt x="56968" y="99345"/>
                      <a:pt x="44021" y="134180"/>
                      <a:pt x="40137" y="176757"/>
                    </a:cubicBezTo>
                    <a:lnTo>
                      <a:pt x="305558" y="176757"/>
                    </a:lnTo>
                    <a:cubicBezTo>
                      <a:pt x="302968" y="126439"/>
                      <a:pt x="287432" y="87733"/>
                      <a:pt x="260242" y="61929"/>
                    </a:cubicBezTo>
                    <a:cubicBezTo>
                      <a:pt x="238231" y="41286"/>
                      <a:pt x="209747" y="30965"/>
                      <a:pt x="174789" y="30965"/>
                    </a:cubicBezTo>
                    <a:close/>
                  </a:path>
                </a:pathLst>
              </a:custGeom>
              <a:grpFill/>
              <a:ln w="12940" cap="flat">
                <a:noFill/>
                <a:prstDash val="solid"/>
                <a:miter/>
              </a:ln>
            </p:spPr>
            <p:txBody>
              <a:bodyPr rtlCol="0" anchor="ctr"/>
              <a:lstStyle/>
              <a:p>
                <a:endParaRPr lang="en-US" sz="1800">
                  <a:solidFill>
                    <a:schemeClr val="tx2"/>
                  </a:solidFill>
                </a:endParaRPr>
              </a:p>
            </p:txBody>
          </p:sp>
        </p:grpSp>
        <p:sp>
          <p:nvSpPr>
            <p:cNvPr id="17" name="Freeform 6">
              <a:extLst>
                <a:ext uri="{FF2B5EF4-FFF2-40B4-BE49-F238E27FC236}">
                  <a16:creationId xmlns:a16="http://schemas.microsoft.com/office/drawing/2014/main" id="{EFF30873-2CCF-204E-8D5E-18B9F31E7799}"/>
                </a:ext>
              </a:extLst>
            </p:cNvPr>
            <p:cNvSpPr>
              <a:spLocks noChangeAspect="1" noEditPoints="1"/>
            </p:cNvSpPr>
            <p:nvPr userDrawn="1"/>
          </p:nvSpPr>
          <p:spPr bwMode="auto">
            <a:xfrm>
              <a:off x="528763" y="4734321"/>
              <a:ext cx="319051" cy="169496"/>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tx1"/>
                </a:solidFill>
              </a:endParaRPr>
            </a:p>
          </p:txBody>
        </p:sp>
      </p:grpSp>
      <p:sp>
        <p:nvSpPr>
          <p:cNvPr id="24" name="Rectangle 4">
            <a:extLst>
              <a:ext uri="{FF2B5EF4-FFF2-40B4-BE49-F238E27FC236}">
                <a16:creationId xmlns:a16="http://schemas.microsoft.com/office/drawing/2014/main" id="{190C3DC9-A637-1940-80C1-DAB6952B20CA}"/>
              </a:ext>
            </a:extLst>
          </p:cNvPr>
          <p:cNvSpPr>
            <a:spLocks noChangeArrowheads="1"/>
          </p:cNvSpPr>
          <p:nvPr userDrawn="1"/>
        </p:nvSpPr>
        <p:spPr bwMode="ltGray">
          <a:xfrm>
            <a:off x="1544187" y="4799811"/>
            <a:ext cx="34010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a:solidFill>
                  <a:schemeClr val="bg2">
                    <a:lumMod val="65000"/>
                  </a:schemeClr>
                </a:solidFill>
                <a:latin typeface="+mn-lt"/>
                <a:ea typeface="+mn-ea"/>
                <a:cs typeface="CiscoSans Thin"/>
              </a:rPr>
              <a:t>© 2020 Cisco and/or its affiliates. All rights reserved. Cisco Confidential   </a:t>
            </a:r>
          </a:p>
        </p:txBody>
      </p:sp>
    </p:spTree>
    <p:extLst>
      <p:ext uri="{BB962C8B-B14F-4D97-AF65-F5344CB8AC3E}">
        <p14:creationId xmlns:p14="http://schemas.microsoft.com/office/powerpoint/2010/main" val="2688120159"/>
      </p:ext>
    </p:extLst>
  </p:cSld>
  <p:clrMap bg1="lt1" tx1="dk1" bg2="lt2" tx2="dk2" accent1="accent1" accent2="accent2" accent3="accent3" accent4="accent4" accent5="accent5" accent6="accent6" hlink="hlink" folHlink="folHlink"/>
  <p:sldLayoutIdLst>
    <p:sldLayoutId id="2147485029" r:id="rId1"/>
    <p:sldLayoutId id="2147485030" r:id="rId2"/>
    <p:sldLayoutId id="2147485031" r:id="rId3"/>
    <p:sldLayoutId id="2147485032" r:id="rId4"/>
    <p:sldLayoutId id="2147485033" r:id="rId5"/>
    <p:sldLayoutId id="2147485034" r:id="rId6"/>
    <p:sldLayoutId id="2147485035" r:id="rId7"/>
    <p:sldLayoutId id="2147485036" r:id="rId8"/>
    <p:sldLayoutId id="2147485037" r:id="rId9"/>
    <p:sldLayoutId id="2147485038" r:id="rId10"/>
    <p:sldLayoutId id="2147485039" r:id="rId11"/>
    <p:sldLayoutId id="2147485040" r:id="rId12"/>
    <p:sldLayoutId id="2147485041" r:id="rId13"/>
    <p:sldLayoutId id="2147485042" r:id="rId14"/>
    <p:sldLayoutId id="2147485043" r:id="rId15"/>
    <p:sldLayoutId id="2147485044" r:id="rId16"/>
    <p:sldLayoutId id="2147485045" r:id="rId17"/>
    <p:sldLayoutId id="2147485046" r:id="rId18"/>
    <p:sldLayoutId id="2147485047" r:id="rId19"/>
    <p:sldLayoutId id="2147485048" r:id="rId20"/>
    <p:sldLayoutId id="2147485049" r:id="rId21"/>
    <p:sldLayoutId id="2147485050" r:id="rId22"/>
    <p:sldLayoutId id="2147485051" r:id="rId23"/>
    <p:sldLayoutId id="2147485052" r:id="rId24"/>
    <p:sldLayoutId id="2147485053" r:id="rId25"/>
    <p:sldLayoutId id="2147485054" r:id="rId26"/>
    <p:sldLayoutId id="2147485055" r:id="rId27"/>
    <p:sldLayoutId id="2147485056" r:id="rId28"/>
    <p:sldLayoutId id="2147485057" r:id="rId29"/>
    <p:sldLayoutId id="2147485058" r:id="rId30"/>
    <p:sldLayoutId id="2147485059" r:id="rId31"/>
    <p:sldLayoutId id="2147485060" r:id="rId32"/>
    <p:sldLayoutId id="2147485061" r:id="rId33"/>
    <p:sldLayoutId id="2147485062" r:id="rId34"/>
    <p:sldLayoutId id="2147485063" r:id="rId35"/>
    <p:sldLayoutId id="2147485064" r:id="rId36"/>
    <p:sldLayoutId id="2147485065" r:id="rId37"/>
    <p:sldLayoutId id="2147485066" r:id="rId38"/>
  </p:sldLayoutIdLst>
  <p:txStyles>
    <p:titleStyle>
      <a:lvl1pPr algn="l" defTabSz="684196" rtl="0" eaLnBrk="1" fontAlgn="base" hangingPunct="1">
        <a:lnSpc>
          <a:spcPct val="90000"/>
        </a:lnSpc>
        <a:spcBef>
          <a:spcPct val="0"/>
        </a:spcBef>
        <a:spcAft>
          <a:spcPct val="0"/>
        </a:spcAft>
        <a:defRPr lang="en-US" sz="2800" b="0" i="0" u="none" kern="1200" dirty="0">
          <a:solidFill>
            <a:srgbClr val="0D274D"/>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accent2"/>
        </a:buClr>
        <a:buSzPct val="80000"/>
        <a:buFont typeface="Arial" charset="0"/>
        <a:buChar char="•"/>
        <a:defRPr lang="en-US" sz="1800" kern="1200" dirty="0">
          <a:solidFill>
            <a:schemeClr val="tx1"/>
          </a:solidFill>
          <a:latin typeface="+mn-lt"/>
          <a:ea typeface="ＭＳ Ｐゴシック" charset="0"/>
          <a:cs typeface="CiscoSans"/>
        </a:defRPr>
      </a:lvl1pPr>
      <a:lvl2pPr marL="285743" indent="-114297" algn="l" defTabSz="684196" rtl="0" eaLnBrk="1" fontAlgn="base" hangingPunct="1">
        <a:lnSpc>
          <a:spcPct val="95000"/>
        </a:lnSpc>
        <a:spcBef>
          <a:spcPts val="600"/>
        </a:spcBef>
        <a:spcAft>
          <a:spcPct val="0"/>
        </a:spcAft>
        <a:buClr>
          <a:schemeClr val="accent2"/>
        </a:buClr>
        <a:buSzPct val="80000"/>
        <a:buFont typeface="System Font Regular"/>
        <a:buChar char="-"/>
        <a:tabLst>
          <a:tab pos="171446" algn="l"/>
        </a:tabLst>
        <a:defRPr lang="en-US" sz="1600" kern="1200" dirty="0">
          <a:solidFill>
            <a:schemeClr val="tx1"/>
          </a:solidFill>
          <a:latin typeface="+mn-lt"/>
          <a:ea typeface="ＭＳ Ｐゴシック" charset="0"/>
          <a:cs typeface="CiscoSans"/>
        </a:defRPr>
      </a:lvl2pPr>
      <a:lvl3pPr marL="400040" indent="-117472" algn="l" defTabSz="684196" rtl="0" eaLnBrk="1" fontAlgn="base" hangingPunct="1">
        <a:lnSpc>
          <a:spcPct val="95000"/>
        </a:lnSpc>
        <a:spcBef>
          <a:spcPts val="625"/>
        </a:spcBef>
        <a:spcAft>
          <a:spcPct val="0"/>
        </a:spcAft>
        <a:buClr>
          <a:schemeClr val="accent2"/>
        </a:buClr>
        <a:buSzPct val="80000"/>
        <a:buFont typeface="Arial" charset="0"/>
        <a:buChar char="•"/>
        <a:tabLst/>
        <a:defRPr lang="en-US" sz="1400" kern="1200" dirty="0">
          <a:solidFill>
            <a:schemeClr val="tx1"/>
          </a:solidFill>
          <a:latin typeface="+mn-lt"/>
          <a:ea typeface="ＭＳ Ｐゴシック" charset="0"/>
          <a:cs typeface="CiscoSans"/>
        </a:defRPr>
      </a:lvl3pPr>
      <a:lvl4pPr marL="514337" indent="-117472" algn="l" defTabSz="684196" rtl="0" eaLnBrk="1" fontAlgn="base" hangingPunct="1">
        <a:lnSpc>
          <a:spcPct val="95000"/>
        </a:lnSpc>
        <a:spcBef>
          <a:spcPts val="625"/>
        </a:spcBef>
        <a:spcAft>
          <a:spcPct val="0"/>
        </a:spcAft>
        <a:buClr>
          <a:schemeClr val="accent2"/>
        </a:buClr>
        <a:buSzPct val="80000"/>
        <a:buFont typeface="System Font Regular"/>
        <a:buChar char="-"/>
        <a:tabLst/>
        <a:defRPr lang="en-US" sz="1200" kern="1200" dirty="0">
          <a:solidFill>
            <a:schemeClr val="tx1"/>
          </a:solidFill>
          <a:latin typeface="+mn-lt"/>
          <a:ea typeface="ＭＳ Ｐゴシック" charset="0"/>
          <a:cs typeface="CiscoSans"/>
        </a:defRPr>
      </a:lvl4pPr>
      <a:lvl5pPr marL="628634" indent="-114297" algn="l" defTabSz="684196" rtl="0" eaLnBrk="1" fontAlgn="base" hangingPunct="1">
        <a:lnSpc>
          <a:spcPct val="95000"/>
        </a:lnSpc>
        <a:spcBef>
          <a:spcPts val="625"/>
        </a:spcBef>
        <a:spcAft>
          <a:spcPct val="0"/>
        </a:spcAft>
        <a:buClr>
          <a:schemeClr val="accent2"/>
        </a:buClr>
        <a:buSzPct val="80000"/>
        <a:buFont typeface="Arial" charset="0"/>
        <a:buChar char="•"/>
        <a:tabLst/>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44">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3858327518"/>
      </p:ext>
    </p:extLst>
  </p:cSld>
  <p:clrMap bg1="lt1" tx1="dk1" bg2="lt2" tx2="dk2" accent1="accent1" accent2="accent2" accent3="accent3" accent4="accent4" accent5="accent5" accent6="accent6" hlink="hlink" folHlink="folHlink"/>
  <p:sldLayoutIdLst>
    <p:sldLayoutId id="2147484202" r:id="rId1"/>
    <p:sldLayoutId id="2147484203" r:id="rId2"/>
    <p:sldLayoutId id="2147484204" r:id="rId3"/>
    <p:sldLayoutId id="2147484205" r:id="rId4"/>
    <p:sldLayoutId id="2147484206" r:id="rId5"/>
    <p:sldLayoutId id="2147484207" r:id="rId6"/>
    <p:sldLayoutId id="2147484208" r:id="rId7"/>
    <p:sldLayoutId id="2147484209" r:id="rId8"/>
    <p:sldLayoutId id="2147484210" r:id="rId9"/>
    <p:sldLayoutId id="2147484211" r:id="rId10"/>
    <p:sldLayoutId id="2147484212" r:id="rId11"/>
    <p:sldLayoutId id="2147484213" r:id="rId12"/>
    <p:sldLayoutId id="2147484214" r:id="rId13"/>
    <p:sldLayoutId id="2147484215" r:id="rId14"/>
    <p:sldLayoutId id="2147484216" r:id="rId15"/>
    <p:sldLayoutId id="2147484217" r:id="rId16"/>
    <p:sldLayoutId id="2147484218" r:id="rId17"/>
    <p:sldLayoutId id="2147484219" r:id="rId18"/>
    <p:sldLayoutId id="2147484220" r:id="rId19"/>
    <p:sldLayoutId id="2147484221" r:id="rId20"/>
    <p:sldLayoutId id="2147484222" r:id="rId21"/>
    <p:sldLayoutId id="2147484223" r:id="rId22"/>
    <p:sldLayoutId id="2147484224" r:id="rId23"/>
    <p:sldLayoutId id="2147484225" r:id="rId24"/>
    <p:sldLayoutId id="2147484226" r:id="rId25"/>
    <p:sldLayoutId id="2147484227" r:id="rId26"/>
    <p:sldLayoutId id="2147484228" r:id="rId27"/>
    <p:sldLayoutId id="2147484229" r:id="rId28"/>
    <p:sldLayoutId id="2147484230" r:id="rId29"/>
    <p:sldLayoutId id="2147484231" r:id="rId30"/>
    <p:sldLayoutId id="2147484232" r:id="rId31"/>
    <p:sldLayoutId id="2147484233" r:id="rId32"/>
    <p:sldLayoutId id="2147484234" r:id="rId33"/>
    <p:sldLayoutId id="2147484235" r:id="rId3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5">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40" imgW="425" imgH="424" progId="TCLayout.ActiveDocument.1">
                  <p:embed/>
                </p:oleObj>
              </mc:Choice>
              <mc:Fallback>
                <p:oleObj name="think-cell Slide" r:id="rId40"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8"/>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9"/>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2908148743"/>
      </p:ext>
    </p:extLst>
  </p:cSld>
  <p:clrMap bg1="lt1" tx1="dk1" bg2="lt2" tx2="dk2" accent1="accent1" accent2="accent2" accent3="accent3" accent4="accent4" accent5="accent5" accent6="accent6" hlink="hlink" folHlink="folHlink"/>
  <p:sldLayoutIdLst>
    <p:sldLayoutId id="2147485165" r:id="rId1"/>
    <p:sldLayoutId id="2147485166" r:id="rId2"/>
    <p:sldLayoutId id="2147485167" r:id="rId3"/>
    <p:sldLayoutId id="2147485168" r:id="rId4"/>
    <p:sldLayoutId id="2147485169" r:id="rId5"/>
    <p:sldLayoutId id="2147485170" r:id="rId6"/>
    <p:sldLayoutId id="2147485171" r:id="rId7"/>
    <p:sldLayoutId id="2147485172" r:id="rId8"/>
    <p:sldLayoutId id="2147485173" r:id="rId9"/>
    <p:sldLayoutId id="2147485174" r:id="rId10"/>
    <p:sldLayoutId id="2147485175" r:id="rId11"/>
    <p:sldLayoutId id="2147485176" r:id="rId12"/>
    <p:sldLayoutId id="2147485177" r:id="rId13"/>
    <p:sldLayoutId id="2147485178" r:id="rId14"/>
    <p:sldLayoutId id="2147485179" r:id="rId15"/>
    <p:sldLayoutId id="2147485180" r:id="rId16"/>
    <p:sldLayoutId id="2147485181" r:id="rId17"/>
    <p:sldLayoutId id="2147485182" r:id="rId18"/>
    <p:sldLayoutId id="2147485183" r:id="rId19"/>
    <p:sldLayoutId id="2147485184" r:id="rId20"/>
    <p:sldLayoutId id="2147485185" r:id="rId21"/>
    <p:sldLayoutId id="2147485186" r:id="rId22"/>
    <p:sldLayoutId id="2147485187" r:id="rId23"/>
    <p:sldLayoutId id="2147485188" r:id="rId24"/>
    <p:sldLayoutId id="2147485189" r:id="rId25"/>
    <p:sldLayoutId id="2147485190" r:id="rId26"/>
    <p:sldLayoutId id="2147485191" r:id="rId27"/>
    <p:sldLayoutId id="2147485192" r:id="rId28"/>
    <p:sldLayoutId id="2147485193" r:id="rId29"/>
    <p:sldLayoutId id="2147485194" r:id="rId30"/>
    <p:sldLayoutId id="2147485195" r:id="rId31"/>
    <p:sldLayoutId id="2147485196" r:id="rId32"/>
    <p:sldLayoutId id="2147485197" r:id="rId33"/>
    <p:sldLayoutId id="2147485198" r:id="rId34"/>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p15:clr>
            <a:srgbClr val="F26B43"/>
          </p15:clr>
        </p15:guide>
        <p15:guide id="9" pos="333">
          <p15:clr>
            <a:srgbClr val="F26B43"/>
          </p15:clr>
        </p15:guide>
        <p15:guide id="10" pos="5424">
          <p15:clr>
            <a:srgbClr val="F26B43"/>
          </p15:clr>
        </p15:guide>
        <p15:guide id="11" orient="horz" pos="204">
          <p15:clr>
            <a:srgbClr val="F26B43"/>
          </p15:clr>
        </p15:guide>
        <p15:guide id="14" orient="horz" pos="6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38" imgW="425" imgH="424" progId="TCLayout.ActiveDocument.1">
                  <p:embed/>
                </p:oleObj>
              </mc:Choice>
              <mc:Fallback>
                <p:oleObj name="think-cell Slide" r:id="rId38"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6"/>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7"/>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2801218361"/>
      </p:ext>
    </p:extLst>
  </p:cSld>
  <p:clrMap bg1="lt1" tx1="dk1" bg2="lt2" tx2="dk2" accent1="accent1" accent2="accent2" accent3="accent3" accent4="accent4" accent5="accent5" accent6="accent6" hlink="hlink" folHlink="folHlink"/>
  <p:sldLayoutIdLst>
    <p:sldLayoutId id="2147484238" r:id="rId1"/>
    <p:sldLayoutId id="2147484239" r:id="rId2"/>
    <p:sldLayoutId id="2147484240" r:id="rId3"/>
    <p:sldLayoutId id="2147484241" r:id="rId4"/>
    <p:sldLayoutId id="2147484242" r:id="rId5"/>
    <p:sldLayoutId id="2147484243" r:id="rId6"/>
    <p:sldLayoutId id="2147484244" r:id="rId7"/>
    <p:sldLayoutId id="2147484245" r:id="rId8"/>
    <p:sldLayoutId id="2147484246" r:id="rId9"/>
    <p:sldLayoutId id="2147484247" r:id="rId10"/>
    <p:sldLayoutId id="2147484248" r:id="rId11"/>
    <p:sldLayoutId id="2147484249" r:id="rId12"/>
    <p:sldLayoutId id="2147484250" r:id="rId13"/>
    <p:sldLayoutId id="2147484251" r:id="rId14"/>
    <p:sldLayoutId id="2147484252" r:id="rId15"/>
    <p:sldLayoutId id="2147484253" r:id="rId16"/>
    <p:sldLayoutId id="2147484254" r:id="rId17"/>
    <p:sldLayoutId id="2147484255" r:id="rId18"/>
    <p:sldLayoutId id="2147484256" r:id="rId19"/>
    <p:sldLayoutId id="2147484257" r:id="rId20"/>
    <p:sldLayoutId id="2147484258" r:id="rId21"/>
    <p:sldLayoutId id="2147484259" r:id="rId22"/>
    <p:sldLayoutId id="2147484260" r:id="rId23"/>
    <p:sldLayoutId id="2147484261" r:id="rId24"/>
    <p:sldLayoutId id="2147484262" r:id="rId25"/>
    <p:sldLayoutId id="2147484263" r:id="rId26"/>
    <p:sldLayoutId id="2147484264" r:id="rId27"/>
    <p:sldLayoutId id="2147484265" r:id="rId28"/>
    <p:sldLayoutId id="2147484266" r:id="rId29"/>
    <p:sldLayoutId id="2147484267" r:id="rId30"/>
    <p:sldLayoutId id="2147484268" r:id="rId31"/>
    <p:sldLayoutId id="2147484269" r:id="rId32"/>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p15:clr>
            <a:srgbClr val="F26B43"/>
          </p15:clr>
        </p15:guide>
        <p15:guide id="9" pos="333">
          <p15:clr>
            <a:srgbClr val="F26B43"/>
          </p15:clr>
        </p15:guide>
        <p15:guide id="10" pos="5424">
          <p15:clr>
            <a:srgbClr val="F26B43"/>
          </p15:clr>
        </p15:guide>
        <p15:guide id="11" orient="horz" pos="204">
          <p15:clr>
            <a:srgbClr val="F26B43"/>
          </p15:clr>
        </p15:guide>
        <p15:guide id="14" orient="horz" pos="68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oolsToo_Slide" descr="ToolsToo_Slide">
            <a:extLst>
              <a:ext uri="{FF2B5EF4-FFF2-40B4-BE49-F238E27FC236}">
                <a16:creationId xmlns:a16="http://schemas.microsoft.com/office/drawing/2014/main" id="{CE4F3182-7ADD-40F9-8283-27690A932E0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4106719415"/>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 id="2147484277" r:id="rId6"/>
    <p:sldLayoutId id="2147484278" r:id="rId7"/>
    <p:sldLayoutId id="2147484279" r:id="rId8"/>
    <p:sldLayoutId id="2147484280" r:id="rId9"/>
    <p:sldLayoutId id="2147484281" r:id="rId10"/>
    <p:sldLayoutId id="2147484282" r:id="rId11"/>
    <p:sldLayoutId id="2147484283" r:id="rId12"/>
    <p:sldLayoutId id="2147484284" r:id="rId13"/>
    <p:sldLayoutId id="2147484285" r:id="rId14"/>
    <p:sldLayoutId id="2147484286" r:id="rId15"/>
    <p:sldLayoutId id="2147484287" r:id="rId16"/>
    <p:sldLayoutId id="2147484288" r:id="rId17"/>
    <p:sldLayoutId id="2147484289" r:id="rId18"/>
    <p:sldLayoutId id="2147484290" r:id="rId19"/>
    <p:sldLayoutId id="2147484291" r:id="rId20"/>
    <p:sldLayoutId id="2147484292" r:id="rId21"/>
    <p:sldLayoutId id="2147484293" r:id="rId22"/>
    <p:sldLayoutId id="2147484294" r:id="rId23"/>
    <p:sldLayoutId id="2147484295" r:id="rId24"/>
    <p:sldLayoutId id="2147484296" r:id="rId25"/>
    <p:sldLayoutId id="2147484297" r:id="rId26"/>
    <p:sldLayoutId id="2147484298" r:id="rId27"/>
    <p:sldLayoutId id="2147484299" r:id="rId2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6D35BBF-4C5F-4BB2-BB91-037C53AD5FCA}"/>
              </a:ext>
            </a:extLst>
          </p:cNvPr>
          <p:cNvGraphicFramePr>
            <a:graphicFrameLocks noChangeAspect="1"/>
          </p:cNvGraphicFramePr>
          <p:nvPr userDrawn="1">
            <p:custDataLst>
              <p:tags r:id="rId34"/>
            </p:custDataLst>
            <p:extLst>
              <p:ext uri="{D42A27DB-BD31-4B8C-83A1-F6EECF244321}">
                <p14:modId xmlns:p14="http://schemas.microsoft.com/office/powerpoint/2010/main" val="3663637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37" imgW="425" imgH="424" progId="TCLayout.ActiveDocument.1">
                  <p:embed/>
                </p:oleObj>
              </mc:Choice>
              <mc:Fallback>
                <p:oleObj name="think-cell Slide" r:id="rId37" imgW="425" imgH="424" progId="TCLayout.ActiveDocument.1">
                  <p:embed/>
                  <p:pic>
                    <p:nvPicPr>
                      <p:cNvPr id="6" name="Object 5" hidden="1">
                        <a:extLst>
                          <a:ext uri="{FF2B5EF4-FFF2-40B4-BE49-F238E27FC236}">
                            <a16:creationId xmlns:a16="http://schemas.microsoft.com/office/drawing/2014/main" id="{56D35BBF-4C5F-4BB2-BB91-037C53AD5FCA}"/>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2195CCE-3892-4CEE-A00B-C3C704B77874}"/>
              </a:ext>
            </a:extLst>
          </p:cNvPr>
          <p:cNvSpPr/>
          <p:nvPr userDrawn="1">
            <p:custDataLst>
              <p:tags r:id="rId35"/>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p:nvSpPr>
        <p:spPr bwMode="ltGray">
          <a:xfrm>
            <a:off x="477680" y="4741654"/>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a:solidFill>
                  <a:schemeClr val="bg2">
                    <a:lumMod val="65000"/>
                  </a:schemeClr>
                </a:solidFill>
                <a:latin typeface="+mn-lt"/>
                <a:ea typeface="+mn-ea"/>
                <a:cs typeface="CiscoSans Thin"/>
              </a:rPr>
              <a:t>© 2020  Cisco and/or its affiliates. All rights reserved.   Cisco Confidential</a:t>
            </a:r>
          </a:p>
        </p:txBody>
      </p:sp>
      <p:sp>
        <p:nvSpPr>
          <p:cNvPr id="4" name="ToolsToo_Slide" descr="ToolsToo_Slide">
            <a:extLst>
              <a:ext uri="{FF2B5EF4-FFF2-40B4-BE49-F238E27FC236}">
                <a16:creationId xmlns:a16="http://schemas.microsoft.com/office/drawing/2014/main" id="{6FDD8C79-3247-4F43-9561-F51AED9D01C3}"/>
              </a:ext>
            </a:extLst>
          </p:cNvPr>
          <p:cNvSpPr/>
          <p:nvPr userDrawn="1"/>
        </p:nvSpPr>
        <p:spPr>
          <a:xfrm>
            <a:off x="0" y="0"/>
            <a:ext cx="9144000" cy="5143500"/>
          </a:xfrm>
          <a:prstGeom prst="rect">
            <a:avLst/>
          </a:prstGeom>
          <a:noFill/>
          <a:ln>
            <a:noFill/>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Rectangle 1" hidden="1">
            <a:extLst>
              <a:ext uri="{FF2B5EF4-FFF2-40B4-BE49-F238E27FC236}">
                <a16:creationId xmlns:a16="http://schemas.microsoft.com/office/drawing/2014/main" id="{42EC2FD7-16DB-4687-8E52-5A8D5F996716}"/>
              </a:ext>
            </a:extLst>
          </p:cNvPr>
          <p:cNvSpPr/>
          <p:nvPr userDrawn="1">
            <p:custDataLst>
              <p:tags r:id="rId36"/>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endParaRPr lang="en-GB" sz="2100" b="0" i="0" baseline="0">
              <a:latin typeface="CiscoSansTT ExtraLight" panose="020B0303020201020303" pitchFamily="34" charset="0"/>
              <a:sym typeface="CiscoSansTT ExtraLight" panose="020B0303020201020303" pitchFamily="34" charset="0"/>
            </a:endParaRPr>
          </a:p>
        </p:txBody>
      </p:sp>
    </p:spTree>
    <p:extLst>
      <p:ext uri="{BB962C8B-B14F-4D97-AF65-F5344CB8AC3E}">
        <p14:creationId xmlns:p14="http://schemas.microsoft.com/office/powerpoint/2010/main" val="2441427382"/>
      </p:ext>
    </p:extLst>
  </p:cSld>
  <p:clrMap bg1="lt1" tx1="dk1" bg2="lt2" tx2="dk2" accent1="accent1" accent2="accent2" accent3="accent3" accent4="accent4" accent5="accent5" accent6="accent6" hlink="hlink" folHlink="folHlink"/>
  <p:sldLayoutIdLst>
    <p:sldLayoutId id="2147484301" r:id="rId1"/>
    <p:sldLayoutId id="2147484302" r:id="rId2"/>
    <p:sldLayoutId id="2147484303" r:id="rId3"/>
    <p:sldLayoutId id="2147484304" r:id="rId4"/>
    <p:sldLayoutId id="2147484305" r:id="rId5"/>
    <p:sldLayoutId id="2147484306" r:id="rId6"/>
    <p:sldLayoutId id="2147484307" r:id="rId7"/>
    <p:sldLayoutId id="2147484308" r:id="rId8"/>
    <p:sldLayoutId id="2147484309" r:id="rId9"/>
    <p:sldLayoutId id="2147484310" r:id="rId10"/>
    <p:sldLayoutId id="2147484311" r:id="rId11"/>
    <p:sldLayoutId id="2147484312" r:id="rId12"/>
    <p:sldLayoutId id="2147484313" r:id="rId13"/>
    <p:sldLayoutId id="2147484314" r:id="rId14"/>
    <p:sldLayoutId id="2147484315" r:id="rId15"/>
    <p:sldLayoutId id="2147484316" r:id="rId16"/>
    <p:sldLayoutId id="2147484317" r:id="rId17"/>
    <p:sldLayoutId id="2147484318" r:id="rId18"/>
    <p:sldLayoutId id="2147484319" r:id="rId19"/>
    <p:sldLayoutId id="2147484320" r:id="rId20"/>
    <p:sldLayoutId id="2147484321" r:id="rId21"/>
    <p:sldLayoutId id="2147484322" r:id="rId22"/>
    <p:sldLayoutId id="2147484323" r:id="rId23"/>
    <p:sldLayoutId id="2147484324" r:id="rId24"/>
    <p:sldLayoutId id="2147484325" r:id="rId25"/>
    <p:sldLayoutId id="2147484326" r:id="rId26"/>
    <p:sldLayoutId id="2147484327" r:id="rId27"/>
    <p:sldLayoutId id="2147484328" r:id="rId28"/>
    <p:sldLayoutId id="2147484329" r:id="rId29"/>
    <p:sldLayoutId id="2147484330" r:id="rId30"/>
    <p:sldLayoutId id="2147484331" r:id="rId31"/>
  </p:sldLayoutIdLst>
  <p:txStyles>
    <p:titleStyle>
      <a:lvl1pPr algn="l" defTabSz="684196" rtl="0" eaLnBrk="1" fontAlgn="base" hangingPunct="1">
        <a:lnSpc>
          <a:spcPct val="80000"/>
        </a:lnSpc>
        <a:spcBef>
          <a:spcPct val="0"/>
        </a:spcBef>
        <a:spcAft>
          <a:spcPct val="0"/>
        </a:spcAft>
        <a:defRPr lang="en-US" sz="21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2868">
          <p15:clr>
            <a:srgbClr val="F26B43"/>
          </p15:clr>
        </p15:guide>
        <p15:guide id="9" pos="333">
          <p15:clr>
            <a:srgbClr val="F26B43"/>
          </p15:clr>
        </p15:guide>
        <p15:guide id="10" pos="5424">
          <p15:clr>
            <a:srgbClr val="F26B43"/>
          </p15:clr>
        </p15:guide>
        <p15:guide id="11" orient="horz" pos="204">
          <p15:clr>
            <a:srgbClr val="F26B43"/>
          </p15:clr>
        </p15:guide>
        <p15:guide id="14" orient="horz" pos="684">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EFFFF"/>
        </a:solidFill>
        <a:effectLst/>
      </p:bgPr>
    </p:bg>
    <p:spTree>
      <p:nvGrpSpPr>
        <p:cNvPr id="1" name=""/>
        <p:cNvGrpSpPr/>
        <p:nvPr/>
      </p:nvGrpSpPr>
      <p:grpSpPr>
        <a:xfrm>
          <a:off x="0" y="0"/>
          <a:ext cx="0" cy="0"/>
          <a:chOff x="0" y="0"/>
          <a:chExt cx="0" cy="0"/>
        </a:xfrm>
      </p:grpSpPr>
      <p:sp>
        <p:nvSpPr>
          <p:cNvPr id="2" name="Rectangle 4"/>
          <p:cNvSpPr txBox="1"/>
          <p:nvPr/>
        </p:nvSpPr>
        <p:spPr>
          <a:xfrm>
            <a:off x="477678" y="4732986"/>
            <a:ext cx="3401052" cy="16318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30792" tIns="30792" rIns="30792" bIns="30792" anchor="b">
            <a:spAutoFit/>
          </a:bodyPr>
          <a:lstStyle>
            <a:lvl1pPr defTabSz="610744">
              <a:defRPr sz="600" spc="20">
                <a:solidFill>
                  <a:srgbClr val="4CFFFF"/>
                </a:solidFill>
              </a:defRPr>
            </a:lvl1pPr>
          </a:lstStyle>
          <a:p>
            <a:r>
              <a:t>© 2019  Cisco and/or its affiliates. All rights reserved.   Cisco Confidential</a:t>
            </a:r>
          </a:p>
        </p:txBody>
      </p:sp>
      <p:sp>
        <p:nvSpPr>
          <p:cNvPr id="3" name="Rectangle 2"/>
          <p:cNvSpPr/>
          <p:nvPr userDrawn="1"/>
        </p:nvSpPr>
        <p:spPr>
          <a:xfrm>
            <a:off x="0" y="0"/>
            <a:ext cx="9144000" cy="5143500"/>
          </a:xfrm>
          <a:prstGeom prst="rect">
            <a:avLst/>
          </a:prstGeom>
          <a:solidFill>
            <a:schemeClr val="accent1"/>
          </a:solidFill>
          <a:ln w="12700">
            <a:miter lim="400000"/>
          </a:ln>
        </p:spPr>
        <p:txBody>
          <a:bodyPr lIns="45719" rIns="45719" anchor="ctr"/>
          <a:lstStyle/>
          <a:p>
            <a:pPr algn="ctr">
              <a:defRPr>
                <a:solidFill>
                  <a:srgbClr val="000000"/>
                </a:solidFill>
              </a:defRPr>
            </a:pPr>
            <a:endParaRPr/>
          </a:p>
        </p:txBody>
      </p:sp>
      <p:sp>
        <p:nvSpPr>
          <p:cNvPr id="4" name="Title Text"/>
          <p:cNvSpPr txBox="1">
            <a:spLocks noGrp="1"/>
          </p:cNvSpPr>
          <p:nvPr>
            <p:ph type="title"/>
          </p:nvPr>
        </p:nvSpPr>
        <p:spPr>
          <a:xfrm>
            <a:off x="416425" y="915409"/>
            <a:ext cx="7598042" cy="2847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1" tIns="45711" rIns="45711" bIns="45711" anchor="b">
            <a:normAutofit/>
          </a:bodyPr>
          <a:lstStyle/>
          <a:p>
            <a:r>
              <a:rPr lang="en-US"/>
              <a:t>T</a:t>
            </a:r>
            <a:r>
              <a:t>itle Text</a:t>
            </a:r>
          </a:p>
        </p:txBody>
      </p:sp>
      <p:sp>
        <p:nvSpPr>
          <p:cNvPr id="5" name="Body Level One…"/>
          <p:cNvSpPr txBox="1">
            <a:spLocks noGrp="1"/>
          </p:cNvSpPr>
          <p:nvPr>
            <p:ph type="body" idx="1"/>
          </p:nvPr>
        </p:nvSpPr>
        <p:spPr>
          <a:xfrm>
            <a:off x="457200" y="1200150"/>
            <a:ext cx="8229600" cy="339447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987614822"/>
      </p:ext>
    </p:extLst>
  </p:cSld>
  <p:clrMap bg1="dk1" tx1="lt1" bg2="dk2" tx2="lt2" accent1="accent1" accent2="accent2" accent3="accent3" accent4="accent4" accent5="accent5" accent6="accent6" hlink="hlink" folHlink="folHlink"/>
  <p:sldLayoutIdLst>
    <p:sldLayoutId id="2147484333" r:id="rId1"/>
    <p:sldLayoutId id="2147484334" r:id="rId2"/>
    <p:sldLayoutId id="2147484335" r:id="rId3"/>
    <p:sldLayoutId id="2147484336" r:id="rId4"/>
    <p:sldLayoutId id="2147484337" r:id="rId5"/>
    <p:sldLayoutId id="2147484338" r:id="rId6"/>
    <p:sldLayoutId id="2147484339" r:id="rId7"/>
    <p:sldLayoutId id="2147484340" r:id="rId8"/>
    <p:sldLayoutId id="2147484341" r:id="rId9"/>
    <p:sldLayoutId id="2147484342" r:id="rId10"/>
    <p:sldLayoutId id="2147484343" r:id="rId11"/>
    <p:sldLayoutId id="2147484344" r:id="rId12"/>
  </p:sldLayoutIdLst>
  <p:transition spd="med"/>
  <p:txStyles>
    <p:titleStyle>
      <a:lvl1pPr marL="0" marR="0" indent="0" algn="l" defTabSz="684212" rtl="0" latinLnBrk="0">
        <a:lnSpc>
          <a:spcPct val="90000"/>
        </a:lnSpc>
        <a:spcBef>
          <a:spcPts val="0"/>
        </a:spcBef>
        <a:spcAft>
          <a:spcPts val="0"/>
        </a:spcAft>
        <a:buClrTx/>
        <a:buSzTx/>
        <a:buFontTx/>
        <a:buNone/>
        <a:tabLst/>
        <a:defRPr sz="4600" b="0" i="0" u="none" strike="noStrike" cap="none" spc="0" baseline="0">
          <a:solidFill>
            <a:schemeClr val="accent3"/>
          </a:solidFill>
          <a:uFillTx/>
          <a:latin typeface="CiscoSansTT ExtraLight"/>
          <a:ea typeface="CiscoSansTT ExtraLight"/>
          <a:cs typeface="CiscoSansTT ExtraLight"/>
          <a:sym typeface="CiscoSansTT ExtraLight"/>
        </a:defRPr>
      </a:lvl1pPr>
      <a:lvl2pPr marL="0" marR="0" indent="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2pPr>
      <a:lvl3pPr marL="0" marR="0" indent="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3pPr>
      <a:lvl4pPr marL="0" marR="0" indent="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4pPr>
      <a:lvl5pPr marL="0" marR="0" indent="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5pPr>
      <a:lvl6pPr marL="0" marR="0" indent="45720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6pPr>
      <a:lvl7pPr marL="0" marR="0" indent="91440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7pPr>
      <a:lvl8pPr marL="0" marR="0" indent="137160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8pPr>
      <a:lvl9pPr marL="0" marR="0" indent="1828800" algn="l" defTabSz="684212" rtl="0" latinLnBrk="0">
        <a:lnSpc>
          <a:spcPct val="90000"/>
        </a:lnSpc>
        <a:spcBef>
          <a:spcPts val="0"/>
        </a:spcBef>
        <a:spcAft>
          <a:spcPts val="0"/>
        </a:spcAft>
        <a:buClrTx/>
        <a:buSzTx/>
        <a:buFontTx/>
        <a:buNone/>
        <a:tabLst/>
        <a:defRPr sz="4600" b="0" i="0" u="none" strike="noStrike" cap="none" spc="0" baseline="0">
          <a:solidFill>
            <a:srgbClr val="000000"/>
          </a:solidFill>
          <a:uFillTx/>
          <a:latin typeface="CiscoSansTT ExtraLight"/>
          <a:ea typeface="CiscoSansTT ExtraLight"/>
          <a:cs typeface="CiscoSansTT ExtraLight"/>
          <a:sym typeface="CiscoSansTT ExtraLight"/>
        </a:defRPr>
      </a:lvl9pPr>
    </p:titleStyle>
    <p:bodyStyle>
      <a:lvl1pPr marL="169862" marR="0" indent="-169862" algn="l" defTabSz="684212" rtl="0" latinLnBrk="0">
        <a:lnSpc>
          <a:spcPct val="95000"/>
        </a:lnSpc>
        <a:spcBef>
          <a:spcPts val="1000"/>
        </a:spcBef>
        <a:spcAft>
          <a:spcPts val="0"/>
        </a:spcAft>
        <a:buClr>
          <a:schemeClr val="accent3"/>
        </a:buClr>
        <a:buSzPct val="9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1pPr>
      <a:lvl2pPr marL="374196" marR="0" indent="-231321" algn="l" defTabSz="684212" rtl="0" latinLnBrk="0">
        <a:lnSpc>
          <a:spcPct val="95000"/>
        </a:lnSpc>
        <a:spcBef>
          <a:spcPts val="1000"/>
        </a:spcBef>
        <a:spcAft>
          <a:spcPts val="0"/>
        </a:spcAft>
        <a:buClr>
          <a:schemeClr val="accent3"/>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2pPr>
      <a:lvl3pPr marL="474265" marR="0" indent="-212328" algn="l" defTabSz="684212" rtl="0" latinLnBrk="0">
        <a:lnSpc>
          <a:spcPct val="95000"/>
        </a:lnSpc>
        <a:spcBef>
          <a:spcPts val="1000"/>
        </a:spcBef>
        <a:spcAft>
          <a:spcPts val="0"/>
        </a:spcAft>
        <a:buClr>
          <a:schemeClr val="accent3"/>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3pPr>
      <a:lvl4pPr marL="565006" marR="0" indent="-231631" algn="l" defTabSz="684212" rtl="0" latinLnBrk="0">
        <a:lnSpc>
          <a:spcPct val="95000"/>
        </a:lnSpc>
        <a:spcBef>
          <a:spcPts val="1000"/>
        </a:spcBef>
        <a:spcAft>
          <a:spcPts val="0"/>
        </a:spcAft>
        <a:buClr>
          <a:schemeClr val="accent3"/>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4pPr>
      <a:lvl5pPr marL="636443" marR="0" indent="-231631" algn="l" defTabSz="684212" rtl="0" latinLnBrk="0">
        <a:lnSpc>
          <a:spcPct val="95000"/>
        </a:lnSpc>
        <a:spcBef>
          <a:spcPts val="1000"/>
        </a:spcBef>
        <a:spcAft>
          <a:spcPts val="0"/>
        </a:spcAft>
        <a:buClr>
          <a:schemeClr val="accent3"/>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5pPr>
      <a:lvl6pPr marL="978152" marR="0" indent="-285741"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6pPr>
      <a:lvl7pPr marL="1085838" marR="0" indent="-321416"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7pPr>
      <a:lvl8pPr marL="0" marR="0" indent="2400219" algn="l" defTabSz="684212" rtl="0" latinLnBrk="0">
        <a:lnSpc>
          <a:spcPct val="95000"/>
        </a:lnSpc>
        <a:spcBef>
          <a:spcPts val="1000"/>
        </a:spcBef>
        <a:spcAft>
          <a:spcPts val="0"/>
        </a:spcAft>
        <a:buClr>
          <a:srgbClr val="000000"/>
        </a:buClr>
        <a:buSzTx/>
        <a:buFont typeface="Arial"/>
        <a:buNone/>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8pPr>
      <a:lvl9pPr marL="2914552" marR="0" indent="-171444" algn="l" defTabSz="684212" rtl="0" latinLnBrk="0">
        <a:lnSpc>
          <a:spcPct val="95000"/>
        </a:lnSpc>
        <a:spcBef>
          <a:spcPts val="1000"/>
        </a:spcBef>
        <a:spcAft>
          <a:spcPts val="0"/>
        </a:spcAft>
        <a:buClr>
          <a:srgbClr val="000000"/>
        </a:buClr>
        <a:buSzPct val="100000"/>
        <a:buFont typeface="Arial"/>
        <a:buChar char="•"/>
        <a:tabLst/>
        <a:defRPr sz="1500" b="0" i="0" u="none" strike="noStrike" cap="none" spc="0" baseline="0">
          <a:solidFill>
            <a:srgbClr val="FFFFFF"/>
          </a:solidFill>
          <a:uFillTx/>
          <a:latin typeface="CiscoSansTT ExtraLight"/>
          <a:ea typeface="CiscoSansTT ExtraLight"/>
          <a:cs typeface="CiscoSansTT ExtraLight"/>
          <a:sym typeface="CiscoSansTT ExtraLight"/>
        </a:defRPr>
      </a:lvl9pPr>
    </p:bodyStyle>
    <p:otherStyle>
      <a:lvl1pPr marL="0" marR="0" indent="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1pPr>
      <a:lvl2pPr marL="0" marR="0" indent="4572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2pPr>
      <a:lvl3pPr marL="0" marR="0" indent="9144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3pPr>
      <a:lvl4pPr marL="0" marR="0" indent="13716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4pPr>
      <a:lvl5pPr marL="0" marR="0" indent="18288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5pPr>
      <a:lvl6pPr marL="0" marR="0" indent="22860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6pPr>
      <a:lvl7pPr marL="0" marR="0" indent="27432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7pPr>
      <a:lvl8pPr marL="0" marR="0" indent="32004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8pPr>
      <a:lvl9pPr marL="0" marR="0" indent="3657600" algn="r" defTabSz="457200" rtl="0" latinLnBrk="0">
        <a:lnSpc>
          <a:spcPct val="100000"/>
        </a:lnSpc>
        <a:spcBef>
          <a:spcPts val="0"/>
        </a:spcBef>
        <a:spcAft>
          <a:spcPts val="0"/>
        </a:spcAft>
        <a:buClrTx/>
        <a:buSzTx/>
        <a:buFontTx/>
        <a:buNone/>
        <a:tabLst/>
        <a:defRPr sz="1200" b="0" i="0" u="none" strike="noStrike" cap="none" spc="0" baseline="0">
          <a:solidFill>
            <a:schemeClr val="tx1"/>
          </a:solidFill>
          <a:uFillTx/>
          <a:latin typeface="+mn-lt"/>
          <a:ea typeface="+mn-ea"/>
          <a:cs typeface="+mn-cs"/>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2766202008"/>
      </p:ext>
    </p:extLst>
  </p:cSld>
  <p:clrMap bg1="lt1" tx1="dk1" bg2="lt2" tx2="dk2" accent1="accent1" accent2="accent2" accent3="accent3" accent4="accent4" accent5="accent5" accent6="accent6" hlink="hlink" folHlink="folHlink"/>
  <p:sldLayoutIdLst>
    <p:sldLayoutId id="2147484346" r:id="rId1"/>
    <p:sldLayoutId id="2147484347" r:id="rId2"/>
    <p:sldLayoutId id="2147484348" r:id="rId3"/>
    <p:sldLayoutId id="2147484349" r:id="rId4"/>
    <p:sldLayoutId id="2147484350" r:id="rId5"/>
    <p:sldLayoutId id="2147484351" r:id="rId6"/>
    <p:sldLayoutId id="2147484352" r:id="rId7"/>
    <p:sldLayoutId id="2147484353" r:id="rId8"/>
    <p:sldLayoutId id="2147484354" r:id="rId9"/>
    <p:sldLayoutId id="2147484355" r:id="rId10"/>
    <p:sldLayoutId id="2147484356" r:id="rId11"/>
    <p:sldLayoutId id="2147484357" r:id="rId12"/>
    <p:sldLayoutId id="2147484358" r:id="rId13"/>
    <p:sldLayoutId id="2147484359" r:id="rId14"/>
    <p:sldLayoutId id="2147484360" r:id="rId15"/>
    <p:sldLayoutId id="2147484361" r:id="rId16"/>
    <p:sldLayoutId id="2147484362" r:id="rId17"/>
    <p:sldLayoutId id="2147484363" r:id="rId18"/>
    <p:sldLayoutId id="2147484364" r:id="rId19"/>
    <p:sldLayoutId id="2147484365" r:id="rId20"/>
    <p:sldLayoutId id="2147484366" r:id="rId21"/>
    <p:sldLayoutId id="2147484367" r:id="rId22"/>
    <p:sldLayoutId id="2147484368" r:id="rId23"/>
    <p:sldLayoutId id="2147484369" r:id="rId24"/>
    <p:sldLayoutId id="2147484370" r:id="rId25"/>
    <p:sldLayoutId id="2147484371" r:id="rId26"/>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9" y="341314"/>
            <a:ext cx="82661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bg2">
                    <a:lumMod val="65000"/>
                  </a:schemeClr>
                </a:solidFill>
                <a:latin typeface="+mn-lt"/>
                <a:ea typeface="+mn-ea"/>
                <a:cs typeface="CiscoSans Thin"/>
              </a:rPr>
              <a:t>© 2019  Cisco and/or its affiliates. All rights reserved.   Cisco Confidential</a:t>
            </a:r>
          </a:p>
        </p:txBody>
      </p:sp>
    </p:spTree>
    <p:extLst>
      <p:ext uri="{BB962C8B-B14F-4D97-AF65-F5344CB8AC3E}">
        <p14:creationId xmlns:p14="http://schemas.microsoft.com/office/powerpoint/2010/main" val="3536432769"/>
      </p:ext>
    </p:extLst>
  </p:cSld>
  <p:clrMap bg1="lt1" tx1="dk1" bg2="lt2" tx2="dk2" accent1="accent1" accent2="accent2" accent3="accent3" accent4="accent4" accent5="accent5" accent6="accent6" hlink="hlink" folHlink="folHlink"/>
  <p:sldLayoutIdLst>
    <p:sldLayoutId id="2147484374" r:id="rId1"/>
    <p:sldLayoutId id="2147484375" r:id="rId2"/>
    <p:sldLayoutId id="2147484376" r:id="rId3"/>
    <p:sldLayoutId id="2147484377" r:id="rId4"/>
    <p:sldLayoutId id="2147484378" r:id="rId5"/>
    <p:sldLayoutId id="2147484379" r:id="rId6"/>
    <p:sldLayoutId id="2147484380" r:id="rId7"/>
    <p:sldLayoutId id="2147484381" r:id="rId8"/>
    <p:sldLayoutId id="2147484382" r:id="rId9"/>
    <p:sldLayoutId id="2147484383" r:id="rId10"/>
    <p:sldLayoutId id="2147484384" r:id="rId11"/>
    <p:sldLayoutId id="2147484385" r:id="rId12"/>
    <p:sldLayoutId id="2147484386" r:id="rId13"/>
    <p:sldLayoutId id="2147484387" r:id="rId14"/>
    <p:sldLayoutId id="2147484388" r:id="rId15"/>
    <p:sldLayoutId id="2147484389" r:id="rId16"/>
    <p:sldLayoutId id="2147484390" r:id="rId17"/>
    <p:sldLayoutId id="2147484391" r:id="rId18"/>
    <p:sldLayoutId id="2147484392" r:id="rId19"/>
    <p:sldLayoutId id="2147484393" r:id="rId20"/>
    <p:sldLayoutId id="2147484394" r:id="rId21"/>
    <p:sldLayoutId id="2147484395" r:id="rId22"/>
    <p:sldLayoutId id="2147484396" r:id="rId23"/>
    <p:sldLayoutId id="2147484397" r:id="rId24"/>
    <p:sldLayoutId id="2147484398" r:id="rId25"/>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61">
          <p15:clr>
            <a:srgbClr val="F26B43"/>
          </p15:clr>
        </p15:guide>
        <p15:guide id="2" pos="336">
          <p15:clr>
            <a:srgbClr val="F26B43"/>
          </p15:clr>
        </p15:guide>
        <p15:guide id="3" pos="5424">
          <p15:clr>
            <a:srgbClr val="F26B43"/>
          </p15:clr>
        </p15:guide>
        <p15:guide id="4" orient="horz" pos="723">
          <p15:clr>
            <a:srgbClr val="F26B43"/>
          </p15:clr>
        </p15:guide>
        <p15:guide id="5" orient="horz" pos="320">
          <p15:clr>
            <a:srgbClr val="F26B43"/>
          </p15:clr>
        </p15:guide>
        <p15:guide id="6" pos="2876">
          <p15:clr>
            <a:srgbClr val="F26B43"/>
          </p15:clr>
        </p15:guide>
        <p15:guide id="7" orient="horz" pos="996">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2207399979"/>
      </p:ext>
    </p:extLst>
  </p:cSld>
  <p:clrMap bg1="lt1" tx1="dk1" bg2="lt2" tx2="dk2" accent1="accent1" accent2="accent2" accent3="accent3" accent4="accent4" accent5="accent5" accent6="accent6" hlink="hlink" folHlink="folHlink"/>
  <p:sldLayoutIdLst>
    <p:sldLayoutId id="2147484400" r:id="rId1"/>
    <p:sldLayoutId id="2147484401" r:id="rId2"/>
    <p:sldLayoutId id="2147484402" r:id="rId3"/>
    <p:sldLayoutId id="2147484403" r:id="rId4"/>
    <p:sldLayoutId id="2147484404" r:id="rId5"/>
    <p:sldLayoutId id="2147484405" r:id="rId6"/>
    <p:sldLayoutId id="2147484406" r:id="rId7"/>
    <p:sldLayoutId id="2147484407" r:id="rId8"/>
    <p:sldLayoutId id="2147484408" r:id="rId9"/>
    <p:sldLayoutId id="2147484409" r:id="rId10"/>
    <p:sldLayoutId id="2147484410" r:id="rId11"/>
    <p:sldLayoutId id="2147484411" r:id="rId12"/>
    <p:sldLayoutId id="2147484412" r:id="rId13"/>
    <p:sldLayoutId id="2147484413" r:id="rId14"/>
    <p:sldLayoutId id="2147484414" r:id="rId15"/>
    <p:sldLayoutId id="2147484415" r:id="rId16"/>
    <p:sldLayoutId id="2147484416" r:id="rId17"/>
    <p:sldLayoutId id="2147484417" r:id="rId18"/>
    <p:sldLayoutId id="2147484418" r:id="rId19"/>
    <p:sldLayoutId id="2147484419" r:id="rId20"/>
    <p:sldLayoutId id="2147484420" r:id="rId21"/>
    <p:sldLayoutId id="2147484421" r:id="rId22"/>
    <p:sldLayoutId id="2147484422" r:id="rId23"/>
    <p:sldLayoutId id="2147484423" r:id="rId24"/>
    <p:sldLayoutId id="2147484424" r:id="rId25"/>
    <p:sldLayoutId id="2147484425" r:id="rId26"/>
    <p:sldLayoutId id="2147484426" r:id="rId27"/>
    <p:sldLayoutId id="2147484427" r:id="rId28"/>
    <p:sldLayoutId id="2147484428" r:id="rId29"/>
    <p:sldLayoutId id="2147484429" r:id="rId30"/>
    <p:sldLayoutId id="2147484430" r:id="rId31"/>
    <p:sldLayoutId id="2147484431" r:id="rId32"/>
    <p:sldLayoutId id="2147484432" r:id="rId33"/>
    <p:sldLayoutId id="2147484433" r:id="rId34"/>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25">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7.png"/><Relationship Id="rId18" Type="http://schemas.openxmlformats.org/officeDocument/2006/relationships/image" Target="../media/image52.png"/><Relationship Id="rId3" Type="http://schemas.openxmlformats.org/officeDocument/2006/relationships/image" Target="../media/image39.png"/><Relationship Id="rId21" Type="http://schemas.openxmlformats.org/officeDocument/2006/relationships/image" Target="../media/image55.png"/><Relationship Id="rId7" Type="http://schemas.microsoft.com/office/2007/relationships/hdphoto" Target="../media/hdphoto1.wdp"/><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notesSlide" Target="../notesSlides/notesSlide1.xml"/><Relationship Id="rId16" Type="http://schemas.openxmlformats.org/officeDocument/2006/relationships/image" Target="../media/image50.png"/><Relationship Id="rId20" Type="http://schemas.openxmlformats.org/officeDocument/2006/relationships/image" Target="../media/image54.png"/><Relationship Id="rId1" Type="http://schemas.openxmlformats.org/officeDocument/2006/relationships/slideLayout" Target="../slideLayouts/slideLayout322.xml"/><Relationship Id="rId6" Type="http://schemas.openxmlformats.org/officeDocument/2006/relationships/image" Target="../media/image42.png"/><Relationship Id="rId11" Type="http://schemas.openxmlformats.org/officeDocument/2006/relationships/image" Target="../media/image45.png"/><Relationship Id="rId5" Type="http://schemas.openxmlformats.org/officeDocument/2006/relationships/image" Target="../media/image41.png"/><Relationship Id="rId15" Type="http://schemas.openxmlformats.org/officeDocument/2006/relationships/image" Target="../media/image49.png"/><Relationship Id="rId23" Type="http://schemas.openxmlformats.org/officeDocument/2006/relationships/image" Target="../media/image56.jpeg"/><Relationship Id="rId10" Type="http://schemas.microsoft.com/office/2007/relationships/hdphoto" Target="../media/hdphoto2.wdp"/><Relationship Id="rId19" Type="http://schemas.openxmlformats.org/officeDocument/2006/relationships/image" Target="../media/image53.png"/><Relationship Id="rId4" Type="http://schemas.openxmlformats.org/officeDocument/2006/relationships/image" Target="../media/image40.png"/><Relationship Id="rId9" Type="http://schemas.openxmlformats.org/officeDocument/2006/relationships/image" Target="../media/image44.png"/><Relationship Id="rId14" Type="http://schemas.openxmlformats.org/officeDocument/2006/relationships/image" Target="../media/image48.png"/><Relationship Id="rId22" Type="http://schemas.microsoft.com/office/2007/relationships/hdphoto" Target="../media/hdphoto3.wdp"/></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3.png"/><Relationship Id="rId18" Type="http://schemas.openxmlformats.org/officeDocument/2006/relationships/image" Target="../media/image52.png"/><Relationship Id="rId3" Type="http://schemas.openxmlformats.org/officeDocument/2006/relationships/image" Target="../media/image45.png"/><Relationship Id="rId21" Type="http://schemas.openxmlformats.org/officeDocument/2006/relationships/image" Target="../media/image63.svg"/><Relationship Id="rId7" Type="http://schemas.openxmlformats.org/officeDocument/2006/relationships/image" Target="../media/image48.png"/><Relationship Id="rId12" Type="http://schemas.microsoft.com/office/2007/relationships/hdphoto" Target="../media/hdphoto1.wdp"/><Relationship Id="rId17" Type="http://schemas.openxmlformats.org/officeDocument/2006/relationships/image" Target="../media/image51.png"/><Relationship Id="rId2" Type="http://schemas.openxmlformats.org/officeDocument/2006/relationships/notesSlide" Target="../notesSlides/notesSlide10.xml"/><Relationship Id="rId16" Type="http://schemas.openxmlformats.org/officeDocument/2006/relationships/image" Target="../media/image50.png"/><Relationship Id="rId20" Type="http://schemas.openxmlformats.org/officeDocument/2006/relationships/image" Target="../media/image62.png"/><Relationship Id="rId1" Type="http://schemas.openxmlformats.org/officeDocument/2006/relationships/slideLayout" Target="../slideLayouts/slideLayout328.xml"/><Relationship Id="rId6" Type="http://schemas.openxmlformats.org/officeDocument/2006/relationships/image" Target="../media/image47.png"/><Relationship Id="rId11" Type="http://schemas.openxmlformats.org/officeDocument/2006/relationships/image" Target="../media/image42.png"/><Relationship Id="rId5" Type="http://schemas.openxmlformats.org/officeDocument/2006/relationships/image" Target="../media/image46.png"/><Relationship Id="rId15" Type="http://schemas.microsoft.com/office/2007/relationships/hdphoto" Target="../media/hdphoto2.wdp"/><Relationship Id="rId10" Type="http://schemas.openxmlformats.org/officeDocument/2006/relationships/image" Target="../media/image41.png"/><Relationship Id="rId19" Type="http://schemas.openxmlformats.org/officeDocument/2006/relationships/image" Target="../media/image53.png"/><Relationship Id="rId4" Type="http://schemas.openxmlformats.org/officeDocument/2006/relationships/image" Target="../media/image61.png"/><Relationship Id="rId9" Type="http://schemas.openxmlformats.org/officeDocument/2006/relationships/image" Target="../media/image40.png"/><Relationship Id="rId14" Type="http://schemas.openxmlformats.org/officeDocument/2006/relationships/image" Target="../media/image44.png"/><Relationship Id="rId22"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1.xml"/><Relationship Id="rId1" Type="http://schemas.openxmlformats.org/officeDocument/2006/relationships/slideLayout" Target="../slideLayouts/slideLayout330.xml"/><Relationship Id="rId4" Type="http://schemas.openxmlformats.org/officeDocument/2006/relationships/image" Target="../media/image102.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53.png"/><Relationship Id="rId18" Type="http://schemas.openxmlformats.org/officeDocument/2006/relationships/image" Target="../media/image107.tiff"/><Relationship Id="rId3" Type="http://schemas.openxmlformats.org/officeDocument/2006/relationships/image" Target="../media/image40.png"/><Relationship Id="rId21" Type="http://schemas.openxmlformats.org/officeDocument/2006/relationships/image" Target="../media/image110.png"/><Relationship Id="rId7" Type="http://schemas.openxmlformats.org/officeDocument/2006/relationships/image" Target="../media/image43.png"/><Relationship Id="rId12" Type="http://schemas.openxmlformats.org/officeDocument/2006/relationships/image" Target="../media/image52.png"/><Relationship Id="rId17" Type="http://schemas.openxmlformats.org/officeDocument/2006/relationships/image" Target="../media/image106.png"/><Relationship Id="rId2" Type="http://schemas.openxmlformats.org/officeDocument/2006/relationships/notesSlide" Target="../notesSlides/notesSlide12.xml"/><Relationship Id="rId16" Type="http://schemas.openxmlformats.org/officeDocument/2006/relationships/image" Target="../media/image105.png"/><Relationship Id="rId20" Type="http://schemas.openxmlformats.org/officeDocument/2006/relationships/image" Target="../media/image109.png"/><Relationship Id="rId1" Type="http://schemas.openxmlformats.org/officeDocument/2006/relationships/slideLayout" Target="../slideLayouts/slideLayout328.xml"/><Relationship Id="rId6" Type="http://schemas.microsoft.com/office/2007/relationships/hdphoto" Target="../media/hdphoto1.wdp"/><Relationship Id="rId11" Type="http://schemas.openxmlformats.org/officeDocument/2006/relationships/image" Target="../media/image51.png"/><Relationship Id="rId5" Type="http://schemas.openxmlformats.org/officeDocument/2006/relationships/image" Target="../media/image42.png"/><Relationship Id="rId15" Type="http://schemas.openxmlformats.org/officeDocument/2006/relationships/image" Target="../media/image104.png"/><Relationship Id="rId10" Type="http://schemas.openxmlformats.org/officeDocument/2006/relationships/image" Target="../media/image50.png"/><Relationship Id="rId19" Type="http://schemas.openxmlformats.org/officeDocument/2006/relationships/image" Target="../media/image108.tiff"/><Relationship Id="rId4" Type="http://schemas.openxmlformats.org/officeDocument/2006/relationships/image" Target="../media/image41.png"/><Relationship Id="rId9" Type="http://schemas.microsoft.com/office/2007/relationships/hdphoto" Target="../media/hdphoto2.wdp"/><Relationship Id="rId14" Type="http://schemas.openxmlformats.org/officeDocument/2006/relationships/image" Target="../media/image103.png"/></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112.png"/><Relationship Id="rId2" Type="http://schemas.openxmlformats.org/officeDocument/2006/relationships/notesSlide" Target="../notesSlides/notesSlide13.xml"/><Relationship Id="rId1" Type="http://schemas.openxmlformats.org/officeDocument/2006/relationships/slideLayout" Target="../slideLayouts/slideLayout328.xml"/><Relationship Id="rId6" Type="http://schemas.openxmlformats.org/officeDocument/2006/relationships/image" Target="../media/image39.png"/><Relationship Id="rId5" Type="http://schemas.openxmlformats.org/officeDocument/2006/relationships/image" Target="../media/image110.png"/><Relationship Id="rId4" Type="http://schemas.openxmlformats.org/officeDocument/2006/relationships/image" Target="../media/image111.png"/></Relationships>
</file>

<file path=ppt/slides/_rels/slide14.xml.rels><?xml version="1.0" encoding="UTF-8" standalone="yes"?>
<Relationships xmlns="http://schemas.openxmlformats.org/package/2006/relationships"><Relationship Id="rId8" Type="http://schemas.openxmlformats.org/officeDocument/2006/relationships/image" Target="../media/image114.tiff"/><Relationship Id="rId3" Type="http://schemas.openxmlformats.org/officeDocument/2006/relationships/image" Target="../media/image46.png"/><Relationship Id="rId7" Type="http://schemas.openxmlformats.org/officeDocument/2006/relationships/image" Target="../media/image113.tiff"/><Relationship Id="rId2" Type="http://schemas.openxmlformats.org/officeDocument/2006/relationships/notesSlide" Target="../notesSlides/notesSlide14.xml"/><Relationship Id="rId1" Type="http://schemas.openxmlformats.org/officeDocument/2006/relationships/slideLayout" Target="../slideLayouts/slideLayout328.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115.png"/><Relationship Id="rId4" Type="http://schemas.openxmlformats.org/officeDocument/2006/relationships/image" Target="../media/image47.png"/><Relationship Id="rId9" Type="http://schemas.openxmlformats.org/officeDocument/2006/relationships/image" Target="../media/image110.png"/></Relationships>
</file>

<file path=ppt/slides/_rels/slide15.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6.tiff"/><Relationship Id="rId18" Type="http://schemas.openxmlformats.org/officeDocument/2006/relationships/image" Target="../media/image131.tiff"/><Relationship Id="rId26" Type="http://schemas.openxmlformats.org/officeDocument/2006/relationships/image" Target="../media/image139.jpeg"/><Relationship Id="rId39" Type="http://schemas.openxmlformats.org/officeDocument/2006/relationships/image" Target="../media/image152.tiff"/><Relationship Id="rId3" Type="http://schemas.openxmlformats.org/officeDocument/2006/relationships/image" Target="../media/image117.png"/><Relationship Id="rId21" Type="http://schemas.openxmlformats.org/officeDocument/2006/relationships/image" Target="../media/image134.png"/><Relationship Id="rId34" Type="http://schemas.openxmlformats.org/officeDocument/2006/relationships/image" Target="../media/image147.png"/><Relationship Id="rId42" Type="http://schemas.openxmlformats.org/officeDocument/2006/relationships/image" Target="../media/image155.tiff"/><Relationship Id="rId7" Type="http://schemas.openxmlformats.org/officeDocument/2006/relationships/image" Target="../media/image121.tiff"/><Relationship Id="rId12" Type="http://schemas.microsoft.com/office/2007/relationships/hdphoto" Target="../media/hdphoto6.wdp"/><Relationship Id="rId17" Type="http://schemas.openxmlformats.org/officeDocument/2006/relationships/image" Target="../media/image130.png"/><Relationship Id="rId25" Type="http://schemas.openxmlformats.org/officeDocument/2006/relationships/image" Target="../media/image138.tiff"/><Relationship Id="rId33" Type="http://schemas.openxmlformats.org/officeDocument/2006/relationships/image" Target="../media/image146.png"/><Relationship Id="rId38" Type="http://schemas.openxmlformats.org/officeDocument/2006/relationships/image" Target="../media/image151.tiff"/><Relationship Id="rId2" Type="http://schemas.openxmlformats.org/officeDocument/2006/relationships/image" Target="../media/image116.png"/><Relationship Id="rId16" Type="http://schemas.openxmlformats.org/officeDocument/2006/relationships/image" Target="../media/image129.png"/><Relationship Id="rId20" Type="http://schemas.openxmlformats.org/officeDocument/2006/relationships/image" Target="../media/image133.png"/><Relationship Id="rId29" Type="http://schemas.openxmlformats.org/officeDocument/2006/relationships/image" Target="../media/image142.tiff"/><Relationship Id="rId41" Type="http://schemas.openxmlformats.org/officeDocument/2006/relationships/image" Target="../media/image154.tiff"/><Relationship Id="rId1" Type="http://schemas.openxmlformats.org/officeDocument/2006/relationships/slideLayout" Target="../slideLayouts/slideLayout328.xml"/><Relationship Id="rId6" Type="http://schemas.openxmlformats.org/officeDocument/2006/relationships/image" Target="../media/image120.tiff"/><Relationship Id="rId11" Type="http://schemas.openxmlformats.org/officeDocument/2006/relationships/image" Target="../media/image125.png"/><Relationship Id="rId24" Type="http://schemas.openxmlformats.org/officeDocument/2006/relationships/image" Target="../media/image137.tiff"/><Relationship Id="rId32" Type="http://schemas.openxmlformats.org/officeDocument/2006/relationships/image" Target="../media/image145.png"/><Relationship Id="rId37" Type="http://schemas.openxmlformats.org/officeDocument/2006/relationships/image" Target="../media/image150.tiff"/><Relationship Id="rId40" Type="http://schemas.openxmlformats.org/officeDocument/2006/relationships/image" Target="../media/image153.tiff"/><Relationship Id="rId5" Type="http://schemas.openxmlformats.org/officeDocument/2006/relationships/image" Target="../media/image119.tiff"/><Relationship Id="rId15" Type="http://schemas.openxmlformats.org/officeDocument/2006/relationships/image" Target="../media/image128.png"/><Relationship Id="rId23" Type="http://schemas.openxmlformats.org/officeDocument/2006/relationships/image" Target="../media/image136.tiff"/><Relationship Id="rId28" Type="http://schemas.openxmlformats.org/officeDocument/2006/relationships/image" Target="../media/image141.png"/><Relationship Id="rId36" Type="http://schemas.openxmlformats.org/officeDocument/2006/relationships/image" Target="../media/image149.tiff"/><Relationship Id="rId10" Type="http://schemas.openxmlformats.org/officeDocument/2006/relationships/image" Target="../media/image124.svg"/><Relationship Id="rId19" Type="http://schemas.openxmlformats.org/officeDocument/2006/relationships/image" Target="../media/image132.png"/><Relationship Id="rId31" Type="http://schemas.openxmlformats.org/officeDocument/2006/relationships/image" Target="../media/image144.png"/><Relationship Id="rId4" Type="http://schemas.openxmlformats.org/officeDocument/2006/relationships/image" Target="../media/image118.tiff"/><Relationship Id="rId9" Type="http://schemas.openxmlformats.org/officeDocument/2006/relationships/image" Target="../media/image123.pn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png"/><Relationship Id="rId30" Type="http://schemas.openxmlformats.org/officeDocument/2006/relationships/image" Target="../media/image143.tiff"/><Relationship Id="rId35" Type="http://schemas.openxmlformats.org/officeDocument/2006/relationships/image" Target="../media/image148.tiff"/><Relationship Id="rId43" Type="http://schemas.openxmlformats.org/officeDocument/2006/relationships/image" Target="../media/image156.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8.xml"/></Relationships>
</file>

<file path=ppt/slides/_rels/slide17.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6.xml"/><Relationship Id="rId1" Type="http://schemas.openxmlformats.org/officeDocument/2006/relationships/slideLayout" Target="../slideLayouts/slideLayout325.xml"/></Relationships>
</file>

<file path=ppt/slides/_rels/slide18.xml.rels><?xml version="1.0" encoding="UTF-8" standalone="yes"?>
<Relationships xmlns="http://schemas.openxmlformats.org/package/2006/relationships"><Relationship Id="rId3" Type="http://schemas.openxmlformats.org/officeDocument/2006/relationships/image" Target="../media/image158.png"/><Relationship Id="rId7" Type="http://schemas.openxmlformats.org/officeDocument/2006/relationships/image" Target="../media/image162.emf"/><Relationship Id="rId2" Type="http://schemas.openxmlformats.org/officeDocument/2006/relationships/notesSlide" Target="../notesSlides/notesSlide17.xml"/><Relationship Id="rId1" Type="http://schemas.openxmlformats.org/officeDocument/2006/relationships/slideLayout" Target="../slideLayouts/slideLayout328.xml"/><Relationship Id="rId6" Type="http://schemas.openxmlformats.org/officeDocument/2006/relationships/image" Target="../media/image161.svg"/><Relationship Id="rId5" Type="http://schemas.openxmlformats.org/officeDocument/2006/relationships/image" Target="../media/image160.png"/><Relationship Id="rId4" Type="http://schemas.openxmlformats.org/officeDocument/2006/relationships/image" Target="../media/image159.emf"/></Relationships>
</file>

<file path=ppt/slides/_rels/slide19.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18.xml"/><Relationship Id="rId1" Type="http://schemas.openxmlformats.org/officeDocument/2006/relationships/slideLayout" Target="../slideLayouts/slideLayout328.xml"/><Relationship Id="rId5" Type="http://schemas.openxmlformats.org/officeDocument/2006/relationships/image" Target="../media/image165.png"/><Relationship Id="rId4" Type="http://schemas.openxmlformats.org/officeDocument/2006/relationships/image" Target="../media/image164.png"/></Relationships>
</file>

<file path=ppt/slides/_rels/slide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7.png"/><Relationship Id="rId7" Type="http://schemas.microsoft.com/office/2007/relationships/hdphoto" Target="../media/hdphoto5.wdp"/><Relationship Id="rId2" Type="http://schemas.openxmlformats.org/officeDocument/2006/relationships/notesSlide" Target="../notesSlides/notesSlide2.xml"/><Relationship Id="rId1" Type="http://schemas.openxmlformats.org/officeDocument/2006/relationships/slideLayout" Target="../slideLayouts/slideLayout328.xml"/><Relationship Id="rId6" Type="http://schemas.openxmlformats.org/officeDocument/2006/relationships/image" Target="../media/image59.png"/><Relationship Id="rId5" Type="http://schemas.microsoft.com/office/2007/relationships/hdphoto" Target="../media/hdphoto4.wdp"/><Relationship Id="rId4" Type="http://schemas.openxmlformats.org/officeDocument/2006/relationships/image" Target="../media/image58.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43.xml"/><Relationship Id="rId2" Type="http://schemas.openxmlformats.org/officeDocument/2006/relationships/tags" Target="../tags/tag3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0.png"/><Relationship Id="rId7" Type="http://schemas.microsoft.com/office/2007/relationships/hdphoto" Target="../media/hdphoto2.wdp"/><Relationship Id="rId2" Type="http://schemas.openxmlformats.org/officeDocument/2006/relationships/notesSlide" Target="../notesSlides/notesSlide20.xml"/><Relationship Id="rId1" Type="http://schemas.openxmlformats.org/officeDocument/2006/relationships/slideLayout" Target="../slideLayouts/slideLayout329.xml"/><Relationship Id="rId6" Type="http://schemas.openxmlformats.org/officeDocument/2006/relationships/image" Target="../media/image44.png"/><Relationship Id="rId11" Type="http://schemas.openxmlformats.org/officeDocument/2006/relationships/image" Target="../media/image53.png"/><Relationship Id="rId5" Type="http://schemas.openxmlformats.org/officeDocument/2006/relationships/image" Target="../media/image43.png"/><Relationship Id="rId10" Type="http://schemas.openxmlformats.org/officeDocument/2006/relationships/image" Target="../media/image52.png"/><Relationship Id="rId4" Type="http://schemas.openxmlformats.org/officeDocument/2006/relationships/image" Target="../media/image41.png"/><Relationship Id="rId9"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21.xml"/><Relationship Id="rId1" Type="http://schemas.openxmlformats.org/officeDocument/2006/relationships/slideLayout" Target="../slideLayouts/slideLayout3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8.xml"/></Relationships>
</file>

<file path=ppt/slides/_rels/slide4.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3.png"/><Relationship Id="rId18" Type="http://schemas.openxmlformats.org/officeDocument/2006/relationships/image" Target="../media/image52.png"/><Relationship Id="rId3" Type="http://schemas.openxmlformats.org/officeDocument/2006/relationships/image" Target="../media/image45.png"/><Relationship Id="rId7" Type="http://schemas.openxmlformats.org/officeDocument/2006/relationships/image" Target="../media/image48.png"/><Relationship Id="rId12" Type="http://schemas.microsoft.com/office/2007/relationships/hdphoto" Target="../media/hdphoto1.wdp"/><Relationship Id="rId17" Type="http://schemas.openxmlformats.org/officeDocument/2006/relationships/image" Target="../media/image51.png"/><Relationship Id="rId2" Type="http://schemas.openxmlformats.org/officeDocument/2006/relationships/notesSlide" Target="../notesSlides/notesSlide4.xml"/><Relationship Id="rId16" Type="http://schemas.openxmlformats.org/officeDocument/2006/relationships/image" Target="../media/image50.png"/><Relationship Id="rId1" Type="http://schemas.openxmlformats.org/officeDocument/2006/relationships/slideLayout" Target="../slideLayouts/slideLayout328.xml"/><Relationship Id="rId6" Type="http://schemas.openxmlformats.org/officeDocument/2006/relationships/image" Target="../media/image47.png"/><Relationship Id="rId11" Type="http://schemas.openxmlformats.org/officeDocument/2006/relationships/image" Target="../media/image42.png"/><Relationship Id="rId5" Type="http://schemas.openxmlformats.org/officeDocument/2006/relationships/image" Target="../media/image46.png"/><Relationship Id="rId15" Type="http://schemas.microsoft.com/office/2007/relationships/hdphoto" Target="../media/hdphoto2.wdp"/><Relationship Id="rId10" Type="http://schemas.openxmlformats.org/officeDocument/2006/relationships/image" Target="../media/image41.png"/><Relationship Id="rId19" Type="http://schemas.openxmlformats.org/officeDocument/2006/relationships/image" Target="../media/image53.png"/><Relationship Id="rId4" Type="http://schemas.openxmlformats.org/officeDocument/2006/relationships/image" Target="../media/image61.png"/><Relationship Id="rId9" Type="http://schemas.openxmlformats.org/officeDocument/2006/relationships/image" Target="../media/image40.png"/><Relationship Id="rId1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328.xml"/><Relationship Id="rId5" Type="http://schemas.openxmlformats.org/officeDocument/2006/relationships/image" Target="../media/image64.png"/><Relationship Id="rId4" Type="http://schemas.openxmlformats.org/officeDocument/2006/relationships/image" Target="../media/image63.svg"/></Relationships>
</file>

<file path=ppt/slides/_rels/slide6.xml.rels><?xml version="1.0" encoding="UTF-8" standalone="yes"?>
<Relationships xmlns="http://schemas.openxmlformats.org/package/2006/relationships"><Relationship Id="rId8" Type="http://schemas.openxmlformats.org/officeDocument/2006/relationships/image" Target="../media/image70.sv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notesSlide" Target="../notesSlides/notesSlide6.xml"/><Relationship Id="rId1" Type="http://schemas.openxmlformats.org/officeDocument/2006/relationships/slideLayout" Target="../slideLayouts/slideLayout328.xml"/><Relationship Id="rId6" Type="http://schemas.openxmlformats.org/officeDocument/2006/relationships/image" Target="../media/image68.svg"/><Relationship Id="rId5" Type="http://schemas.openxmlformats.org/officeDocument/2006/relationships/image" Target="../media/image67.png"/><Relationship Id="rId10" Type="http://schemas.openxmlformats.org/officeDocument/2006/relationships/image" Target="../media/image72.svg"/><Relationship Id="rId4" Type="http://schemas.openxmlformats.org/officeDocument/2006/relationships/image" Target="../media/image66.svg"/><Relationship Id="rId9" Type="http://schemas.openxmlformats.org/officeDocument/2006/relationships/image" Target="../media/image71.png"/></Relationships>
</file>

<file path=ppt/slides/_rels/slide7.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3.png"/><Relationship Id="rId26" Type="http://schemas.openxmlformats.org/officeDocument/2006/relationships/image" Target="../media/image88.png"/><Relationship Id="rId3" Type="http://schemas.openxmlformats.org/officeDocument/2006/relationships/tags" Target="../tags/tag33.xml"/><Relationship Id="rId21" Type="http://schemas.openxmlformats.org/officeDocument/2006/relationships/image" Target="../media/image66.svg"/><Relationship Id="rId34" Type="http://schemas.openxmlformats.org/officeDocument/2006/relationships/image" Target="../media/image95.svg"/><Relationship Id="rId7" Type="http://schemas.openxmlformats.org/officeDocument/2006/relationships/image" Target="../media/image73.emf"/><Relationship Id="rId12" Type="http://schemas.openxmlformats.org/officeDocument/2006/relationships/image" Target="../media/image78.png"/><Relationship Id="rId17" Type="http://schemas.openxmlformats.org/officeDocument/2006/relationships/image" Target="../media/image72.svg"/><Relationship Id="rId25" Type="http://schemas.openxmlformats.org/officeDocument/2006/relationships/image" Target="../media/image87.png"/><Relationship Id="rId33" Type="http://schemas.openxmlformats.org/officeDocument/2006/relationships/image" Target="../media/image94.png"/><Relationship Id="rId2" Type="http://schemas.openxmlformats.org/officeDocument/2006/relationships/tags" Target="../tags/tag32.xml"/><Relationship Id="rId16" Type="http://schemas.openxmlformats.org/officeDocument/2006/relationships/image" Target="../media/image82.png"/><Relationship Id="rId20" Type="http://schemas.openxmlformats.org/officeDocument/2006/relationships/image" Target="../media/image84.png"/><Relationship Id="rId29" Type="http://schemas.openxmlformats.org/officeDocument/2006/relationships/image" Target="../media/image91.png"/><Relationship Id="rId1" Type="http://schemas.openxmlformats.org/officeDocument/2006/relationships/vmlDrawing" Target="../drawings/vmlDrawing13.vml"/><Relationship Id="rId6" Type="http://schemas.openxmlformats.org/officeDocument/2006/relationships/oleObject" Target="../embeddings/oleObject13.bin"/><Relationship Id="rId11" Type="http://schemas.openxmlformats.org/officeDocument/2006/relationships/image" Target="../media/image77.svg"/><Relationship Id="rId24" Type="http://schemas.openxmlformats.org/officeDocument/2006/relationships/image" Target="../media/image86.png"/><Relationship Id="rId32" Type="http://schemas.openxmlformats.org/officeDocument/2006/relationships/image" Target="../media/image93.png"/><Relationship Id="rId5" Type="http://schemas.openxmlformats.org/officeDocument/2006/relationships/notesSlide" Target="../notesSlides/notesSlide7.xml"/><Relationship Id="rId15" Type="http://schemas.openxmlformats.org/officeDocument/2006/relationships/image" Target="../media/image81.svg"/><Relationship Id="rId23" Type="http://schemas.openxmlformats.org/officeDocument/2006/relationships/image" Target="../media/image68.svg"/><Relationship Id="rId28" Type="http://schemas.openxmlformats.org/officeDocument/2006/relationships/image" Target="../media/image90.png"/><Relationship Id="rId36" Type="http://schemas.openxmlformats.org/officeDocument/2006/relationships/image" Target="../media/image97.svg"/><Relationship Id="rId10" Type="http://schemas.openxmlformats.org/officeDocument/2006/relationships/image" Target="../media/image76.png"/><Relationship Id="rId19" Type="http://schemas.openxmlformats.org/officeDocument/2006/relationships/image" Target="../media/image70.svg"/><Relationship Id="rId31" Type="http://schemas.openxmlformats.org/officeDocument/2006/relationships/image" Target="../media/image39.png"/><Relationship Id="rId4" Type="http://schemas.openxmlformats.org/officeDocument/2006/relationships/slideLayout" Target="../slideLayouts/slideLayout328.xml"/><Relationship Id="rId9" Type="http://schemas.openxmlformats.org/officeDocument/2006/relationships/image" Target="../media/image75.svg"/><Relationship Id="rId14" Type="http://schemas.openxmlformats.org/officeDocument/2006/relationships/image" Target="../media/image80.png"/><Relationship Id="rId22" Type="http://schemas.openxmlformats.org/officeDocument/2006/relationships/image" Target="../media/image85.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6.pn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328.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tiff"/></Relationships>
</file>

<file path=ppt/slides/_rels/slide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43.png"/><Relationship Id="rId18" Type="http://schemas.openxmlformats.org/officeDocument/2006/relationships/image" Target="../media/image52.png"/><Relationship Id="rId3" Type="http://schemas.openxmlformats.org/officeDocument/2006/relationships/image" Target="../media/image45.png"/><Relationship Id="rId21" Type="http://schemas.openxmlformats.org/officeDocument/2006/relationships/image" Target="../media/image63.svg"/><Relationship Id="rId7" Type="http://schemas.openxmlformats.org/officeDocument/2006/relationships/image" Target="../media/image48.png"/><Relationship Id="rId12" Type="http://schemas.microsoft.com/office/2007/relationships/hdphoto" Target="../media/hdphoto1.wdp"/><Relationship Id="rId17" Type="http://schemas.openxmlformats.org/officeDocument/2006/relationships/image" Target="../media/image51.png"/><Relationship Id="rId2" Type="http://schemas.openxmlformats.org/officeDocument/2006/relationships/notesSlide" Target="../notesSlides/notesSlide9.xml"/><Relationship Id="rId16" Type="http://schemas.openxmlformats.org/officeDocument/2006/relationships/image" Target="../media/image50.png"/><Relationship Id="rId20" Type="http://schemas.openxmlformats.org/officeDocument/2006/relationships/image" Target="../media/image62.png"/><Relationship Id="rId1" Type="http://schemas.openxmlformats.org/officeDocument/2006/relationships/slideLayout" Target="../slideLayouts/slideLayout328.xml"/><Relationship Id="rId6" Type="http://schemas.openxmlformats.org/officeDocument/2006/relationships/image" Target="../media/image47.png"/><Relationship Id="rId11" Type="http://schemas.openxmlformats.org/officeDocument/2006/relationships/image" Target="../media/image42.png"/><Relationship Id="rId5" Type="http://schemas.openxmlformats.org/officeDocument/2006/relationships/image" Target="../media/image46.png"/><Relationship Id="rId15" Type="http://schemas.microsoft.com/office/2007/relationships/hdphoto" Target="../media/hdphoto2.wdp"/><Relationship Id="rId10" Type="http://schemas.openxmlformats.org/officeDocument/2006/relationships/image" Target="../media/image41.png"/><Relationship Id="rId19" Type="http://schemas.openxmlformats.org/officeDocument/2006/relationships/image" Target="../media/image53.png"/><Relationship Id="rId4" Type="http://schemas.openxmlformats.org/officeDocument/2006/relationships/image" Target="../media/image61.png"/><Relationship Id="rId9" Type="http://schemas.openxmlformats.org/officeDocument/2006/relationships/image" Target="../media/image40.png"/><Relationship Id="rId1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Text Placeholder 4">
            <a:extLst>
              <a:ext uri="{FF2B5EF4-FFF2-40B4-BE49-F238E27FC236}">
                <a16:creationId xmlns:a16="http://schemas.microsoft.com/office/drawing/2014/main" id="{22E4CF34-1A7D-4EF3-8478-46E570E21636}"/>
              </a:ext>
            </a:extLst>
          </p:cNvPr>
          <p:cNvSpPr txBox="1">
            <a:spLocks/>
          </p:cNvSpPr>
          <p:nvPr/>
        </p:nvSpPr>
        <p:spPr>
          <a:xfrm>
            <a:off x="330982" y="2962938"/>
            <a:ext cx="4595365" cy="299001"/>
          </a:xfrm>
          <a:prstGeom prst="rect">
            <a:avLst/>
          </a:prstGeom>
        </p:spPr>
        <p:txBody>
          <a:bodyPr lIns="91420" tIns="45710" rIns="91420" bIns="45710"/>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684213" rtl="0" eaLnBrk="1" fontAlgn="base" latinLnBrk="0" hangingPunct="1">
              <a:lnSpc>
                <a:spcPct val="95000"/>
              </a:lnSpc>
              <a:spcBef>
                <a:spcPts val="1075"/>
              </a:spcBef>
              <a:spcAft>
                <a:spcPct val="0"/>
              </a:spcAft>
              <a:buClr>
                <a:srgbClr val="00BCEB"/>
              </a:buClr>
              <a:buSzPct val="90000"/>
              <a:buFont typeface="Arial" panose="020B0604020202020204" pitchFamily="34" charset="0"/>
              <a:buNone/>
              <a:tabLst/>
              <a:defRPr/>
            </a:pPr>
            <a:r>
              <a:rPr kumimoji="0" lang="en-US" sz="2200" b="0" i="0" u="none" strike="noStrike" kern="1200" cap="none" spc="0" normalizeH="0" baseline="0" noProof="0">
                <a:ln>
                  <a:noFill/>
                </a:ln>
                <a:solidFill>
                  <a:srgbClr val="0D274D"/>
                </a:solidFill>
                <a:effectLst/>
                <a:uLnTx/>
                <a:uFillTx/>
                <a:latin typeface="CiscoSansTT ExtraLight"/>
                <a:ea typeface="ＭＳ Ｐゴシック" charset="0"/>
                <a:cs typeface="+mn-cs"/>
              </a:rPr>
              <a:t>Experience simplified </a:t>
            </a:r>
          </a:p>
        </p:txBody>
      </p:sp>
      <p:pic>
        <p:nvPicPr>
          <p:cNvPr id="3" name="Picture 2" descr="A picture containing flower&#10;&#10;Description generated with very high confidence">
            <a:extLst>
              <a:ext uri="{FF2B5EF4-FFF2-40B4-BE49-F238E27FC236}">
                <a16:creationId xmlns:a16="http://schemas.microsoft.com/office/drawing/2014/main" id="{837AAF21-AA50-49EC-9831-FB986D4720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0285" t="17342" r="12456" b="11972"/>
          <a:stretch/>
        </p:blipFill>
        <p:spPr>
          <a:xfrm>
            <a:off x="392159" y="2023112"/>
            <a:ext cx="4307815" cy="877730"/>
          </a:xfrm>
          <a:prstGeom prst="rect">
            <a:avLst/>
          </a:prstGeom>
        </p:spPr>
      </p:pic>
      <p:grpSp>
        <p:nvGrpSpPr>
          <p:cNvPr id="2" name="Group 1">
            <a:extLst>
              <a:ext uri="{FF2B5EF4-FFF2-40B4-BE49-F238E27FC236}">
                <a16:creationId xmlns:a16="http://schemas.microsoft.com/office/drawing/2014/main" id="{0DFC602B-16D3-CD41-AEEB-147EED383786}"/>
              </a:ext>
            </a:extLst>
          </p:cNvPr>
          <p:cNvGrpSpPr/>
          <p:nvPr/>
        </p:nvGrpSpPr>
        <p:grpSpPr>
          <a:xfrm>
            <a:off x="4926347" y="399610"/>
            <a:ext cx="4091784" cy="4344279"/>
            <a:chOff x="5108095" y="399611"/>
            <a:chExt cx="4091784" cy="4344279"/>
          </a:xfrm>
        </p:grpSpPr>
        <p:sp>
          <p:nvSpPr>
            <p:cNvPr id="397" name="Oval 83">
              <a:extLst>
                <a:ext uri="{FF2B5EF4-FFF2-40B4-BE49-F238E27FC236}">
                  <a16:creationId xmlns:a16="http://schemas.microsoft.com/office/drawing/2014/main" id="{9C986F96-E472-464E-9B14-2FB3BAC4E892}"/>
                </a:ext>
              </a:extLst>
            </p:cNvPr>
            <p:cNvSpPr>
              <a:spLocks/>
            </p:cNvSpPr>
            <p:nvPr/>
          </p:nvSpPr>
          <p:spPr>
            <a:xfrm>
              <a:off x="7621382" y="661836"/>
              <a:ext cx="859470" cy="862494"/>
            </a:xfrm>
            <a:prstGeom prst="ellipse">
              <a:avLst/>
            </a:prstGeom>
            <a:solidFill>
              <a:srgbClr val="FFFFFF"/>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398" name="Picture 596" descr="A picture containing sitting, black, dark, table&#10;&#10;Description automatically generated">
              <a:extLst>
                <a:ext uri="{FF2B5EF4-FFF2-40B4-BE49-F238E27FC236}">
                  <a16:creationId xmlns:a16="http://schemas.microsoft.com/office/drawing/2014/main" id="{53FDED43-BCC1-4D63-A983-FD19764BEDBC}"/>
                </a:ext>
              </a:extLst>
            </p:cNvPr>
            <p:cNvPicPr>
              <a:picLocks noChangeAspect="1"/>
            </p:cNvPicPr>
            <p:nvPr/>
          </p:nvPicPr>
          <p:blipFill rotWithShape="1">
            <a:blip r:embed="rId4"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615675" y="661836"/>
              <a:ext cx="870883" cy="862494"/>
            </a:xfrm>
            <a:prstGeom prst="rect">
              <a:avLst/>
            </a:prstGeom>
          </p:spPr>
        </p:pic>
        <p:sp>
          <p:nvSpPr>
            <p:cNvPr id="399" name="Freeform: Shape 99">
              <a:extLst>
                <a:ext uri="{FF2B5EF4-FFF2-40B4-BE49-F238E27FC236}">
                  <a16:creationId xmlns:a16="http://schemas.microsoft.com/office/drawing/2014/main" id="{4C2612B4-0414-45F7-AD69-8E6500D25EBF}"/>
                </a:ext>
              </a:extLst>
            </p:cNvPr>
            <p:cNvSpPr/>
            <p:nvPr/>
          </p:nvSpPr>
          <p:spPr>
            <a:xfrm rot="7495001">
              <a:off x="6198443" y="1476790"/>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00" name="Isosceles Triangle 49">
              <a:extLst>
                <a:ext uri="{FF2B5EF4-FFF2-40B4-BE49-F238E27FC236}">
                  <a16:creationId xmlns:a16="http://schemas.microsoft.com/office/drawing/2014/main" id="{76BD2764-F8B8-48DB-B588-63B353E337A8}"/>
                </a:ext>
              </a:extLst>
            </p:cNvPr>
            <p:cNvSpPr/>
            <p:nvPr/>
          </p:nvSpPr>
          <p:spPr>
            <a:xfrm rot="10800000">
              <a:off x="5884703" y="2634005"/>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nvGrpSpPr>
            <p:cNvPr id="401" name="Group 63">
              <a:extLst>
                <a:ext uri="{FF2B5EF4-FFF2-40B4-BE49-F238E27FC236}">
                  <a16:creationId xmlns:a16="http://schemas.microsoft.com/office/drawing/2014/main" id="{5652E7E9-FFBF-4070-A467-5A2075B1F930}"/>
                </a:ext>
              </a:extLst>
            </p:cNvPr>
            <p:cNvGrpSpPr/>
            <p:nvPr/>
          </p:nvGrpSpPr>
          <p:grpSpPr>
            <a:xfrm>
              <a:off x="5404659" y="3248177"/>
              <a:ext cx="804863" cy="685591"/>
              <a:chOff x="2147888" y="2814638"/>
              <a:chExt cx="1447800" cy="1231900"/>
            </a:xfrm>
            <a:solidFill>
              <a:srgbClr val="00BCEB"/>
            </a:solidFill>
          </p:grpSpPr>
          <p:sp>
            <p:nvSpPr>
              <p:cNvPr id="467" name="Freeform 46">
                <a:extLst>
                  <a:ext uri="{FF2B5EF4-FFF2-40B4-BE49-F238E27FC236}">
                    <a16:creationId xmlns:a16="http://schemas.microsoft.com/office/drawing/2014/main" id="{ACC61219-2D2F-4635-99FE-6AEA46B7A3E1}"/>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68" name="Freeform 47">
                <a:extLst>
                  <a:ext uri="{FF2B5EF4-FFF2-40B4-BE49-F238E27FC236}">
                    <a16:creationId xmlns:a16="http://schemas.microsoft.com/office/drawing/2014/main" id="{1C261D6B-C34C-47EF-BD8B-D01CF487CAEB}"/>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69" name="Freeform 48">
                <a:extLst>
                  <a:ext uri="{FF2B5EF4-FFF2-40B4-BE49-F238E27FC236}">
                    <a16:creationId xmlns:a16="http://schemas.microsoft.com/office/drawing/2014/main" id="{1683B3EF-E5AE-43B0-8822-5BE216ECBED8}"/>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70" name="Freeform 49">
                <a:extLst>
                  <a:ext uri="{FF2B5EF4-FFF2-40B4-BE49-F238E27FC236}">
                    <a16:creationId xmlns:a16="http://schemas.microsoft.com/office/drawing/2014/main" id="{1013AF19-81E0-45EE-9797-23972A9DEB7E}"/>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71" name="Freeform 50">
                <a:extLst>
                  <a:ext uri="{FF2B5EF4-FFF2-40B4-BE49-F238E27FC236}">
                    <a16:creationId xmlns:a16="http://schemas.microsoft.com/office/drawing/2014/main" id="{137ED54D-F119-43B6-A671-9D37E066AC56}"/>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72" name="Freeform 51">
                <a:extLst>
                  <a:ext uri="{FF2B5EF4-FFF2-40B4-BE49-F238E27FC236}">
                    <a16:creationId xmlns:a16="http://schemas.microsoft.com/office/drawing/2014/main" id="{A0922A92-B435-4229-9826-932ABF7C7AFB}"/>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73" name="Freeform 52">
                <a:extLst>
                  <a:ext uri="{FF2B5EF4-FFF2-40B4-BE49-F238E27FC236}">
                    <a16:creationId xmlns:a16="http://schemas.microsoft.com/office/drawing/2014/main" id="{0E0D4E34-AFD3-43B9-9C18-0ED69150292B}"/>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74" name="Freeform 53">
                <a:extLst>
                  <a:ext uri="{FF2B5EF4-FFF2-40B4-BE49-F238E27FC236}">
                    <a16:creationId xmlns:a16="http://schemas.microsoft.com/office/drawing/2014/main" id="{09EAD474-8135-4516-B8B2-122E52DB21C0}"/>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sp>
          <p:nvSpPr>
            <p:cNvPr id="402" name="Isosceles Triangle 49">
              <a:extLst>
                <a:ext uri="{FF2B5EF4-FFF2-40B4-BE49-F238E27FC236}">
                  <a16:creationId xmlns:a16="http://schemas.microsoft.com/office/drawing/2014/main" id="{079FF27C-805D-4C08-9BDC-FFCC9B77F22B}"/>
                </a:ext>
              </a:extLst>
            </p:cNvPr>
            <p:cNvSpPr/>
            <p:nvPr/>
          </p:nvSpPr>
          <p:spPr>
            <a:xfrm>
              <a:off x="7587097" y="2775870"/>
              <a:ext cx="655722" cy="5719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4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03" name="Rectangle: Rounded Corners 622">
              <a:extLst>
                <a:ext uri="{FF2B5EF4-FFF2-40B4-BE49-F238E27FC236}">
                  <a16:creationId xmlns:a16="http://schemas.microsoft.com/office/drawing/2014/main" id="{0B8CEC40-1C17-486A-9AC8-EB270D0C7A1D}"/>
                </a:ext>
              </a:extLst>
            </p:cNvPr>
            <p:cNvSpPr/>
            <p:nvPr/>
          </p:nvSpPr>
          <p:spPr>
            <a:xfrm>
              <a:off x="5756247" y="3117310"/>
              <a:ext cx="1308345" cy="294686"/>
            </a:xfrm>
            <a:prstGeom prst="roundRect">
              <a:avLst/>
            </a:prstGeom>
            <a:solidFill>
              <a:srgbClr val="0D274D"/>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pic>
          <p:nvPicPr>
            <p:cNvPr id="404" name="Picture 661" descr="A close up of a mountain&#10;&#10;Description automatically generated">
              <a:extLst>
                <a:ext uri="{FF2B5EF4-FFF2-40B4-BE49-F238E27FC236}">
                  <a16:creationId xmlns:a16="http://schemas.microsoft.com/office/drawing/2014/main" id="{5716A7EB-C771-426D-AFDC-254951B46333}"/>
                </a:ext>
              </a:extLst>
            </p:cNvPr>
            <p:cNvPicPr>
              <a:picLocks noChangeAspect="1"/>
            </p:cNvPicPr>
            <p:nvPr/>
          </p:nvPicPr>
          <p:blipFill>
            <a:blip r:embed="rId5"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7118739" y="3093381"/>
              <a:ext cx="2081140" cy="1036944"/>
            </a:xfrm>
            <a:prstGeom prst="rect">
              <a:avLst/>
            </a:prstGeom>
          </p:spPr>
        </p:pic>
        <p:pic>
          <p:nvPicPr>
            <p:cNvPr id="405" name="Picture 654" descr="A close up of a mountain&#10;&#10;Description automatically generated">
              <a:extLst>
                <a:ext uri="{FF2B5EF4-FFF2-40B4-BE49-F238E27FC236}">
                  <a16:creationId xmlns:a16="http://schemas.microsoft.com/office/drawing/2014/main" id="{FB7263D4-FCDE-493B-94E3-F3AE06857B67}"/>
                </a:ext>
              </a:extLst>
            </p:cNvPr>
            <p:cNvPicPr>
              <a:picLocks noChangeAspect="1"/>
            </p:cNvPicPr>
            <p:nvPr/>
          </p:nvPicPr>
          <p:blipFill>
            <a:blip r:embed="rId6" cstate="screen">
              <a:duotone>
                <a:prstClr val="black"/>
                <a:srgbClr val="9E9EA2">
                  <a:tint val="45000"/>
                  <a:satMod val="400000"/>
                </a:srgbClr>
              </a:duotone>
              <a:extLst>
                <a:ext uri="{BEBA8EAE-BF5A-486C-A8C5-ECC9F3942E4B}">
                  <a14:imgProps xmlns:a14="http://schemas.microsoft.com/office/drawing/2010/main">
                    <a14:imgLayer r:embed="rId7">
                      <a14:imgEffect>
                        <a14:brightnessContrast bright="-12000"/>
                      </a14:imgEffect>
                    </a14:imgLayer>
                  </a14:imgProps>
                </a:ext>
                <a:ext uri="{28A0092B-C50C-407E-A947-70E740481C1C}">
                  <a14:useLocalDpi xmlns:a14="http://schemas.microsoft.com/office/drawing/2010/main"/>
                </a:ext>
              </a:extLst>
            </a:blip>
            <a:stretch>
              <a:fillRect/>
            </a:stretch>
          </p:blipFill>
          <p:spPr>
            <a:xfrm>
              <a:off x="5610593" y="2799168"/>
              <a:ext cx="2066449" cy="1029624"/>
            </a:xfrm>
            <a:prstGeom prst="rect">
              <a:avLst/>
            </a:prstGeom>
          </p:spPr>
        </p:pic>
        <p:pic>
          <p:nvPicPr>
            <p:cNvPr id="406" name="Picture 656" descr="A close up of a mountain&#10;&#10;Description automatically generated">
              <a:extLst>
                <a:ext uri="{FF2B5EF4-FFF2-40B4-BE49-F238E27FC236}">
                  <a16:creationId xmlns:a16="http://schemas.microsoft.com/office/drawing/2014/main" id="{A951E91B-9F4A-43E3-BD55-B6E300F33878}"/>
                </a:ext>
              </a:extLst>
            </p:cNvPr>
            <p:cNvPicPr>
              <a:picLocks noChangeAspect="1"/>
            </p:cNvPicPr>
            <p:nvPr/>
          </p:nvPicPr>
          <p:blipFill>
            <a:blip r:embed="rId5"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203759" y="3051946"/>
              <a:ext cx="2081140" cy="1036944"/>
            </a:xfrm>
            <a:prstGeom prst="rect">
              <a:avLst/>
            </a:prstGeom>
          </p:spPr>
        </p:pic>
        <p:pic>
          <p:nvPicPr>
            <p:cNvPr id="407" name="Picture 108" descr="A close up of a mountain&#10;&#10;Description automatically generated">
              <a:extLst>
                <a:ext uri="{FF2B5EF4-FFF2-40B4-BE49-F238E27FC236}">
                  <a16:creationId xmlns:a16="http://schemas.microsoft.com/office/drawing/2014/main" id="{25558319-282F-4926-8A46-6EE9AF441E42}"/>
                </a:ext>
              </a:extLst>
            </p:cNvPr>
            <p:cNvPicPr>
              <a:picLocks noChangeAspect="1"/>
            </p:cNvPicPr>
            <p:nvPr/>
          </p:nvPicPr>
          <p:blipFill>
            <a:blip r:embed="rId5"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963202" y="2797677"/>
              <a:ext cx="2081140" cy="1036944"/>
            </a:xfrm>
            <a:prstGeom prst="rect">
              <a:avLst/>
            </a:prstGeom>
          </p:spPr>
        </p:pic>
        <p:pic>
          <p:nvPicPr>
            <p:cNvPr id="408" name="Picture 7" descr="A close up of a mountain&#10;&#10;Description automatically generated">
              <a:extLst>
                <a:ext uri="{FF2B5EF4-FFF2-40B4-BE49-F238E27FC236}">
                  <a16:creationId xmlns:a16="http://schemas.microsoft.com/office/drawing/2014/main" id="{0499EF3A-447B-44FA-A3F1-9293F2564764}"/>
                </a:ext>
              </a:extLst>
            </p:cNvPr>
            <p:cNvPicPr>
              <a:picLocks noChangeAspect="1"/>
            </p:cNvPicPr>
            <p:nvPr/>
          </p:nvPicPr>
          <p:blipFill>
            <a:blip r:embed="rId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24889" y="3187104"/>
              <a:ext cx="2331539" cy="1161707"/>
            </a:xfrm>
            <a:prstGeom prst="rect">
              <a:avLst/>
            </a:prstGeom>
          </p:spPr>
        </p:pic>
        <p:pic>
          <p:nvPicPr>
            <p:cNvPr id="409" name="Picture 668" descr="A close up of a mountain&#10;&#10;Description automatically generated">
              <a:extLst>
                <a:ext uri="{FF2B5EF4-FFF2-40B4-BE49-F238E27FC236}">
                  <a16:creationId xmlns:a16="http://schemas.microsoft.com/office/drawing/2014/main" id="{86AA6114-BEE9-4B7F-9F69-2107743616FC}"/>
                </a:ext>
              </a:extLst>
            </p:cNvPr>
            <p:cNvPicPr>
              <a:picLocks noChangeAspect="1"/>
            </p:cNvPicPr>
            <p:nvPr/>
          </p:nvPicPr>
          <p:blipFill>
            <a:blip r:embed="rId9" cstate="screen">
              <a:duotone>
                <a:prstClr val="black"/>
                <a:srgbClr val="9E9EA2">
                  <a:tint val="45000"/>
                  <a:satMod val="400000"/>
                </a:srgbClr>
              </a:duotone>
              <a:extLst>
                <a:ext uri="{BEBA8EAE-BF5A-486C-A8C5-ECC9F3942E4B}">
                  <a14:imgProps xmlns:a14="http://schemas.microsoft.com/office/drawing/2010/main">
                    <a14:imgLayer r:embed="rId10">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447776" y="2789446"/>
              <a:ext cx="1723254" cy="858624"/>
            </a:xfrm>
            <a:prstGeom prst="rect">
              <a:avLst/>
            </a:prstGeom>
          </p:spPr>
        </p:pic>
        <p:pic>
          <p:nvPicPr>
            <p:cNvPr id="410" name="Picture 82" descr="A close up of electronics&#10;&#10;Description automatically generated">
              <a:extLst>
                <a:ext uri="{FF2B5EF4-FFF2-40B4-BE49-F238E27FC236}">
                  <a16:creationId xmlns:a16="http://schemas.microsoft.com/office/drawing/2014/main" id="{88DC85EE-1D82-4F8A-BB92-5B6D1FC026CD}"/>
                </a:ext>
              </a:extLst>
            </p:cNvPr>
            <p:cNvPicPr>
              <a:picLocks noChangeAspect="1"/>
            </p:cNvPicPr>
            <p:nvPr/>
          </p:nvPicPr>
          <p:blipFill>
            <a:blip r:embed="rId11" cstate="screen">
              <a:duotone>
                <a:srgbClr val="00BCEB">
                  <a:shade val="45000"/>
                  <a:satMod val="135000"/>
                </a:srgbClr>
                <a:prstClr val="white"/>
              </a:duotone>
              <a:extLst>
                <a:ext uri="{28A0092B-C50C-407E-A947-70E740481C1C}">
                  <a14:useLocalDpi xmlns:a14="http://schemas.microsoft.com/office/drawing/2010/main"/>
                </a:ext>
              </a:extLst>
            </a:blip>
            <a:stretch>
              <a:fillRect/>
            </a:stretch>
          </p:blipFill>
          <p:spPr>
            <a:xfrm rot="19454881" flipH="1">
              <a:off x="7562456" y="2531981"/>
              <a:ext cx="1046438" cy="854087"/>
            </a:xfrm>
            <a:prstGeom prst="rect">
              <a:avLst/>
            </a:prstGeom>
          </p:spPr>
        </p:pic>
        <p:pic>
          <p:nvPicPr>
            <p:cNvPr id="411" name="Picture 3" descr="A close up of electronics&#10;&#10;Description automatically generated">
              <a:extLst>
                <a:ext uri="{FF2B5EF4-FFF2-40B4-BE49-F238E27FC236}">
                  <a16:creationId xmlns:a16="http://schemas.microsoft.com/office/drawing/2014/main" id="{DAA62E85-9DF0-4F5D-B9DD-4B190D1B09A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rot="19363503" flipH="1">
              <a:off x="7495305" y="2505066"/>
              <a:ext cx="1046438" cy="854087"/>
            </a:xfrm>
            <a:prstGeom prst="rect">
              <a:avLst/>
            </a:prstGeom>
          </p:spPr>
        </p:pic>
        <p:sp>
          <p:nvSpPr>
            <p:cNvPr id="412" name="Freeform: Shape 85">
              <a:extLst>
                <a:ext uri="{FF2B5EF4-FFF2-40B4-BE49-F238E27FC236}">
                  <a16:creationId xmlns:a16="http://schemas.microsoft.com/office/drawing/2014/main" id="{3D5A65F3-8B36-4311-B4A8-4DC63E2F364C}"/>
                </a:ext>
              </a:extLst>
            </p:cNvPr>
            <p:cNvSpPr>
              <a:spLocks noChangeAspect="1"/>
            </p:cNvSpPr>
            <p:nvPr/>
          </p:nvSpPr>
          <p:spPr>
            <a:xfrm rot="16200000">
              <a:off x="7232271" y="2897576"/>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00BCEB">
                    <a:alpha val="0"/>
                  </a:srgbClr>
                </a:gs>
                <a:gs pos="100000">
                  <a:srgbClr val="00BCEB"/>
                </a:gs>
              </a:gsLst>
              <a:lin ang="0" scaled="1"/>
              <a:tileRect/>
            </a:gra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grpSp>
          <p:nvGrpSpPr>
            <p:cNvPr id="413" name="Group 592">
              <a:extLst>
                <a:ext uri="{FF2B5EF4-FFF2-40B4-BE49-F238E27FC236}">
                  <a16:creationId xmlns:a16="http://schemas.microsoft.com/office/drawing/2014/main" id="{0BF05716-DF5D-49FF-A1C7-F42B9F6ACCF6}"/>
                </a:ext>
              </a:extLst>
            </p:cNvPr>
            <p:cNvGrpSpPr/>
            <p:nvPr/>
          </p:nvGrpSpPr>
          <p:grpSpPr>
            <a:xfrm>
              <a:off x="5108095" y="2110473"/>
              <a:ext cx="1880819" cy="1693100"/>
              <a:chOff x="-3083985" y="2387260"/>
              <a:chExt cx="2611628" cy="2350967"/>
            </a:xfrm>
          </p:grpSpPr>
          <p:pic>
            <p:nvPicPr>
              <p:cNvPr id="463" name="Picture 178" descr="A picture containing object&#10;&#10;Description automatically generated">
                <a:extLst>
                  <a:ext uri="{FF2B5EF4-FFF2-40B4-BE49-F238E27FC236}">
                    <a16:creationId xmlns:a16="http://schemas.microsoft.com/office/drawing/2014/main" id="{14A7EFE6-CDB0-41DA-A775-7B2D92760954}"/>
                  </a:ext>
                </a:extLst>
              </p:cNvPr>
              <p:cNvPicPr>
                <a:picLocks noChangeAspect="1"/>
              </p:cNvPicPr>
              <p:nvPr/>
            </p:nvPicPr>
            <p:blipFill>
              <a:blip r:embed="rId12"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6355791" flipH="1">
                <a:off x="-3014057" y="2866403"/>
                <a:ext cx="664007" cy="803863"/>
              </a:xfrm>
              <a:prstGeom prst="rect">
                <a:avLst/>
              </a:prstGeom>
            </p:spPr>
          </p:pic>
          <p:pic>
            <p:nvPicPr>
              <p:cNvPr id="464" name="Picture 179" descr="A close up of a computer&#10;&#10;Description automatically generated">
                <a:extLst>
                  <a:ext uri="{FF2B5EF4-FFF2-40B4-BE49-F238E27FC236}">
                    <a16:creationId xmlns:a16="http://schemas.microsoft.com/office/drawing/2014/main" id="{DF4A19FD-01A8-4DE2-9DF9-95251DD0B20A}"/>
                  </a:ext>
                </a:extLst>
              </p:cNvPr>
              <p:cNvPicPr>
                <a:picLocks noChangeAspect="1"/>
              </p:cNvPicPr>
              <p:nvPr/>
            </p:nvPicPr>
            <p:blipFill>
              <a:blip r:embed="rId13"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8498307" flipH="1">
                <a:off x="-2779279" y="2900466"/>
                <a:ext cx="1143367" cy="459051"/>
              </a:xfrm>
              <a:prstGeom prst="rect">
                <a:avLst/>
              </a:prstGeom>
            </p:spPr>
          </p:pic>
          <p:pic>
            <p:nvPicPr>
              <p:cNvPr id="465" name="Picture 180" descr="A picture containing black, clock, white, knife&#10;&#10;Description automatically generated">
                <a:extLst>
                  <a:ext uri="{FF2B5EF4-FFF2-40B4-BE49-F238E27FC236}">
                    <a16:creationId xmlns:a16="http://schemas.microsoft.com/office/drawing/2014/main" id="{1F26D25A-AF5B-41C4-9B2B-BD34C0DA6181}"/>
                  </a:ext>
                </a:extLst>
              </p:cNvPr>
              <p:cNvPicPr>
                <a:picLocks noChangeAspect="1"/>
              </p:cNvPicPr>
              <p:nvPr/>
            </p:nvPicPr>
            <p:blipFill>
              <a:blip r:embed="rId14"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7951816" flipH="1">
                <a:off x="-2229857" y="2161656"/>
                <a:ext cx="1425602" cy="1876809"/>
              </a:xfrm>
              <a:prstGeom prst="rect">
                <a:avLst/>
              </a:prstGeom>
            </p:spPr>
          </p:pic>
          <p:pic>
            <p:nvPicPr>
              <p:cNvPr id="466" name="Picture 181" descr="A picture containing indoor, sitting, black, white&#10;&#10;Description automatically generated">
                <a:extLst>
                  <a:ext uri="{FF2B5EF4-FFF2-40B4-BE49-F238E27FC236}">
                    <a16:creationId xmlns:a16="http://schemas.microsoft.com/office/drawing/2014/main" id="{FA729FFB-1BB2-48A2-93DA-A49A2596DBBC}"/>
                  </a:ext>
                </a:extLst>
              </p:cNvPr>
              <p:cNvPicPr>
                <a:picLocks noChangeAspect="1"/>
              </p:cNvPicPr>
              <p:nvPr/>
            </p:nvPicPr>
            <p:blipFill>
              <a:blip r:embed="rId15"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flipH="1">
                <a:off x="-1495766" y="3640426"/>
                <a:ext cx="1023409" cy="1097801"/>
              </a:xfrm>
              <a:prstGeom prst="rect">
                <a:avLst/>
              </a:prstGeom>
            </p:spPr>
          </p:pic>
        </p:grpSp>
        <p:grpSp>
          <p:nvGrpSpPr>
            <p:cNvPr id="414" name="Group 591">
              <a:extLst>
                <a:ext uri="{FF2B5EF4-FFF2-40B4-BE49-F238E27FC236}">
                  <a16:creationId xmlns:a16="http://schemas.microsoft.com/office/drawing/2014/main" id="{EFD51509-F4E9-481D-901E-2E6C31AFB4C6}"/>
                </a:ext>
              </a:extLst>
            </p:cNvPr>
            <p:cNvGrpSpPr/>
            <p:nvPr/>
          </p:nvGrpSpPr>
          <p:grpSpPr>
            <a:xfrm>
              <a:off x="5278319" y="1939686"/>
              <a:ext cx="1817599" cy="1926301"/>
              <a:chOff x="-70844" y="2579788"/>
              <a:chExt cx="2523843" cy="2674780"/>
            </a:xfrm>
          </p:grpSpPr>
          <p:pic>
            <p:nvPicPr>
              <p:cNvPr id="459" name="Picture 588" descr="A picture containing object&#10;&#10;Description automatically generated">
                <a:extLst>
                  <a:ext uri="{FF2B5EF4-FFF2-40B4-BE49-F238E27FC236}">
                    <a16:creationId xmlns:a16="http://schemas.microsoft.com/office/drawing/2014/main" id="{904D7947-0164-434C-8E60-5610E95B64DF}"/>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rot="5084758" flipH="1">
                <a:off x="-916" y="2753853"/>
                <a:ext cx="664007" cy="803863"/>
              </a:xfrm>
              <a:prstGeom prst="rect">
                <a:avLst/>
              </a:prstGeom>
            </p:spPr>
          </p:pic>
          <p:pic>
            <p:nvPicPr>
              <p:cNvPr id="460" name="Picture 582" descr="A close up of a computer&#10;&#10;Description automatically generated">
                <a:extLst>
                  <a:ext uri="{FF2B5EF4-FFF2-40B4-BE49-F238E27FC236}">
                    <a16:creationId xmlns:a16="http://schemas.microsoft.com/office/drawing/2014/main" id="{9DF7243C-1554-48FD-B484-5731DAB16ED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rot="20615390" flipH="1">
                <a:off x="444582" y="2920634"/>
                <a:ext cx="1143367" cy="459051"/>
              </a:xfrm>
              <a:prstGeom prst="rect">
                <a:avLst/>
              </a:prstGeom>
            </p:spPr>
          </p:pic>
          <p:pic>
            <p:nvPicPr>
              <p:cNvPr id="461" name="Picture 590" descr="A picture containing black, clock, white, knife&#10;&#10;Description automatically generated">
                <a:extLst>
                  <a:ext uri="{FF2B5EF4-FFF2-40B4-BE49-F238E27FC236}">
                    <a16:creationId xmlns:a16="http://schemas.microsoft.com/office/drawing/2014/main" id="{447E3F0B-85A3-4694-92DA-453C2EEA542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rot="19301551" flipH="1">
                <a:off x="1006233" y="2579788"/>
                <a:ext cx="1425602" cy="1876809"/>
              </a:xfrm>
              <a:prstGeom prst="rect">
                <a:avLst/>
              </a:prstGeom>
            </p:spPr>
          </p:pic>
          <p:pic>
            <p:nvPicPr>
              <p:cNvPr id="462" name="Picture 586" descr="A picture containing indoor, sitting, black, white&#10;&#10;Description automatically generated">
                <a:extLst>
                  <a:ext uri="{FF2B5EF4-FFF2-40B4-BE49-F238E27FC236}">
                    <a16:creationId xmlns:a16="http://schemas.microsoft.com/office/drawing/2014/main" id="{518088D5-65A2-49D0-8491-00605EC56DE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flipH="1">
                <a:off x="1429590" y="4156767"/>
                <a:ext cx="1023409" cy="1097801"/>
              </a:xfrm>
              <a:prstGeom prst="rect">
                <a:avLst/>
              </a:prstGeom>
            </p:spPr>
          </p:pic>
        </p:grpSp>
        <p:sp>
          <p:nvSpPr>
            <p:cNvPr id="415" name="Freeform: Shape 100">
              <a:extLst>
                <a:ext uri="{FF2B5EF4-FFF2-40B4-BE49-F238E27FC236}">
                  <a16:creationId xmlns:a16="http://schemas.microsoft.com/office/drawing/2014/main" id="{82731618-C033-47E7-BE4E-87320B5277F9}"/>
                </a:ext>
              </a:extLst>
            </p:cNvPr>
            <p:cNvSpPr/>
            <p:nvPr/>
          </p:nvSpPr>
          <p:spPr>
            <a:xfrm rot="14974915">
              <a:off x="7253969" y="2565313"/>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416" name="Picture 6" descr="A close up of a mountain&#10;&#10;Description automatically generated">
              <a:extLst>
                <a:ext uri="{FF2B5EF4-FFF2-40B4-BE49-F238E27FC236}">
                  <a16:creationId xmlns:a16="http://schemas.microsoft.com/office/drawing/2014/main" id="{96EB880A-4B45-480F-830E-FEC44EBA23E0}"/>
                </a:ext>
              </a:extLst>
            </p:cNvPr>
            <p:cNvPicPr>
              <a:picLocks noChangeAspect="1"/>
            </p:cNvPicPr>
            <p:nvPr/>
          </p:nvPicPr>
          <p:blipFill>
            <a:blip r:embed="rId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5539753" y="3189192"/>
              <a:ext cx="2331539" cy="1161707"/>
            </a:xfrm>
            <a:prstGeom prst="rect">
              <a:avLst/>
            </a:prstGeom>
          </p:spPr>
        </p:pic>
        <p:sp>
          <p:nvSpPr>
            <p:cNvPr id="417" name="Freeform: Shape 86">
              <a:extLst>
                <a:ext uri="{FF2B5EF4-FFF2-40B4-BE49-F238E27FC236}">
                  <a16:creationId xmlns:a16="http://schemas.microsoft.com/office/drawing/2014/main" id="{2C6FFE84-547E-4B4B-A55A-C49ECDFCB88A}"/>
                </a:ext>
              </a:extLst>
            </p:cNvPr>
            <p:cNvSpPr>
              <a:spLocks noChangeAspect="1"/>
            </p:cNvSpPr>
            <p:nvPr/>
          </p:nvSpPr>
          <p:spPr>
            <a:xfrm rot="16200000">
              <a:off x="6329018" y="3399090"/>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pic>
          <p:nvPicPr>
            <p:cNvPr id="418" name="Picture 105" descr="A close up of a mountain&#10;&#10;Description automatically generated">
              <a:extLst>
                <a:ext uri="{FF2B5EF4-FFF2-40B4-BE49-F238E27FC236}">
                  <a16:creationId xmlns:a16="http://schemas.microsoft.com/office/drawing/2014/main" id="{A1B95751-4186-4F69-A7CD-45954F5EABAF}"/>
                </a:ext>
              </a:extLst>
            </p:cNvPr>
            <p:cNvPicPr>
              <a:picLocks noChangeAspect="1"/>
            </p:cNvPicPr>
            <p:nvPr/>
          </p:nvPicPr>
          <p:blipFill>
            <a:blip r:embed="rId16"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227632" y="3243454"/>
              <a:ext cx="1790804" cy="892282"/>
            </a:xfrm>
            <a:prstGeom prst="rect">
              <a:avLst/>
            </a:prstGeom>
          </p:spPr>
        </p:pic>
        <p:sp>
          <p:nvSpPr>
            <p:cNvPr id="419" name="Isosceles Triangle 49">
              <a:extLst>
                <a:ext uri="{FF2B5EF4-FFF2-40B4-BE49-F238E27FC236}">
                  <a16:creationId xmlns:a16="http://schemas.microsoft.com/office/drawing/2014/main" id="{0E51330B-5075-4299-9C1F-A8896B4B772D}"/>
                </a:ext>
              </a:extLst>
            </p:cNvPr>
            <p:cNvSpPr/>
            <p:nvPr/>
          </p:nvSpPr>
          <p:spPr>
            <a:xfrm>
              <a:off x="6663532" y="2480007"/>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20" name="Rectangle: Rounded Corners 31">
              <a:extLst>
                <a:ext uri="{FF2B5EF4-FFF2-40B4-BE49-F238E27FC236}">
                  <a16:creationId xmlns:a16="http://schemas.microsoft.com/office/drawing/2014/main" id="{EB3B4019-EB8E-4F8E-9C68-FCC90C75FFD3}"/>
                </a:ext>
              </a:extLst>
            </p:cNvPr>
            <p:cNvSpPr/>
            <p:nvPr/>
          </p:nvSpPr>
          <p:spPr>
            <a:xfrm>
              <a:off x="7534892" y="2782237"/>
              <a:ext cx="286589" cy="323600"/>
            </a:xfrm>
            <a:prstGeom prst="roundRect">
              <a:avLst/>
            </a:prstGeom>
            <a:noFill/>
            <a:ln w="9525"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21" name="Rectangle: Rounded Corners 75">
              <a:extLst>
                <a:ext uri="{FF2B5EF4-FFF2-40B4-BE49-F238E27FC236}">
                  <a16:creationId xmlns:a16="http://schemas.microsoft.com/office/drawing/2014/main" id="{65DE1A96-A4E3-49AD-9827-35593EF9CB1E}"/>
                </a:ext>
              </a:extLst>
            </p:cNvPr>
            <p:cNvSpPr/>
            <p:nvPr/>
          </p:nvSpPr>
          <p:spPr>
            <a:xfrm>
              <a:off x="7492772" y="2995960"/>
              <a:ext cx="154211" cy="192649"/>
            </a:xfrm>
            <a:prstGeom prst="roundRect">
              <a:avLst/>
            </a:prstGeom>
            <a:noFill/>
            <a:ln w="12700"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22" name="Rectangle: Rounded Corners 666">
              <a:extLst>
                <a:ext uri="{FF2B5EF4-FFF2-40B4-BE49-F238E27FC236}">
                  <a16:creationId xmlns:a16="http://schemas.microsoft.com/office/drawing/2014/main" id="{0DF15B1F-3170-40FE-B272-E88E47421D84}"/>
                </a:ext>
              </a:extLst>
            </p:cNvPr>
            <p:cNvSpPr/>
            <p:nvPr/>
          </p:nvSpPr>
          <p:spPr>
            <a:xfrm>
              <a:off x="6376426" y="2106148"/>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23" name="AutoShape 3">
              <a:extLst>
                <a:ext uri="{FF2B5EF4-FFF2-40B4-BE49-F238E27FC236}">
                  <a16:creationId xmlns:a16="http://schemas.microsoft.com/office/drawing/2014/main" id="{5E6ADAB2-A56E-46AF-B36D-C3D20D349330}"/>
                </a:ext>
              </a:extLst>
            </p:cNvPr>
            <p:cNvSpPr>
              <a:spLocks noChangeAspect="1" noChangeArrowheads="1" noTextEdit="1"/>
            </p:cNvSpPr>
            <p:nvPr/>
          </p:nvSpPr>
          <p:spPr bwMode="auto">
            <a:xfrm rot="15056671">
              <a:off x="7566004" y="615157"/>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24" name="Freeform 5">
              <a:extLst>
                <a:ext uri="{FF2B5EF4-FFF2-40B4-BE49-F238E27FC236}">
                  <a16:creationId xmlns:a16="http://schemas.microsoft.com/office/drawing/2014/main" id="{18B5A815-2495-4DB3-B162-C725B2F7C9A6}"/>
                </a:ext>
              </a:extLst>
            </p:cNvPr>
            <p:cNvSpPr>
              <a:spLocks/>
            </p:cNvSpPr>
            <p:nvPr/>
          </p:nvSpPr>
          <p:spPr bwMode="auto">
            <a:xfrm rot="21386774">
              <a:off x="7490481" y="587390"/>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25" name="Freeform 6">
              <a:extLst>
                <a:ext uri="{FF2B5EF4-FFF2-40B4-BE49-F238E27FC236}">
                  <a16:creationId xmlns:a16="http://schemas.microsoft.com/office/drawing/2014/main" id="{CCF10AAF-760C-453D-B345-751C9422C5F4}"/>
                </a:ext>
              </a:extLst>
            </p:cNvPr>
            <p:cNvSpPr>
              <a:spLocks/>
            </p:cNvSpPr>
            <p:nvPr/>
          </p:nvSpPr>
          <p:spPr bwMode="auto">
            <a:xfrm rot="15056671">
              <a:off x="8154161" y="1399966"/>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pic>
          <p:nvPicPr>
            <p:cNvPr id="426" name="Picture 578" descr="A close up of a persons hand&#10;&#10;Description automatically generated">
              <a:extLst>
                <a:ext uri="{FF2B5EF4-FFF2-40B4-BE49-F238E27FC236}">
                  <a16:creationId xmlns:a16="http://schemas.microsoft.com/office/drawing/2014/main" id="{30C5DBB6-6200-4DCC-84F7-181C88CB8AEF}"/>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6247696" y="399611"/>
              <a:ext cx="2070387" cy="3307335"/>
            </a:xfrm>
            <a:prstGeom prst="rect">
              <a:avLst/>
            </a:prstGeom>
          </p:spPr>
        </p:pic>
        <p:cxnSp>
          <p:nvCxnSpPr>
            <p:cNvPr id="427" name="Straight Connector 68">
              <a:extLst>
                <a:ext uri="{FF2B5EF4-FFF2-40B4-BE49-F238E27FC236}">
                  <a16:creationId xmlns:a16="http://schemas.microsoft.com/office/drawing/2014/main" id="{7A02BC37-0CE6-498A-B8E7-C8BF095886AA}"/>
                </a:ext>
              </a:extLst>
            </p:cNvPr>
            <p:cNvCxnSpPr>
              <a:cxnSpLocks/>
            </p:cNvCxnSpPr>
            <p:nvPr/>
          </p:nvCxnSpPr>
          <p:spPr>
            <a:xfrm flipV="1">
              <a:off x="8235202" y="547274"/>
              <a:ext cx="258188" cy="286562"/>
            </a:xfrm>
            <a:prstGeom prst="line">
              <a:avLst/>
            </a:prstGeom>
            <a:noFill/>
            <a:ln w="25400" cap="flat" cmpd="sng" algn="ctr">
              <a:solidFill>
                <a:srgbClr val="6EBE4A"/>
              </a:solidFill>
              <a:prstDash val="solid"/>
              <a:miter lim="800000"/>
            </a:ln>
            <a:effectLst/>
          </p:spPr>
        </p:cxnSp>
        <p:cxnSp>
          <p:nvCxnSpPr>
            <p:cNvPr id="428" name="Straight Connector 69">
              <a:extLst>
                <a:ext uri="{FF2B5EF4-FFF2-40B4-BE49-F238E27FC236}">
                  <a16:creationId xmlns:a16="http://schemas.microsoft.com/office/drawing/2014/main" id="{50562DAA-9D0D-4B6E-A4B4-7A97DB343FF5}"/>
                </a:ext>
              </a:extLst>
            </p:cNvPr>
            <p:cNvCxnSpPr>
              <a:cxnSpLocks/>
            </p:cNvCxnSpPr>
            <p:nvPr/>
          </p:nvCxnSpPr>
          <p:spPr>
            <a:xfrm flipV="1">
              <a:off x="8288657" y="892489"/>
              <a:ext cx="365895" cy="111469"/>
            </a:xfrm>
            <a:prstGeom prst="line">
              <a:avLst/>
            </a:prstGeom>
            <a:noFill/>
            <a:ln w="25400" cap="flat" cmpd="sng" algn="ctr">
              <a:solidFill>
                <a:srgbClr val="6EBE4A"/>
              </a:solidFill>
              <a:prstDash val="solid"/>
              <a:miter lim="800000"/>
            </a:ln>
            <a:effectLst/>
          </p:spPr>
        </p:cxnSp>
        <p:cxnSp>
          <p:nvCxnSpPr>
            <p:cNvPr id="429" name="Straight Connector 70">
              <a:extLst>
                <a:ext uri="{FF2B5EF4-FFF2-40B4-BE49-F238E27FC236}">
                  <a16:creationId xmlns:a16="http://schemas.microsoft.com/office/drawing/2014/main" id="{76183028-F75F-4DBF-8E63-AC279038FC1C}"/>
                </a:ext>
              </a:extLst>
            </p:cNvPr>
            <p:cNvCxnSpPr>
              <a:cxnSpLocks/>
            </p:cNvCxnSpPr>
            <p:nvPr/>
          </p:nvCxnSpPr>
          <p:spPr>
            <a:xfrm>
              <a:off x="8289016" y="1192222"/>
              <a:ext cx="377947" cy="83227"/>
            </a:xfrm>
            <a:prstGeom prst="line">
              <a:avLst/>
            </a:prstGeom>
            <a:noFill/>
            <a:ln w="25400" cap="flat" cmpd="sng" algn="ctr">
              <a:solidFill>
                <a:srgbClr val="6EBE4A"/>
              </a:solidFill>
              <a:prstDash val="solid"/>
              <a:miter lim="800000"/>
            </a:ln>
            <a:effectLst/>
          </p:spPr>
        </p:cxnSp>
        <p:sp>
          <p:nvSpPr>
            <p:cNvPr id="430" name="Freeform: Shape 725">
              <a:extLst>
                <a:ext uri="{FF2B5EF4-FFF2-40B4-BE49-F238E27FC236}">
                  <a16:creationId xmlns:a16="http://schemas.microsoft.com/office/drawing/2014/main" id="{0461A9FC-59C4-4FD1-BB06-7986EAEFA667}"/>
                </a:ext>
              </a:extLst>
            </p:cNvPr>
            <p:cNvSpPr/>
            <p:nvPr/>
          </p:nvSpPr>
          <p:spPr>
            <a:xfrm>
              <a:off x="6546252" y="651555"/>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31" name="Freeform: Shape 726">
              <a:extLst>
                <a:ext uri="{FF2B5EF4-FFF2-40B4-BE49-F238E27FC236}">
                  <a16:creationId xmlns:a16="http://schemas.microsoft.com/office/drawing/2014/main" id="{AF558BEA-5273-4530-8859-FCF70508092F}"/>
                </a:ext>
              </a:extLst>
            </p:cNvPr>
            <p:cNvSpPr/>
            <p:nvPr/>
          </p:nvSpPr>
          <p:spPr>
            <a:xfrm>
              <a:off x="6531243" y="678499"/>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32" name="Freeform: Shape 727">
              <a:extLst>
                <a:ext uri="{FF2B5EF4-FFF2-40B4-BE49-F238E27FC236}">
                  <a16:creationId xmlns:a16="http://schemas.microsoft.com/office/drawing/2014/main" id="{24BFFB4B-D879-4778-BDD1-7295A1B1451A}"/>
                </a:ext>
              </a:extLst>
            </p:cNvPr>
            <p:cNvSpPr/>
            <p:nvPr/>
          </p:nvSpPr>
          <p:spPr>
            <a:xfrm>
              <a:off x="6526433" y="705460"/>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33" name="Isosceles Triangle 49">
              <a:extLst>
                <a:ext uri="{FF2B5EF4-FFF2-40B4-BE49-F238E27FC236}">
                  <a16:creationId xmlns:a16="http://schemas.microsoft.com/office/drawing/2014/main" id="{B733C302-C956-4083-9124-02D77995B3D9}"/>
                </a:ext>
              </a:extLst>
            </p:cNvPr>
            <p:cNvSpPr/>
            <p:nvPr/>
          </p:nvSpPr>
          <p:spPr>
            <a:xfrm>
              <a:off x="6524777" y="2308160"/>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grpSp>
          <p:nvGrpSpPr>
            <p:cNvPr id="434" name="Group 665">
              <a:extLst>
                <a:ext uri="{FF2B5EF4-FFF2-40B4-BE49-F238E27FC236}">
                  <a16:creationId xmlns:a16="http://schemas.microsoft.com/office/drawing/2014/main" id="{EFC668D7-1404-4709-ABAF-B135DEA607DF}"/>
                </a:ext>
              </a:extLst>
            </p:cNvPr>
            <p:cNvGrpSpPr/>
            <p:nvPr/>
          </p:nvGrpSpPr>
          <p:grpSpPr>
            <a:xfrm>
              <a:off x="7714424" y="3183284"/>
              <a:ext cx="804863" cy="685591"/>
              <a:chOff x="2147888" y="2814638"/>
              <a:chExt cx="1447800" cy="1231900"/>
            </a:xfrm>
            <a:solidFill>
              <a:srgbClr val="6EBE4A"/>
            </a:solidFill>
          </p:grpSpPr>
          <p:sp>
            <p:nvSpPr>
              <p:cNvPr id="451" name="Freeform 46">
                <a:extLst>
                  <a:ext uri="{FF2B5EF4-FFF2-40B4-BE49-F238E27FC236}">
                    <a16:creationId xmlns:a16="http://schemas.microsoft.com/office/drawing/2014/main" id="{7994ADF7-7059-4853-B400-1CA93FFB8A09}"/>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2" name="Freeform 47">
                <a:extLst>
                  <a:ext uri="{FF2B5EF4-FFF2-40B4-BE49-F238E27FC236}">
                    <a16:creationId xmlns:a16="http://schemas.microsoft.com/office/drawing/2014/main" id="{BEB2C99D-CFA3-428E-B1BD-2DEB848BBA52}"/>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3" name="Freeform 48">
                <a:extLst>
                  <a:ext uri="{FF2B5EF4-FFF2-40B4-BE49-F238E27FC236}">
                    <a16:creationId xmlns:a16="http://schemas.microsoft.com/office/drawing/2014/main" id="{C529F1FB-4B4A-4759-9C53-0DB6F50B0426}"/>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4" name="Freeform 49">
                <a:extLst>
                  <a:ext uri="{FF2B5EF4-FFF2-40B4-BE49-F238E27FC236}">
                    <a16:creationId xmlns:a16="http://schemas.microsoft.com/office/drawing/2014/main" id="{2108A9A3-898F-429A-9FC4-D6931A44FBF1}"/>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5" name="Freeform 50">
                <a:extLst>
                  <a:ext uri="{FF2B5EF4-FFF2-40B4-BE49-F238E27FC236}">
                    <a16:creationId xmlns:a16="http://schemas.microsoft.com/office/drawing/2014/main" id="{57F5CB81-3CAA-4452-A1AB-43414AEA4D5E}"/>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6" name="Freeform 51">
                <a:extLst>
                  <a:ext uri="{FF2B5EF4-FFF2-40B4-BE49-F238E27FC236}">
                    <a16:creationId xmlns:a16="http://schemas.microsoft.com/office/drawing/2014/main" id="{EA364AB2-6264-4BC0-9FAE-703F92FE48D8}"/>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7" name="Freeform 52">
                <a:extLst>
                  <a:ext uri="{FF2B5EF4-FFF2-40B4-BE49-F238E27FC236}">
                    <a16:creationId xmlns:a16="http://schemas.microsoft.com/office/drawing/2014/main" id="{18492646-D4F7-4433-A719-80F8C7EF8A96}"/>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58" name="Freeform 53">
                <a:extLst>
                  <a:ext uri="{FF2B5EF4-FFF2-40B4-BE49-F238E27FC236}">
                    <a16:creationId xmlns:a16="http://schemas.microsoft.com/office/drawing/2014/main" id="{80567148-5086-45FB-8891-94C662742BD3}"/>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pic>
          <p:nvPicPr>
            <p:cNvPr id="435" name="Picture 650" descr="A close up of a mountain&#10;&#10;Description automatically generated">
              <a:extLst>
                <a:ext uri="{FF2B5EF4-FFF2-40B4-BE49-F238E27FC236}">
                  <a16:creationId xmlns:a16="http://schemas.microsoft.com/office/drawing/2014/main" id="{D4099378-7BC5-4216-95C3-D5E74C861264}"/>
                </a:ext>
              </a:extLst>
            </p:cNvPr>
            <p:cNvPicPr>
              <a:picLocks noChangeAspect="1"/>
            </p:cNvPicPr>
            <p:nvPr/>
          </p:nvPicPr>
          <p:blipFill>
            <a:blip r:embed="rId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601395" y="3396262"/>
              <a:ext cx="2331539" cy="1161707"/>
            </a:xfrm>
            <a:prstGeom prst="rect">
              <a:avLst/>
            </a:prstGeom>
          </p:spPr>
        </p:pic>
        <p:pic>
          <p:nvPicPr>
            <p:cNvPr id="436" name="Picture 11" descr="A close up of a mountain&#10;&#10;Description automatically generated">
              <a:extLst>
                <a:ext uri="{FF2B5EF4-FFF2-40B4-BE49-F238E27FC236}">
                  <a16:creationId xmlns:a16="http://schemas.microsoft.com/office/drawing/2014/main" id="{2D62696F-CD60-4D91-BD2D-D0EEB5CA4668}"/>
                </a:ext>
              </a:extLst>
            </p:cNvPr>
            <p:cNvPicPr>
              <a:picLocks noChangeAspect="1"/>
            </p:cNvPicPr>
            <p:nvPr/>
          </p:nvPicPr>
          <p:blipFill>
            <a:blip r:embed="rId5"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973307" y="3408735"/>
              <a:ext cx="2081140" cy="1036944"/>
            </a:xfrm>
            <a:prstGeom prst="rect">
              <a:avLst/>
            </a:prstGeom>
          </p:spPr>
        </p:pic>
        <p:pic>
          <p:nvPicPr>
            <p:cNvPr id="437" name="Picture 651" descr="A close up of a mountain&#10;&#10;Description automatically generated">
              <a:extLst>
                <a:ext uri="{FF2B5EF4-FFF2-40B4-BE49-F238E27FC236}">
                  <a16:creationId xmlns:a16="http://schemas.microsoft.com/office/drawing/2014/main" id="{A4331D24-F85E-401E-AD39-D0D3114D917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flipH="1">
              <a:off x="6712610" y="3536368"/>
              <a:ext cx="2453510" cy="1161707"/>
            </a:xfrm>
            <a:prstGeom prst="rect">
              <a:avLst/>
            </a:prstGeom>
          </p:spPr>
        </p:pic>
        <p:pic>
          <p:nvPicPr>
            <p:cNvPr id="438" name="Picture 652" descr="A close up of a mountain&#10;&#10;Description automatically generated">
              <a:extLst>
                <a:ext uri="{FF2B5EF4-FFF2-40B4-BE49-F238E27FC236}">
                  <a16:creationId xmlns:a16="http://schemas.microsoft.com/office/drawing/2014/main" id="{3EFF7922-469B-4B96-B4C2-BF4B05D2F372}"/>
                </a:ext>
              </a:extLst>
            </p:cNvPr>
            <p:cNvPicPr>
              <a:picLocks noChangeAspect="1"/>
            </p:cNvPicPr>
            <p:nvPr/>
          </p:nvPicPr>
          <p:blipFill>
            <a:blip r:embed="rId5"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672429" y="3706946"/>
              <a:ext cx="2081140" cy="1036944"/>
            </a:xfrm>
            <a:prstGeom prst="rect">
              <a:avLst/>
            </a:prstGeom>
          </p:spPr>
        </p:pic>
        <p:pic>
          <p:nvPicPr>
            <p:cNvPr id="439" name="Picture 653" descr="A close up of a mountain&#10;&#10;Description automatically generated">
              <a:extLst>
                <a:ext uri="{FF2B5EF4-FFF2-40B4-BE49-F238E27FC236}">
                  <a16:creationId xmlns:a16="http://schemas.microsoft.com/office/drawing/2014/main" id="{A5EE7439-FA38-451E-8A1B-690BDEA9DC5D}"/>
                </a:ext>
              </a:extLst>
            </p:cNvPr>
            <p:cNvPicPr>
              <a:picLocks noChangeAspect="1"/>
            </p:cNvPicPr>
            <p:nvPr/>
          </p:nvPicPr>
          <p:blipFill>
            <a:blip r:embed="rId1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211694" y="3399661"/>
              <a:ext cx="2453510" cy="1161707"/>
            </a:xfrm>
            <a:prstGeom prst="rect">
              <a:avLst/>
            </a:prstGeom>
          </p:spPr>
        </p:pic>
        <p:pic>
          <p:nvPicPr>
            <p:cNvPr id="440" name="Picture 671" descr="A close up of a mountain&#10;&#10;Description automatically generated">
              <a:extLst>
                <a:ext uri="{FF2B5EF4-FFF2-40B4-BE49-F238E27FC236}">
                  <a16:creationId xmlns:a16="http://schemas.microsoft.com/office/drawing/2014/main" id="{B10BE6BB-1102-4BD5-9598-2C82B2F6A04E}"/>
                </a:ext>
              </a:extLst>
            </p:cNvPr>
            <p:cNvPicPr>
              <a:picLocks noChangeAspect="1"/>
            </p:cNvPicPr>
            <p:nvPr/>
          </p:nvPicPr>
          <p:blipFill>
            <a:blip r:embed="rId19"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816811" y="3439797"/>
              <a:ext cx="1521937" cy="758317"/>
            </a:xfrm>
            <a:prstGeom prst="rect">
              <a:avLst/>
            </a:prstGeom>
          </p:spPr>
        </p:pic>
        <p:pic>
          <p:nvPicPr>
            <p:cNvPr id="441" name="Picture 580" descr="A picture containing sitting, black, book, colored&#10;&#10;Description automatically generated">
              <a:extLst>
                <a:ext uri="{FF2B5EF4-FFF2-40B4-BE49-F238E27FC236}">
                  <a16:creationId xmlns:a16="http://schemas.microsoft.com/office/drawing/2014/main" id="{AD0B0B30-CD6B-4518-9236-B50BD4CB6C6A}"/>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6521356" y="2851053"/>
              <a:ext cx="1391570" cy="1485390"/>
            </a:xfrm>
            <a:prstGeom prst="rect">
              <a:avLst/>
            </a:prstGeom>
          </p:spPr>
        </p:pic>
        <p:sp>
          <p:nvSpPr>
            <p:cNvPr id="442" name="Isosceles Triangle 49">
              <a:extLst>
                <a:ext uri="{FF2B5EF4-FFF2-40B4-BE49-F238E27FC236}">
                  <a16:creationId xmlns:a16="http://schemas.microsoft.com/office/drawing/2014/main" id="{2D488EB0-9ED3-440B-89A1-635A7CFEA37B}"/>
                </a:ext>
              </a:extLst>
            </p:cNvPr>
            <p:cNvSpPr/>
            <p:nvPr/>
          </p:nvSpPr>
          <p:spPr>
            <a:xfrm>
              <a:off x="8041723" y="3616344"/>
              <a:ext cx="659376" cy="57509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443" name="Isosceles Triangle 49">
              <a:extLst>
                <a:ext uri="{FF2B5EF4-FFF2-40B4-BE49-F238E27FC236}">
                  <a16:creationId xmlns:a16="http://schemas.microsoft.com/office/drawing/2014/main" id="{3C21A839-B90B-4336-9385-E540A2351A4F}"/>
                </a:ext>
              </a:extLst>
            </p:cNvPr>
            <p:cNvSpPr/>
            <p:nvPr/>
          </p:nvSpPr>
          <p:spPr>
            <a:xfrm>
              <a:off x="6043333" y="3323758"/>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44" name="Isosceles Triangle 49">
              <a:extLst>
                <a:ext uri="{FF2B5EF4-FFF2-40B4-BE49-F238E27FC236}">
                  <a16:creationId xmlns:a16="http://schemas.microsoft.com/office/drawing/2014/main" id="{714C6113-C843-42BF-8C3F-59EB888D354D}"/>
                </a:ext>
              </a:extLst>
            </p:cNvPr>
            <p:cNvSpPr/>
            <p:nvPr/>
          </p:nvSpPr>
          <p:spPr>
            <a:xfrm>
              <a:off x="7734053" y="3734189"/>
              <a:ext cx="793486" cy="692065"/>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4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pic>
          <p:nvPicPr>
            <p:cNvPr id="445" name="Picture 97" descr="A picture containing sitting, black, white, water&#10;&#10;Description automatically generated">
              <a:extLst>
                <a:ext uri="{FF2B5EF4-FFF2-40B4-BE49-F238E27FC236}">
                  <a16:creationId xmlns:a16="http://schemas.microsoft.com/office/drawing/2014/main" id="{CD168E84-73E6-4E99-8DD4-33214276A2B9}"/>
                </a:ext>
              </a:extLst>
            </p:cNvPr>
            <p:cNvPicPr>
              <a:picLocks noChangeAspect="1"/>
            </p:cNvPicPr>
            <p:nvPr/>
          </p:nvPicPr>
          <p:blipFill rotWithShape="1">
            <a:blip r:embed="rId21" cstate="screen">
              <a:duotone>
                <a:srgbClr val="00BCEB">
                  <a:shade val="45000"/>
                  <a:satMod val="135000"/>
                </a:srgbClr>
                <a:prstClr val="white"/>
              </a:duotone>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a:ext>
              </a:extLst>
            </a:blip>
            <a:srcRect/>
            <a:stretch/>
          </p:blipFill>
          <p:spPr>
            <a:xfrm rot="1085153" flipH="1">
              <a:off x="6888409" y="3425220"/>
              <a:ext cx="1788153" cy="949169"/>
            </a:xfrm>
            <a:prstGeom prst="rect">
              <a:avLst/>
            </a:prstGeom>
          </p:spPr>
        </p:pic>
        <p:sp>
          <p:nvSpPr>
            <p:cNvPr id="446" name="Oval 15">
              <a:extLst>
                <a:ext uri="{FF2B5EF4-FFF2-40B4-BE49-F238E27FC236}">
                  <a16:creationId xmlns:a16="http://schemas.microsoft.com/office/drawing/2014/main" id="{895278A3-4A05-47B1-BB03-ACBF5511E276}"/>
                </a:ext>
              </a:extLst>
            </p:cNvPr>
            <p:cNvSpPr/>
            <p:nvPr/>
          </p:nvSpPr>
          <p:spPr>
            <a:xfrm>
              <a:off x="7255699" y="2988027"/>
              <a:ext cx="555394" cy="555394"/>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47" name="Freeform: Shape 98">
              <a:extLst>
                <a:ext uri="{FF2B5EF4-FFF2-40B4-BE49-F238E27FC236}">
                  <a16:creationId xmlns:a16="http://schemas.microsoft.com/office/drawing/2014/main" id="{A985A8BA-BC5E-438A-9522-C62DD01AF897}"/>
                </a:ext>
              </a:extLst>
            </p:cNvPr>
            <p:cNvSpPr/>
            <p:nvPr/>
          </p:nvSpPr>
          <p:spPr>
            <a:xfrm>
              <a:off x="5769459" y="2779506"/>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448" name="Picture 576" descr="A picture containing photo, black, clock, white&#10;&#10;Description automatically generated">
              <a:extLst>
                <a:ext uri="{FF2B5EF4-FFF2-40B4-BE49-F238E27FC236}">
                  <a16:creationId xmlns:a16="http://schemas.microsoft.com/office/drawing/2014/main" id="{A27C76FE-BB39-4FED-BD5C-FEAE2F35DE6A}"/>
                </a:ext>
              </a:extLst>
            </p:cNvPr>
            <p:cNvPicPr>
              <a:picLocks/>
            </p:cNvPicPr>
            <p:nvPr/>
          </p:nvPicPr>
          <p:blipFill rotWithShape="1">
            <a:blip r:embed="rId23" cstate="screen">
              <a:duotone>
                <a:srgbClr val="6EBE4A">
                  <a:shade val="45000"/>
                  <a:satMod val="135000"/>
                </a:srgbClr>
                <a:prstClr val="white"/>
              </a:duotone>
              <a:extLst>
                <a:ext uri="{28A0092B-C50C-407E-A947-70E740481C1C}">
                  <a14:useLocalDpi xmlns:a14="http://schemas.microsoft.com/office/drawing/2010/main"/>
                </a:ext>
              </a:extLst>
            </a:blip>
            <a:srcRect/>
            <a:stretch/>
          </p:blipFill>
          <p:spPr>
            <a:xfrm>
              <a:off x="6949691" y="3316664"/>
              <a:ext cx="858308" cy="861759"/>
            </a:xfrm>
            <a:prstGeom prst="ellipse">
              <a:avLst/>
            </a:prstGeom>
          </p:spPr>
        </p:pic>
        <p:pic>
          <p:nvPicPr>
            <p:cNvPr id="449" name="Picture 94" descr="A picture containing sitting, black, white, water&#10;&#10;Description automatically generated">
              <a:extLst>
                <a:ext uri="{FF2B5EF4-FFF2-40B4-BE49-F238E27FC236}">
                  <a16:creationId xmlns:a16="http://schemas.microsoft.com/office/drawing/2014/main" id="{DB3E0BD5-C709-47A9-AB49-E7477FFA917E}"/>
                </a:ext>
              </a:extLst>
            </p:cNvPr>
            <p:cNvPicPr>
              <a:picLocks noChangeAspect="1"/>
            </p:cNvPicPr>
            <p:nvPr/>
          </p:nvPicPr>
          <p:blipFill rotWithShape="1">
            <a:blip r:embed="rId21" cstate="screen">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a:ext>
              </a:extLst>
            </a:blip>
            <a:srcRect/>
            <a:stretch/>
          </p:blipFill>
          <p:spPr>
            <a:xfrm rot="900000" flipH="1">
              <a:off x="6875895" y="3381909"/>
              <a:ext cx="1788153" cy="949169"/>
            </a:xfrm>
            <a:prstGeom prst="rect">
              <a:avLst/>
            </a:prstGeom>
          </p:spPr>
        </p:pic>
        <p:pic>
          <p:nvPicPr>
            <p:cNvPr id="450" name="Picture 188" descr="A picture containing sitting, black, dark, table&#10;&#10;Description automatically generated">
              <a:extLst>
                <a:ext uri="{FF2B5EF4-FFF2-40B4-BE49-F238E27FC236}">
                  <a16:creationId xmlns:a16="http://schemas.microsoft.com/office/drawing/2014/main" id="{2AE62B9E-128A-445D-8BD1-25F1BE6AB15E}"/>
                </a:ext>
              </a:extLst>
            </p:cNvPr>
            <p:cNvPicPr>
              <a:picLocks noChangeAspect="1"/>
            </p:cNvPicPr>
            <p:nvPr/>
          </p:nvPicPr>
          <p:blipFill rotWithShape="1">
            <a:blip r:embed="rId4"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615675" y="661836"/>
              <a:ext cx="870883" cy="862494"/>
            </a:xfrm>
            <a:prstGeom prst="rect">
              <a:avLst/>
            </a:prstGeom>
          </p:spPr>
        </p:pic>
      </p:grpSp>
    </p:spTree>
    <p:extLst>
      <p:ext uri="{BB962C8B-B14F-4D97-AF65-F5344CB8AC3E}">
        <p14:creationId xmlns:p14="http://schemas.microsoft.com/office/powerpoint/2010/main" val="829617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 name="Trapezoid 498">
            <a:extLst>
              <a:ext uri="{FF2B5EF4-FFF2-40B4-BE49-F238E27FC236}">
                <a16:creationId xmlns:a16="http://schemas.microsoft.com/office/drawing/2014/main" id="{A14418B7-E042-C040-AD5A-3D4E866FE3DB}"/>
              </a:ext>
            </a:extLst>
          </p:cNvPr>
          <p:cNvSpPr/>
          <p:nvPr/>
        </p:nvSpPr>
        <p:spPr>
          <a:xfrm>
            <a:off x="5469208" y="2114771"/>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8" name="Trapezoid 497">
            <a:extLst>
              <a:ext uri="{FF2B5EF4-FFF2-40B4-BE49-F238E27FC236}">
                <a16:creationId xmlns:a16="http://schemas.microsoft.com/office/drawing/2014/main" id="{DA6DF866-CFDC-3C4C-8C8A-B8D16B942527}"/>
              </a:ext>
            </a:extLst>
          </p:cNvPr>
          <p:cNvSpPr/>
          <p:nvPr/>
        </p:nvSpPr>
        <p:spPr>
          <a:xfrm>
            <a:off x="2831186" y="2113600"/>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rapezoid 13">
            <a:extLst>
              <a:ext uri="{FF2B5EF4-FFF2-40B4-BE49-F238E27FC236}">
                <a16:creationId xmlns:a16="http://schemas.microsoft.com/office/drawing/2014/main" id="{5BF4EBEE-F698-E74A-BE66-6F5EA573527F}"/>
              </a:ext>
            </a:extLst>
          </p:cNvPr>
          <p:cNvSpPr/>
          <p:nvPr/>
        </p:nvSpPr>
        <p:spPr>
          <a:xfrm>
            <a:off x="229955" y="2125574"/>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2" name="Rounded Rectangle 501">
            <a:extLst>
              <a:ext uri="{FF2B5EF4-FFF2-40B4-BE49-F238E27FC236}">
                <a16:creationId xmlns:a16="http://schemas.microsoft.com/office/drawing/2014/main" id="{F1787B50-FC36-CD47-A6FA-E1D15744B32D}"/>
              </a:ext>
            </a:extLst>
          </p:cNvPr>
          <p:cNvSpPr/>
          <p:nvPr/>
        </p:nvSpPr>
        <p:spPr>
          <a:xfrm>
            <a:off x="4334735" y="1894418"/>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Rounded Rectangle 502">
            <a:extLst>
              <a:ext uri="{FF2B5EF4-FFF2-40B4-BE49-F238E27FC236}">
                <a16:creationId xmlns:a16="http://schemas.microsoft.com/office/drawing/2014/main" id="{FA0313AB-D074-3D46-8A84-41994BEA13B1}"/>
              </a:ext>
            </a:extLst>
          </p:cNvPr>
          <p:cNvSpPr/>
          <p:nvPr/>
        </p:nvSpPr>
        <p:spPr>
          <a:xfrm>
            <a:off x="7375037" y="1893451"/>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1" name="Rounded Rectangle 500">
            <a:extLst>
              <a:ext uri="{FF2B5EF4-FFF2-40B4-BE49-F238E27FC236}">
                <a16:creationId xmlns:a16="http://schemas.microsoft.com/office/drawing/2014/main" id="{4DC37662-7F50-1446-9932-4B2A4BC9CAB2}"/>
              </a:ext>
            </a:extLst>
          </p:cNvPr>
          <p:cNvSpPr/>
          <p:nvPr/>
        </p:nvSpPr>
        <p:spPr>
          <a:xfrm>
            <a:off x="1237680" y="1893451"/>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a:extLst>
              <a:ext uri="{FF2B5EF4-FFF2-40B4-BE49-F238E27FC236}">
                <a16:creationId xmlns:a16="http://schemas.microsoft.com/office/drawing/2014/main" id="{E47C3239-E537-DC4F-BA97-C454F5A0B7C1}"/>
              </a:ext>
            </a:extLst>
          </p:cNvPr>
          <p:cNvSpPr/>
          <p:nvPr/>
        </p:nvSpPr>
        <p:spPr>
          <a:xfrm>
            <a:off x="0" y="2967668"/>
            <a:ext cx="9144000" cy="1547181"/>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iscoSansTT ExtraLight"/>
            </a:endParaRPr>
          </a:p>
        </p:txBody>
      </p:sp>
      <p:sp>
        <p:nvSpPr>
          <p:cNvPr id="2" name="Title 1">
            <a:extLst>
              <a:ext uri="{FF2B5EF4-FFF2-40B4-BE49-F238E27FC236}">
                <a16:creationId xmlns:a16="http://schemas.microsoft.com/office/drawing/2014/main" id="{F39CC61B-F18E-8241-A52B-BD1EAFE6A1B7}"/>
              </a:ext>
            </a:extLst>
          </p:cNvPr>
          <p:cNvSpPr>
            <a:spLocks noGrp="1"/>
          </p:cNvSpPr>
          <p:nvPr>
            <p:ph type="title"/>
          </p:nvPr>
        </p:nvSpPr>
        <p:spPr/>
        <p:txBody>
          <a:bodyPr/>
          <a:lstStyle/>
          <a:p>
            <a:r>
              <a:rPr lang="en-US"/>
              <a:t>SecureX is a</a:t>
            </a:r>
            <a:r>
              <a:rPr lang="en-US">
                <a:solidFill>
                  <a:srgbClr val="282828"/>
                </a:solidFill>
              </a:rPr>
              <a:t> </a:t>
            </a:r>
            <a:r>
              <a:rPr lang="en-US">
                <a:solidFill>
                  <a:schemeClr val="tx2"/>
                </a:solidFill>
                <a:latin typeface="CiscoSansTT" panose="020B0503020201020303" pitchFamily="34" charset="0"/>
                <a:cs typeface="CiscoSansTT" panose="020B0503020201020303" pitchFamily="34" charset="0"/>
              </a:rPr>
              <a:t>cloud-native</a:t>
            </a:r>
            <a:r>
              <a:rPr lang="en-US">
                <a:solidFill>
                  <a:srgbClr val="282828"/>
                </a:solidFill>
              </a:rPr>
              <a:t> security platform</a:t>
            </a:r>
            <a:endParaRPr lang="en-US"/>
          </a:p>
        </p:txBody>
      </p:sp>
      <p:grpSp>
        <p:nvGrpSpPr>
          <p:cNvPr id="247" name="Group 246">
            <a:extLst>
              <a:ext uri="{FF2B5EF4-FFF2-40B4-BE49-F238E27FC236}">
                <a16:creationId xmlns:a16="http://schemas.microsoft.com/office/drawing/2014/main" id="{2924CD2A-6DA8-1C48-BEF8-649A119DA739}"/>
              </a:ext>
            </a:extLst>
          </p:cNvPr>
          <p:cNvGrpSpPr/>
          <p:nvPr/>
        </p:nvGrpSpPr>
        <p:grpSpPr>
          <a:xfrm>
            <a:off x="424138" y="1306108"/>
            <a:ext cx="8269434" cy="1103762"/>
            <a:chOff x="615259" y="3926377"/>
            <a:chExt cx="8269434" cy="1103762"/>
          </a:xfrm>
        </p:grpSpPr>
        <p:grpSp>
          <p:nvGrpSpPr>
            <p:cNvPr id="248" name="Group 247">
              <a:extLst>
                <a:ext uri="{FF2B5EF4-FFF2-40B4-BE49-F238E27FC236}">
                  <a16:creationId xmlns:a16="http://schemas.microsoft.com/office/drawing/2014/main" id="{ED9FB557-D89F-A34B-AB03-BF8545B366B8}"/>
                </a:ext>
              </a:extLst>
            </p:cNvPr>
            <p:cNvGrpSpPr/>
            <p:nvPr/>
          </p:nvGrpSpPr>
          <p:grpSpPr>
            <a:xfrm>
              <a:off x="3599525" y="3952936"/>
              <a:ext cx="2265475" cy="911509"/>
              <a:chOff x="3599359" y="3859903"/>
              <a:chExt cx="2265475" cy="911509"/>
            </a:xfrm>
          </p:grpSpPr>
          <p:sp>
            <p:nvSpPr>
              <p:cNvPr id="370" name="TextBox 369">
                <a:extLst>
                  <a:ext uri="{FF2B5EF4-FFF2-40B4-BE49-F238E27FC236}">
                    <a16:creationId xmlns:a16="http://schemas.microsoft.com/office/drawing/2014/main" id="{7D1EFDE8-E0DC-9A45-A35B-56222C8721B6}"/>
                  </a:ext>
                </a:extLst>
              </p:cNvPr>
              <p:cNvSpPr txBox="1"/>
              <p:nvPr/>
            </p:nvSpPr>
            <p:spPr>
              <a:xfrm>
                <a:off x="4489864" y="3940415"/>
                <a:ext cx="1374970"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Unified in one location for</a:t>
                </a:r>
              </a:p>
              <a:p>
                <a:pPr algn="ctr" defTabSz="685783">
                  <a:defRPr/>
                </a:pPr>
                <a:r>
                  <a:rPr lang="en-US" sz="2000">
                    <a:solidFill>
                      <a:schemeClr val="bg1"/>
                    </a:solidFill>
                    <a:latin typeface="CiscoSansTT" panose="020B0503020201020303" pitchFamily="34" charset="0"/>
                    <a:cs typeface="CiscoSansTT" panose="020B0503020201020303" pitchFamily="34" charset="0"/>
                  </a:rPr>
                  <a:t>visibility</a:t>
                </a:r>
                <a:r>
                  <a:rPr lang="en-US" sz="1400">
                    <a:solidFill>
                      <a:srgbClr val="6BBF4E"/>
                    </a:solidFill>
                    <a:latin typeface="CiscoSansTT" panose="020B0503020201020303" pitchFamily="34" charset="0"/>
                    <a:cs typeface="CiscoSansTT" panose="020B0503020201020303" pitchFamily="34" charset="0"/>
                  </a:rPr>
                  <a:t> </a:t>
                </a:r>
                <a:endParaRPr lang="en-US" sz="1400">
                  <a:solidFill>
                    <a:srgbClr val="0D274D"/>
                  </a:solidFill>
                  <a:latin typeface="CiscoSansTT ExtraLight" panose="020B0303020201020303" pitchFamily="34" charset="0"/>
                  <a:cs typeface="CiscoSansTT ExtraLight" panose="020B0303020201020303" pitchFamily="34" charset="0"/>
                </a:endParaRPr>
              </a:p>
            </p:txBody>
          </p:sp>
          <p:grpSp>
            <p:nvGrpSpPr>
              <p:cNvPr id="371" name="Group 370">
                <a:extLst>
                  <a:ext uri="{FF2B5EF4-FFF2-40B4-BE49-F238E27FC236}">
                    <a16:creationId xmlns:a16="http://schemas.microsoft.com/office/drawing/2014/main" id="{1C87075D-C2D4-B049-B7BE-CA4C1939A621}"/>
                  </a:ext>
                </a:extLst>
              </p:cNvPr>
              <p:cNvGrpSpPr>
                <a:grpSpLocks noChangeAspect="1"/>
              </p:cNvGrpSpPr>
              <p:nvPr/>
            </p:nvGrpSpPr>
            <p:grpSpPr>
              <a:xfrm>
                <a:off x="3599359" y="3859903"/>
                <a:ext cx="965449" cy="876210"/>
                <a:chOff x="3952660" y="1890840"/>
                <a:chExt cx="1401472" cy="1271935"/>
              </a:xfrm>
            </p:grpSpPr>
            <p:pic>
              <p:nvPicPr>
                <p:cNvPr id="372" name="Picture 82" descr="A close up of electronics&#10;&#10;Description automatically generated">
                  <a:extLst>
                    <a:ext uri="{FF2B5EF4-FFF2-40B4-BE49-F238E27FC236}">
                      <a16:creationId xmlns:a16="http://schemas.microsoft.com/office/drawing/2014/main" id="{594050F4-E055-8743-9FCD-EC8B722E4FF8}"/>
                    </a:ext>
                  </a:extLst>
                </p:cNvPr>
                <p:cNvPicPr>
                  <a:picLocks noChangeAspect="1"/>
                </p:cNvPicPr>
                <p:nvPr/>
              </p:nvPicPr>
              <p:blipFill>
                <a:blip r:embed="rId3" cstate="screen">
                  <a:duotone>
                    <a:srgbClr val="00BCEB">
                      <a:shade val="45000"/>
                      <a:satMod val="135000"/>
                    </a:srgbClr>
                    <a:prstClr val="white"/>
                  </a:duotone>
                  <a:extLst>
                    <a:ext uri="{28A0092B-C50C-407E-A947-70E740481C1C}">
                      <a14:useLocalDpi xmlns:a14="http://schemas.microsoft.com/office/drawing/2010/main"/>
                    </a:ext>
                  </a:extLst>
                </a:blip>
                <a:stretch>
                  <a:fillRect/>
                </a:stretch>
              </p:blipFill>
              <p:spPr>
                <a:xfrm rot="19454881" flipH="1">
                  <a:off x="4307694" y="2118830"/>
                  <a:ext cx="1046438" cy="854087"/>
                </a:xfrm>
                <a:prstGeom prst="rect">
                  <a:avLst/>
                </a:prstGeom>
              </p:spPr>
            </p:pic>
            <p:grpSp>
              <p:nvGrpSpPr>
                <p:cNvPr id="373" name="Group 372">
                  <a:extLst>
                    <a:ext uri="{FF2B5EF4-FFF2-40B4-BE49-F238E27FC236}">
                      <a16:creationId xmlns:a16="http://schemas.microsoft.com/office/drawing/2014/main" id="{832BCA22-F6F1-2F4E-A6AF-AFFAF222EC84}"/>
                    </a:ext>
                  </a:extLst>
                </p:cNvPr>
                <p:cNvGrpSpPr>
                  <a:grpSpLocks noChangeAspect="1"/>
                </p:cNvGrpSpPr>
                <p:nvPr/>
              </p:nvGrpSpPr>
              <p:grpSpPr>
                <a:xfrm>
                  <a:off x="3952660" y="1890840"/>
                  <a:ext cx="1315698" cy="1271935"/>
                  <a:chOff x="6159182" y="1273837"/>
                  <a:chExt cx="1608153" cy="1503716"/>
                </a:xfrm>
              </p:grpSpPr>
              <p:sp>
                <p:nvSpPr>
                  <p:cNvPr id="374" name="Oval 373">
                    <a:extLst>
                      <a:ext uri="{FF2B5EF4-FFF2-40B4-BE49-F238E27FC236}">
                        <a16:creationId xmlns:a16="http://schemas.microsoft.com/office/drawing/2014/main" id="{7A57BCDF-7C93-8146-868D-FDB4FD7D69FE}"/>
                      </a:ext>
                    </a:extLst>
                  </p:cNvPr>
                  <p:cNvSpPr/>
                  <p:nvPr/>
                </p:nvSpPr>
                <p:spPr>
                  <a:xfrm>
                    <a:off x="6159182" y="1795878"/>
                    <a:ext cx="866556" cy="866556"/>
                  </a:xfrm>
                  <a:prstGeom prst="ellipse">
                    <a:avLst/>
                  </a:prstGeom>
                  <a:solidFill>
                    <a:srgbClr val="00BCEB">
                      <a:alpha val="60000"/>
                    </a:srgbClr>
                  </a:solidFill>
                  <a:ln w="25400" cap="flat" cmpd="sng" algn="ctr">
                    <a:noFill/>
                    <a:prstDash val="solid"/>
                  </a:ln>
                  <a:effectLst/>
                </p:spPr>
                <p:txBody>
                  <a:bodyPr rtlCol="0" anchor="ctr"/>
                  <a:lstStyle/>
                  <a:p>
                    <a:pPr algn="ctr" defTabSz="914378">
                      <a:defRPr/>
                    </a:pPr>
                    <a:endParaRPr lang="en-US" sz="1600" kern="0">
                      <a:solidFill>
                        <a:srgbClr val="0D274D"/>
                      </a:solidFill>
                      <a:latin typeface="CiscoSansTT ExtraLight"/>
                    </a:endParaRPr>
                  </a:p>
                </p:txBody>
              </p:sp>
              <p:sp>
                <p:nvSpPr>
                  <p:cNvPr id="375" name="Arc 374">
                    <a:extLst>
                      <a:ext uri="{FF2B5EF4-FFF2-40B4-BE49-F238E27FC236}">
                        <a16:creationId xmlns:a16="http://schemas.microsoft.com/office/drawing/2014/main" id="{BB10A2DD-CC22-6C40-AD9A-16ED49018BF0}"/>
                      </a:ext>
                    </a:extLst>
                  </p:cNvPr>
                  <p:cNvSpPr/>
                  <p:nvPr/>
                </p:nvSpPr>
                <p:spPr>
                  <a:xfrm>
                    <a:off x="6326358" y="1468366"/>
                    <a:ext cx="1228004" cy="1228004"/>
                  </a:xfrm>
                  <a:prstGeom prst="arc">
                    <a:avLst>
                      <a:gd name="adj1" fmla="val 1761019"/>
                      <a:gd name="adj2" fmla="val 15841988"/>
                    </a:avLst>
                  </a:prstGeom>
                  <a:noFill/>
                  <a:ln w="9525" cap="flat" cmpd="sng" algn="ctr">
                    <a:solidFill>
                      <a:srgbClr val="6EBE4A"/>
                    </a:solidFill>
                    <a:prstDash val="solid"/>
                    <a:headEnd type="none" w="med" len="med"/>
                    <a:tailEnd type="none" w="med" len="med"/>
                  </a:ln>
                  <a:effectLst/>
                </p:spPr>
                <p:txBody>
                  <a:bodyPr rtlCol="0" anchor="ctr"/>
                  <a:lstStyle/>
                  <a:p>
                    <a:pPr algn="ctr" defTabSz="914378">
                      <a:defRPr/>
                    </a:pPr>
                    <a:endParaRPr lang="en-US" sz="1600" kern="0">
                      <a:solidFill>
                        <a:srgbClr val="282828"/>
                      </a:solidFill>
                      <a:latin typeface="CiscoSansTT ExtraLight"/>
                    </a:endParaRPr>
                  </a:p>
                </p:txBody>
              </p:sp>
              <p:sp>
                <p:nvSpPr>
                  <p:cNvPr id="376" name="Isosceles Triangle 49">
                    <a:extLst>
                      <a:ext uri="{FF2B5EF4-FFF2-40B4-BE49-F238E27FC236}">
                        <a16:creationId xmlns:a16="http://schemas.microsoft.com/office/drawing/2014/main" id="{DC54854C-203B-464D-858F-A3AEE7533DA0}"/>
                      </a:ext>
                    </a:extLst>
                  </p:cNvPr>
                  <p:cNvSpPr/>
                  <p:nvPr/>
                </p:nvSpPr>
                <p:spPr>
                  <a:xfrm rot="5989115">
                    <a:off x="6864813" y="1425383"/>
                    <a:ext cx="104112" cy="9080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6EBE4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282828"/>
                      </a:solidFill>
                      <a:latin typeface="CiscoSansTT ExtraLight"/>
                    </a:endParaRPr>
                  </a:p>
                </p:txBody>
              </p:sp>
              <p:cxnSp>
                <p:nvCxnSpPr>
                  <p:cNvPr id="377" name="Straight Connector 376">
                    <a:extLst>
                      <a:ext uri="{FF2B5EF4-FFF2-40B4-BE49-F238E27FC236}">
                        <a16:creationId xmlns:a16="http://schemas.microsoft.com/office/drawing/2014/main" id="{7445AF95-6045-3C48-B091-A125CAC75692}"/>
                      </a:ext>
                    </a:extLst>
                  </p:cNvPr>
                  <p:cNvCxnSpPr/>
                  <p:nvPr/>
                </p:nvCxnSpPr>
                <p:spPr>
                  <a:xfrm flipH="1" flipV="1">
                    <a:off x="6596063" y="1565536"/>
                    <a:ext cx="28575" cy="59036"/>
                  </a:xfrm>
                  <a:prstGeom prst="line">
                    <a:avLst/>
                  </a:prstGeom>
                  <a:noFill/>
                  <a:ln w="9525" cap="flat" cmpd="sng" algn="ctr">
                    <a:solidFill>
                      <a:srgbClr val="FFFFFF"/>
                    </a:solidFill>
                    <a:prstDash val="solid"/>
                  </a:ln>
                  <a:effectLst/>
                </p:spPr>
              </p:cxnSp>
              <p:cxnSp>
                <p:nvCxnSpPr>
                  <p:cNvPr id="378" name="Straight Connector 377">
                    <a:extLst>
                      <a:ext uri="{FF2B5EF4-FFF2-40B4-BE49-F238E27FC236}">
                        <a16:creationId xmlns:a16="http://schemas.microsoft.com/office/drawing/2014/main" id="{CD135B2A-4E86-FD4B-B5D0-588AEC3FE74C}"/>
                      </a:ext>
                    </a:extLst>
                  </p:cNvPr>
                  <p:cNvCxnSpPr>
                    <a:cxnSpLocks/>
                  </p:cNvCxnSpPr>
                  <p:nvPr/>
                </p:nvCxnSpPr>
                <p:spPr>
                  <a:xfrm flipH="1" flipV="1">
                    <a:off x="6330587" y="1927472"/>
                    <a:ext cx="61103" cy="15935"/>
                  </a:xfrm>
                  <a:prstGeom prst="line">
                    <a:avLst/>
                  </a:prstGeom>
                  <a:noFill/>
                  <a:ln w="9525" cap="flat" cmpd="sng" algn="ctr">
                    <a:solidFill>
                      <a:srgbClr val="FFFFFF"/>
                    </a:solidFill>
                    <a:prstDash val="solid"/>
                  </a:ln>
                  <a:effectLst/>
                </p:spPr>
              </p:cxnSp>
              <p:cxnSp>
                <p:nvCxnSpPr>
                  <p:cNvPr id="379" name="Straight Connector 378">
                    <a:extLst>
                      <a:ext uri="{FF2B5EF4-FFF2-40B4-BE49-F238E27FC236}">
                        <a16:creationId xmlns:a16="http://schemas.microsoft.com/office/drawing/2014/main" id="{5E4D10D2-E4E2-4443-AD30-FE8D6D28066A}"/>
                      </a:ext>
                    </a:extLst>
                  </p:cNvPr>
                  <p:cNvCxnSpPr>
                    <a:cxnSpLocks/>
                  </p:cNvCxnSpPr>
                  <p:nvPr/>
                </p:nvCxnSpPr>
                <p:spPr>
                  <a:xfrm flipH="1">
                    <a:off x="6383819" y="2330834"/>
                    <a:ext cx="55158" cy="21494"/>
                  </a:xfrm>
                  <a:prstGeom prst="line">
                    <a:avLst/>
                  </a:prstGeom>
                  <a:noFill/>
                  <a:ln w="9525" cap="flat" cmpd="sng" algn="ctr">
                    <a:solidFill>
                      <a:srgbClr val="FFFFFF"/>
                    </a:solidFill>
                    <a:prstDash val="solid"/>
                  </a:ln>
                  <a:effectLst/>
                </p:spPr>
              </p:cxnSp>
              <p:cxnSp>
                <p:nvCxnSpPr>
                  <p:cNvPr id="380" name="Straight Connector 379">
                    <a:extLst>
                      <a:ext uri="{FF2B5EF4-FFF2-40B4-BE49-F238E27FC236}">
                        <a16:creationId xmlns:a16="http://schemas.microsoft.com/office/drawing/2014/main" id="{A87D1327-C248-4946-AC91-6F77BC9EE63C}"/>
                      </a:ext>
                    </a:extLst>
                  </p:cNvPr>
                  <p:cNvCxnSpPr>
                    <a:cxnSpLocks/>
                  </p:cNvCxnSpPr>
                  <p:nvPr/>
                </p:nvCxnSpPr>
                <p:spPr>
                  <a:xfrm flipH="1">
                    <a:off x="6691535" y="2595608"/>
                    <a:ext cx="18904" cy="51584"/>
                  </a:xfrm>
                  <a:prstGeom prst="line">
                    <a:avLst/>
                  </a:prstGeom>
                  <a:noFill/>
                  <a:ln w="9525" cap="flat" cmpd="sng" algn="ctr">
                    <a:solidFill>
                      <a:srgbClr val="FFFFFF"/>
                    </a:solidFill>
                    <a:prstDash val="solid"/>
                  </a:ln>
                  <a:effectLst/>
                </p:spPr>
              </p:cxnSp>
              <p:cxnSp>
                <p:nvCxnSpPr>
                  <p:cNvPr id="381" name="Straight Connector 380">
                    <a:extLst>
                      <a:ext uri="{FF2B5EF4-FFF2-40B4-BE49-F238E27FC236}">
                        <a16:creationId xmlns:a16="http://schemas.microsoft.com/office/drawing/2014/main" id="{15727C8F-26A2-8C45-BC1C-2D45066A0A12}"/>
                      </a:ext>
                    </a:extLst>
                  </p:cNvPr>
                  <p:cNvCxnSpPr>
                    <a:cxnSpLocks/>
                  </p:cNvCxnSpPr>
                  <p:nvPr/>
                </p:nvCxnSpPr>
                <p:spPr>
                  <a:xfrm>
                    <a:off x="7215779" y="2571188"/>
                    <a:ext cx="25602" cy="50212"/>
                  </a:xfrm>
                  <a:prstGeom prst="line">
                    <a:avLst/>
                  </a:prstGeom>
                  <a:noFill/>
                  <a:ln w="9525" cap="flat" cmpd="sng" algn="ctr">
                    <a:solidFill>
                      <a:srgbClr val="FFFFFF"/>
                    </a:solidFill>
                    <a:prstDash val="solid"/>
                  </a:ln>
                  <a:effectLst/>
                </p:spPr>
              </p:cxnSp>
              <p:pic>
                <p:nvPicPr>
                  <p:cNvPr id="382" name="Picture 381" descr="A close up of electronics&#10;&#10;Description automatically generated">
                    <a:extLst>
                      <a:ext uri="{FF2B5EF4-FFF2-40B4-BE49-F238E27FC236}">
                        <a16:creationId xmlns:a16="http://schemas.microsoft.com/office/drawing/2014/main" id="{8D6427A7-9588-804C-B943-24548DE3C7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9619711" flipH="1">
                    <a:off x="6546894" y="1508963"/>
                    <a:ext cx="1220441" cy="996109"/>
                  </a:xfrm>
                  <a:prstGeom prst="rect">
                    <a:avLst/>
                  </a:prstGeom>
                </p:spPr>
              </p:pic>
              <p:sp>
                <p:nvSpPr>
                  <p:cNvPr id="383" name="Arc 382">
                    <a:extLst>
                      <a:ext uri="{FF2B5EF4-FFF2-40B4-BE49-F238E27FC236}">
                        <a16:creationId xmlns:a16="http://schemas.microsoft.com/office/drawing/2014/main" id="{0B3ACE1C-7FE4-D048-ACF6-058916C208B6}"/>
                      </a:ext>
                    </a:extLst>
                  </p:cNvPr>
                  <p:cNvSpPr/>
                  <p:nvPr/>
                </p:nvSpPr>
                <p:spPr>
                  <a:xfrm>
                    <a:off x="6235057" y="1387183"/>
                    <a:ext cx="1390370" cy="1390370"/>
                  </a:xfrm>
                  <a:prstGeom prst="arc">
                    <a:avLst>
                      <a:gd name="adj1" fmla="val 2013146"/>
                      <a:gd name="adj2" fmla="val 15684940"/>
                    </a:avLst>
                  </a:prstGeom>
                  <a:noFill/>
                  <a:ln w="9525" cap="flat" cmpd="sng" algn="ctr">
                    <a:solidFill>
                      <a:srgbClr val="6EBE4A">
                        <a:alpha val="60000"/>
                      </a:srgbClr>
                    </a:solidFill>
                    <a:prstDash val="solid"/>
                    <a:headEnd type="none" w="med" len="med"/>
                    <a:tailEnd type="none" w="med" len="med"/>
                  </a:ln>
                  <a:effectLst/>
                </p:spPr>
                <p:txBody>
                  <a:bodyPr rtlCol="0" anchor="ctr"/>
                  <a:lstStyle/>
                  <a:p>
                    <a:pPr algn="ctr" defTabSz="914378">
                      <a:defRPr/>
                    </a:pPr>
                    <a:endParaRPr lang="en-US" sz="1600" kern="0">
                      <a:solidFill>
                        <a:srgbClr val="282828"/>
                      </a:solidFill>
                      <a:latin typeface="CiscoSansTT ExtraLight"/>
                    </a:endParaRPr>
                  </a:p>
                </p:txBody>
              </p:sp>
              <p:cxnSp>
                <p:nvCxnSpPr>
                  <p:cNvPr id="384" name="Straight Connector 383">
                    <a:extLst>
                      <a:ext uri="{FF2B5EF4-FFF2-40B4-BE49-F238E27FC236}">
                        <a16:creationId xmlns:a16="http://schemas.microsoft.com/office/drawing/2014/main" id="{44FB87D0-6311-934F-B8E3-3698E8FB6550}"/>
                      </a:ext>
                    </a:extLst>
                  </p:cNvPr>
                  <p:cNvCxnSpPr>
                    <a:cxnSpLocks/>
                  </p:cNvCxnSpPr>
                  <p:nvPr/>
                </p:nvCxnSpPr>
                <p:spPr>
                  <a:xfrm flipV="1">
                    <a:off x="6982418" y="1273837"/>
                    <a:ext cx="172576" cy="324429"/>
                  </a:xfrm>
                  <a:prstGeom prst="line">
                    <a:avLst/>
                  </a:prstGeom>
                  <a:noFill/>
                  <a:ln w="9525" cap="flat" cmpd="sng" algn="ctr">
                    <a:solidFill>
                      <a:srgbClr val="00BCEB">
                        <a:shade val="95000"/>
                        <a:satMod val="105000"/>
                      </a:srgbClr>
                    </a:solidFill>
                    <a:prstDash val="solid"/>
                  </a:ln>
                  <a:effectLst/>
                </p:spPr>
              </p:cxnSp>
              <p:cxnSp>
                <p:nvCxnSpPr>
                  <p:cNvPr id="385" name="Straight Connector 384">
                    <a:extLst>
                      <a:ext uri="{FF2B5EF4-FFF2-40B4-BE49-F238E27FC236}">
                        <a16:creationId xmlns:a16="http://schemas.microsoft.com/office/drawing/2014/main" id="{3E7C4D29-BEF8-8546-851C-6AFFBFA55493}"/>
                      </a:ext>
                    </a:extLst>
                  </p:cNvPr>
                  <p:cNvCxnSpPr>
                    <a:cxnSpLocks/>
                  </p:cNvCxnSpPr>
                  <p:nvPr/>
                </p:nvCxnSpPr>
                <p:spPr>
                  <a:xfrm>
                    <a:off x="7375423" y="2327858"/>
                    <a:ext cx="315553" cy="76874"/>
                  </a:xfrm>
                  <a:prstGeom prst="line">
                    <a:avLst/>
                  </a:prstGeom>
                  <a:noFill/>
                  <a:ln w="9525" cap="flat" cmpd="sng" algn="ctr">
                    <a:solidFill>
                      <a:srgbClr val="00BCEB">
                        <a:shade val="95000"/>
                        <a:satMod val="105000"/>
                      </a:srgbClr>
                    </a:solidFill>
                    <a:prstDash val="solid"/>
                  </a:ln>
                  <a:effectLst/>
                </p:spPr>
              </p:cxnSp>
              <p:cxnSp>
                <p:nvCxnSpPr>
                  <p:cNvPr id="386" name="Straight Connector 385">
                    <a:extLst>
                      <a:ext uri="{FF2B5EF4-FFF2-40B4-BE49-F238E27FC236}">
                        <a16:creationId xmlns:a16="http://schemas.microsoft.com/office/drawing/2014/main" id="{4D2A2C82-C2DB-854F-82AC-8E2F2806869B}"/>
                      </a:ext>
                    </a:extLst>
                  </p:cNvPr>
                  <p:cNvCxnSpPr>
                    <a:cxnSpLocks/>
                  </p:cNvCxnSpPr>
                  <p:nvPr/>
                </p:nvCxnSpPr>
                <p:spPr>
                  <a:xfrm flipV="1">
                    <a:off x="6993460" y="1294329"/>
                    <a:ext cx="110105" cy="205848"/>
                  </a:xfrm>
                  <a:prstGeom prst="line">
                    <a:avLst/>
                  </a:prstGeom>
                  <a:noFill/>
                  <a:ln w="9525" cap="flat" cmpd="sng" algn="ctr">
                    <a:solidFill>
                      <a:srgbClr val="00BCEB">
                        <a:shade val="95000"/>
                        <a:satMod val="105000"/>
                      </a:srgbClr>
                    </a:solidFill>
                    <a:prstDash val="solid"/>
                  </a:ln>
                  <a:effectLst/>
                </p:spPr>
              </p:cxnSp>
              <p:cxnSp>
                <p:nvCxnSpPr>
                  <p:cNvPr id="387" name="Straight Connector 386">
                    <a:extLst>
                      <a:ext uri="{FF2B5EF4-FFF2-40B4-BE49-F238E27FC236}">
                        <a16:creationId xmlns:a16="http://schemas.microsoft.com/office/drawing/2014/main" id="{9654B4DA-7A8C-A849-8239-5620CF170869}"/>
                      </a:ext>
                    </a:extLst>
                  </p:cNvPr>
                  <p:cNvCxnSpPr>
                    <a:cxnSpLocks/>
                  </p:cNvCxnSpPr>
                  <p:nvPr/>
                </p:nvCxnSpPr>
                <p:spPr>
                  <a:xfrm>
                    <a:off x="7415173" y="2373197"/>
                    <a:ext cx="212453" cy="53478"/>
                  </a:xfrm>
                  <a:prstGeom prst="line">
                    <a:avLst/>
                  </a:prstGeom>
                  <a:noFill/>
                  <a:ln w="9525" cap="flat" cmpd="sng" algn="ctr">
                    <a:solidFill>
                      <a:srgbClr val="00BCEB">
                        <a:shade val="95000"/>
                        <a:satMod val="105000"/>
                      </a:srgbClr>
                    </a:solidFill>
                    <a:prstDash val="solid"/>
                  </a:ln>
                  <a:effectLst/>
                </p:spPr>
              </p:cxnSp>
            </p:grpSp>
          </p:grpSp>
        </p:grpSp>
        <p:grpSp>
          <p:nvGrpSpPr>
            <p:cNvPr id="249" name="Group 248">
              <a:extLst>
                <a:ext uri="{FF2B5EF4-FFF2-40B4-BE49-F238E27FC236}">
                  <a16:creationId xmlns:a16="http://schemas.microsoft.com/office/drawing/2014/main" id="{904AC2D3-7D82-9048-BD70-621E48B0C060}"/>
                </a:ext>
              </a:extLst>
            </p:cNvPr>
            <p:cNvGrpSpPr/>
            <p:nvPr/>
          </p:nvGrpSpPr>
          <p:grpSpPr>
            <a:xfrm>
              <a:off x="6694004" y="4002367"/>
              <a:ext cx="2190689" cy="877338"/>
              <a:chOff x="6340642" y="3894074"/>
              <a:chExt cx="2190689" cy="877338"/>
            </a:xfrm>
          </p:grpSpPr>
          <p:sp>
            <p:nvSpPr>
              <p:cNvPr id="347" name="TextBox 346">
                <a:extLst>
                  <a:ext uri="{FF2B5EF4-FFF2-40B4-BE49-F238E27FC236}">
                    <a16:creationId xmlns:a16="http://schemas.microsoft.com/office/drawing/2014/main" id="{D2764282-E5A9-1D45-B7A4-CDFF464BF3E4}"/>
                  </a:ext>
                </a:extLst>
              </p:cNvPr>
              <p:cNvSpPr txBox="1"/>
              <p:nvPr/>
            </p:nvSpPr>
            <p:spPr>
              <a:xfrm>
                <a:off x="7150235" y="3940415"/>
                <a:ext cx="1381096"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Maximized operational</a:t>
                </a:r>
                <a:r>
                  <a:rPr lang="en-US" sz="1400">
                    <a:solidFill>
                      <a:srgbClr val="6BBF4E"/>
                    </a:solidFill>
                    <a:latin typeface="CiscoSansTT" panose="020B0503020201020303" pitchFamily="34" charset="0"/>
                    <a:cs typeface="CiscoSansTT" panose="020B0503020201020303" pitchFamily="34" charset="0"/>
                  </a:rPr>
                  <a:t> </a:t>
                </a:r>
                <a:r>
                  <a:rPr lang="en-US" sz="2000">
                    <a:solidFill>
                      <a:schemeClr val="bg1"/>
                    </a:solidFill>
                    <a:latin typeface="CiscoSansTT" panose="020B0503020201020303" pitchFamily="34" charset="0"/>
                    <a:cs typeface="CiscoSansTT" panose="020B0503020201020303" pitchFamily="34" charset="0"/>
                  </a:rPr>
                  <a:t>efficiency</a:t>
                </a:r>
                <a:endParaRPr lang="en-US" sz="1400">
                  <a:solidFill>
                    <a:schemeClr val="bg1"/>
                  </a:solidFill>
                  <a:latin typeface="CiscoSansTT ExtraLight" panose="020B0303020201020303" pitchFamily="34" charset="0"/>
                  <a:cs typeface="CiscoSansTT ExtraLight" panose="020B0303020201020303" pitchFamily="34" charset="0"/>
                </a:endParaRPr>
              </a:p>
            </p:txBody>
          </p:sp>
          <p:grpSp>
            <p:nvGrpSpPr>
              <p:cNvPr id="348" name="Group 347">
                <a:extLst>
                  <a:ext uri="{FF2B5EF4-FFF2-40B4-BE49-F238E27FC236}">
                    <a16:creationId xmlns:a16="http://schemas.microsoft.com/office/drawing/2014/main" id="{E6545DF8-83DA-1145-850D-8D01F12FF8E2}"/>
                  </a:ext>
                </a:extLst>
              </p:cNvPr>
              <p:cNvGrpSpPr>
                <a:grpSpLocks noChangeAspect="1"/>
              </p:cNvGrpSpPr>
              <p:nvPr/>
            </p:nvGrpSpPr>
            <p:grpSpPr>
              <a:xfrm>
                <a:off x="6340642" y="3894074"/>
                <a:ext cx="838597" cy="841235"/>
                <a:chOff x="4926345" y="1939687"/>
                <a:chExt cx="1987825" cy="1994080"/>
              </a:xfrm>
            </p:grpSpPr>
            <p:grpSp>
              <p:nvGrpSpPr>
                <p:cNvPr id="349" name="Group 63">
                  <a:extLst>
                    <a:ext uri="{FF2B5EF4-FFF2-40B4-BE49-F238E27FC236}">
                      <a16:creationId xmlns:a16="http://schemas.microsoft.com/office/drawing/2014/main" id="{0C7D0D93-F186-3B41-A18D-6BCBA74AA731}"/>
                    </a:ext>
                  </a:extLst>
                </p:cNvPr>
                <p:cNvGrpSpPr/>
                <p:nvPr/>
              </p:nvGrpSpPr>
              <p:grpSpPr>
                <a:xfrm>
                  <a:off x="5222911" y="3248176"/>
                  <a:ext cx="804863" cy="685591"/>
                  <a:chOff x="2147888" y="2814638"/>
                  <a:chExt cx="1447800" cy="1231900"/>
                </a:xfrm>
                <a:solidFill>
                  <a:srgbClr val="00BCEB"/>
                </a:solidFill>
              </p:grpSpPr>
              <p:sp>
                <p:nvSpPr>
                  <p:cNvPr id="362" name="Freeform 46">
                    <a:extLst>
                      <a:ext uri="{FF2B5EF4-FFF2-40B4-BE49-F238E27FC236}">
                        <a16:creationId xmlns:a16="http://schemas.microsoft.com/office/drawing/2014/main" id="{ABC2A950-49EE-F246-875D-73125A17F7C6}"/>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3" name="Freeform 47">
                    <a:extLst>
                      <a:ext uri="{FF2B5EF4-FFF2-40B4-BE49-F238E27FC236}">
                        <a16:creationId xmlns:a16="http://schemas.microsoft.com/office/drawing/2014/main" id="{8F34C78D-5B1A-044E-83B7-17C057F82823}"/>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4" name="Freeform 48">
                    <a:extLst>
                      <a:ext uri="{FF2B5EF4-FFF2-40B4-BE49-F238E27FC236}">
                        <a16:creationId xmlns:a16="http://schemas.microsoft.com/office/drawing/2014/main" id="{7B031D69-22D7-6140-80E6-73BABF01E492}"/>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5" name="Freeform 49">
                    <a:extLst>
                      <a:ext uri="{FF2B5EF4-FFF2-40B4-BE49-F238E27FC236}">
                        <a16:creationId xmlns:a16="http://schemas.microsoft.com/office/drawing/2014/main" id="{8E837747-A949-4C4E-8250-B1602819CD8C}"/>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6" name="Freeform 50">
                    <a:extLst>
                      <a:ext uri="{FF2B5EF4-FFF2-40B4-BE49-F238E27FC236}">
                        <a16:creationId xmlns:a16="http://schemas.microsoft.com/office/drawing/2014/main" id="{465021F3-42D2-404B-B660-312804C0DCDF}"/>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7" name="Freeform 51">
                    <a:extLst>
                      <a:ext uri="{FF2B5EF4-FFF2-40B4-BE49-F238E27FC236}">
                        <a16:creationId xmlns:a16="http://schemas.microsoft.com/office/drawing/2014/main" id="{56DAA0DF-CF2A-C84C-9076-F62886BADA0C}"/>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8" name="Freeform 52">
                    <a:extLst>
                      <a:ext uri="{FF2B5EF4-FFF2-40B4-BE49-F238E27FC236}">
                        <a16:creationId xmlns:a16="http://schemas.microsoft.com/office/drawing/2014/main" id="{78ACCA22-DCC8-DC44-BF5E-DDA943C7B917}"/>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9" name="Freeform 53">
                    <a:extLst>
                      <a:ext uri="{FF2B5EF4-FFF2-40B4-BE49-F238E27FC236}">
                        <a16:creationId xmlns:a16="http://schemas.microsoft.com/office/drawing/2014/main" id="{5348203E-9439-EB4A-B293-BCF32A40272B}"/>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grpSp>
            <p:grpSp>
              <p:nvGrpSpPr>
                <p:cNvPr id="350" name="Group 592">
                  <a:extLst>
                    <a:ext uri="{FF2B5EF4-FFF2-40B4-BE49-F238E27FC236}">
                      <a16:creationId xmlns:a16="http://schemas.microsoft.com/office/drawing/2014/main" id="{E54A03C6-9A75-B742-8F06-F93833FB1BC0}"/>
                    </a:ext>
                  </a:extLst>
                </p:cNvPr>
                <p:cNvGrpSpPr/>
                <p:nvPr/>
              </p:nvGrpSpPr>
              <p:grpSpPr>
                <a:xfrm>
                  <a:off x="4926345" y="2110472"/>
                  <a:ext cx="1880819" cy="1693100"/>
                  <a:chOff x="-3083985" y="2387260"/>
                  <a:chExt cx="2611628" cy="2350967"/>
                </a:xfrm>
              </p:grpSpPr>
              <p:pic>
                <p:nvPicPr>
                  <p:cNvPr id="358" name="Picture 178" descr="A picture containing object&#10;&#10;Description automatically generated">
                    <a:extLst>
                      <a:ext uri="{FF2B5EF4-FFF2-40B4-BE49-F238E27FC236}">
                        <a16:creationId xmlns:a16="http://schemas.microsoft.com/office/drawing/2014/main" id="{B44E3B6B-65F3-F740-9484-6695AC44435F}"/>
                      </a:ext>
                    </a:extLst>
                  </p:cNvPr>
                  <p:cNvPicPr>
                    <a:picLocks noChangeAspect="1"/>
                  </p:cNvPicPr>
                  <p:nvPr/>
                </p:nvPicPr>
                <p:blipFill>
                  <a:blip r:embed="rId5"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6355791" flipH="1">
                    <a:off x="-3014057" y="2866403"/>
                    <a:ext cx="664007" cy="803863"/>
                  </a:xfrm>
                  <a:prstGeom prst="rect">
                    <a:avLst/>
                  </a:prstGeom>
                </p:spPr>
              </p:pic>
              <p:pic>
                <p:nvPicPr>
                  <p:cNvPr id="359" name="Picture 179" descr="A close up of a computer&#10;&#10;Description automatically generated">
                    <a:extLst>
                      <a:ext uri="{FF2B5EF4-FFF2-40B4-BE49-F238E27FC236}">
                        <a16:creationId xmlns:a16="http://schemas.microsoft.com/office/drawing/2014/main" id="{34AA155B-B04E-B148-8560-B0039443C12E}"/>
                      </a:ext>
                    </a:extLst>
                  </p:cNvPr>
                  <p:cNvPicPr>
                    <a:picLocks noChangeAspect="1"/>
                  </p:cNvPicPr>
                  <p:nvPr/>
                </p:nvPicPr>
                <p:blipFill>
                  <a:blip r:embed="rId6"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8498307" flipH="1">
                    <a:off x="-2779279" y="2900466"/>
                    <a:ext cx="1143367" cy="459051"/>
                  </a:xfrm>
                  <a:prstGeom prst="rect">
                    <a:avLst/>
                  </a:prstGeom>
                </p:spPr>
              </p:pic>
              <p:pic>
                <p:nvPicPr>
                  <p:cNvPr id="360" name="Picture 180" descr="A picture containing black, clock, white, knife&#10;&#10;Description automatically generated">
                    <a:extLst>
                      <a:ext uri="{FF2B5EF4-FFF2-40B4-BE49-F238E27FC236}">
                        <a16:creationId xmlns:a16="http://schemas.microsoft.com/office/drawing/2014/main" id="{3163CEA5-65D5-4240-9D34-D7CDB9693799}"/>
                      </a:ext>
                    </a:extLst>
                  </p:cNvPr>
                  <p:cNvPicPr>
                    <a:picLocks noChangeAspect="1"/>
                  </p:cNvPicPr>
                  <p:nvPr/>
                </p:nvPicPr>
                <p:blipFill>
                  <a:blip r:embed="rId7"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7951816" flipH="1">
                    <a:off x="-2229857" y="2161656"/>
                    <a:ext cx="1425602" cy="1876809"/>
                  </a:xfrm>
                  <a:prstGeom prst="rect">
                    <a:avLst/>
                  </a:prstGeom>
                </p:spPr>
              </p:pic>
              <p:pic>
                <p:nvPicPr>
                  <p:cNvPr id="361" name="Picture 181" descr="A picture containing indoor, sitting, black, white&#10;&#10;Description automatically generated">
                    <a:extLst>
                      <a:ext uri="{FF2B5EF4-FFF2-40B4-BE49-F238E27FC236}">
                        <a16:creationId xmlns:a16="http://schemas.microsoft.com/office/drawing/2014/main" id="{8A672FF8-867C-7B47-A7CB-85183E892A30}"/>
                      </a:ext>
                    </a:extLst>
                  </p:cNvPr>
                  <p:cNvPicPr>
                    <a:picLocks noChangeAspect="1"/>
                  </p:cNvPicPr>
                  <p:nvPr/>
                </p:nvPicPr>
                <p:blipFill>
                  <a:blip r:embed="rId8"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flipH="1">
                    <a:off x="-1495766" y="3640426"/>
                    <a:ext cx="1023409" cy="1097801"/>
                  </a:xfrm>
                  <a:prstGeom prst="rect">
                    <a:avLst/>
                  </a:prstGeom>
                </p:spPr>
              </p:pic>
            </p:grpSp>
            <p:grpSp>
              <p:nvGrpSpPr>
                <p:cNvPr id="351" name="Group 591">
                  <a:extLst>
                    <a:ext uri="{FF2B5EF4-FFF2-40B4-BE49-F238E27FC236}">
                      <a16:creationId xmlns:a16="http://schemas.microsoft.com/office/drawing/2014/main" id="{69EDAF81-913F-B44F-B007-EF3FE4AC7457}"/>
                    </a:ext>
                  </a:extLst>
                </p:cNvPr>
                <p:cNvGrpSpPr/>
                <p:nvPr/>
              </p:nvGrpSpPr>
              <p:grpSpPr>
                <a:xfrm>
                  <a:off x="5096571" y="1939687"/>
                  <a:ext cx="1817599" cy="1926301"/>
                  <a:chOff x="-70844" y="2579788"/>
                  <a:chExt cx="2523843" cy="2674780"/>
                </a:xfrm>
              </p:grpSpPr>
              <p:pic>
                <p:nvPicPr>
                  <p:cNvPr id="354" name="Picture 588" descr="A picture containing object&#10;&#10;Description automatically generated">
                    <a:extLst>
                      <a:ext uri="{FF2B5EF4-FFF2-40B4-BE49-F238E27FC236}">
                        <a16:creationId xmlns:a16="http://schemas.microsoft.com/office/drawing/2014/main" id="{026FBD12-0A67-3846-B653-A173EB2E87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084758" flipH="1">
                    <a:off x="-916" y="2753853"/>
                    <a:ext cx="664007" cy="803863"/>
                  </a:xfrm>
                  <a:prstGeom prst="rect">
                    <a:avLst/>
                  </a:prstGeom>
                </p:spPr>
              </p:pic>
              <p:pic>
                <p:nvPicPr>
                  <p:cNvPr id="355" name="Picture 582" descr="A close up of a computer&#10;&#10;Description automatically generated">
                    <a:extLst>
                      <a:ext uri="{FF2B5EF4-FFF2-40B4-BE49-F238E27FC236}">
                        <a16:creationId xmlns:a16="http://schemas.microsoft.com/office/drawing/2014/main" id="{E44BB27B-FD19-E348-9128-6748B0F7F0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615390" flipH="1">
                    <a:off x="444582" y="2920634"/>
                    <a:ext cx="1143367" cy="459051"/>
                  </a:xfrm>
                  <a:prstGeom prst="rect">
                    <a:avLst/>
                  </a:prstGeom>
                </p:spPr>
              </p:pic>
              <p:pic>
                <p:nvPicPr>
                  <p:cNvPr id="356" name="Picture 590" descr="A picture containing black, clock, white, knife&#10;&#10;Description automatically generated">
                    <a:extLst>
                      <a:ext uri="{FF2B5EF4-FFF2-40B4-BE49-F238E27FC236}">
                        <a16:creationId xmlns:a16="http://schemas.microsoft.com/office/drawing/2014/main" id="{DA73A7AB-D9E3-C841-9217-63B5F245DE4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301551" flipH="1">
                    <a:off x="1006233" y="2579788"/>
                    <a:ext cx="1425602" cy="1876809"/>
                  </a:xfrm>
                  <a:prstGeom prst="rect">
                    <a:avLst/>
                  </a:prstGeom>
                </p:spPr>
              </p:pic>
              <p:pic>
                <p:nvPicPr>
                  <p:cNvPr id="357" name="Picture 586" descr="A picture containing indoor, sitting, black, white&#10;&#10;Description automatically generated">
                    <a:extLst>
                      <a:ext uri="{FF2B5EF4-FFF2-40B4-BE49-F238E27FC236}">
                        <a16:creationId xmlns:a16="http://schemas.microsoft.com/office/drawing/2014/main" id="{5EB49E65-DEB9-D74D-8133-F5D1CC0FDF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1429590" y="4156767"/>
                    <a:ext cx="1023409" cy="1097801"/>
                  </a:xfrm>
                  <a:prstGeom prst="rect">
                    <a:avLst/>
                  </a:prstGeom>
                </p:spPr>
              </p:pic>
            </p:grpSp>
            <p:sp>
              <p:nvSpPr>
                <p:cNvPr id="352" name="Isosceles Triangle 49">
                  <a:extLst>
                    <a:ext uri="{FF2B5EF4-FFF2-40B4-BE49-F238E27FC236}">
                      <a16:creationId xmlns:a16="http://schemas.microsoft.com/office/drawing/2014/main" id="{D6E6F4BE-7B2B-2A4E-A91F-4B0B4E66D47B}"/>
                    </a:ext>
                  </a:extLst>
                </p:cNvPr>
                <p:cNvSpPr/>
                <p:nvPr/>
              </p:nvSpPr>
              <p:spPr>
                <a:xfrm>
                  <a:off x="6343029" y="2308159"/>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defTabSz="457189" fontAlgn="base">
                    <a:spcBef>
                      <a:spcPct val="0"/>
                    </a:spcBef>
                    <a:spcAft>
                      <a:spcPct val="0"/>
                    </a:spcAft>
                    <a:defRPr/>
                  </a:pPr>
                  <a:endParaRPr lang="en-US" sz="1200" kern="0">
                    <a:solidFill>
                      <a:srgbClr val="0D274D"/>
                    </a:solidFill>
                    <a:latin typeface="CiscoSansTT ExtraLight"/>
                  </a:endParaRPr>
                </a:p>
              </p:txBody>
            </p:sp>
            <p:sp>
              <p:nvSpPr>
                <p:cNvPr id="353" name="Isosceles Triangle 49">
                  <a:extLst>
                    <a:ext uri="{FF2B5EF4-FFF2-40B4-BE49-F238E27FC236}">
                      <a16:creationId xmlns:a16="http://schemas.microsoft.com/office/drawing/2014/main" id="{4404664B-DEC6-8F46-8513-E97BBA94B815}"/>
                    </a:ext>
                  </a:extLst>
                </p:cNvPr>
                <p:cNvSpPr/>
                <p:nvPr/>
              </p:nvSpPr>
              <p:spPr>
                <a:xfrm>
                  <a:off x="5861585" y="3323757"/>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defTabSz="457189" fontAlgn="base">
                    <a:spcBef>
                      <a:spcPct val="0"/>
                    </a:spcBef>
                    <a:spcAft>
                      <a:spcPct val="0"/>
                    </a:spcAft>
                    <a:defRPr/>
                  </a:pPr>
                  <a:endParaRPr lang="en-US" sz="1200" kern="0">
                    <a:solidFill>
                      <a:srgbClr val="0D274D"/>
                    </a:solidFill>
                    <a:latin typeface="CiscoSansTT ExtraLight"/>
                  </a:endParaRPr>
                </a:p>
              </p:txBody>
            </p:sp>
          </p:grpSp>
        </p:grpSp>
        <p:grpSp>
          <p:nvGrpSpPr>
            <p:cNvPr id="250" name="Group 249">
              <a:extLst>
                <a:ext uri="{FF2B5EF4-FFF2-40B4-BE49-F238E27FC236}">
                  <a16:creationId xmlns:a16="http://schemas.microsoft.com/office/drawing/2014/main" id="{E3906C5D-EDDB-CB46-9115-5E271A88DC83}"/>
                </a:ext>
              </a:extLst>
            </p:cNvPr>
            <p:cNvGrpSpPr/>
            <p:nvPr/>
          </p:nvGrpSpPr>
          <p:grpSpPr>
            <a:xfrm>
              <a:off x="615259" y="3926377"/>
              <a:ext cx="2104035" cy="949430"/>
              <a:chOff x="852672" y="3816661"/>
              <a:chExt cx="2104035" cy="949430"/>
            </a:xfrm>
          </p:grpSpPr>
          <p:sp>
            <p:nvSpPr>
              <p:cNvPr id="253" name="TextBox 252">
                <a:extLst>
                  <a:ext uri="{FF2B5EF4-FFF2-40B4-BE49-F238E27FC236}">
                    <a16:creationId xmlns:a16="http://schemas.microsoft.com/office/drawing/2014/main" id="{DA4A73E8-C6AC-5E41-A790-5467BFA61A52}"/>
                  </a:ext>
                </a:extLst>
              </p:cNvPr>
              <p:cNvSpPr txBox="1"/>
              <p:nvPr/>
            </p:nvSpPr>
            <p:spPr>
              <a:xfrm>
                <a:off x="1666214" y="3935094"/>
                <a:ext cx="1290493"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Integrated and open for</a:t>
                </a:r>
                <a:r>
                  <a:rPr lang="en-US" sz="1400">
                    <a:solidFill>
                      <a:srgbClr val="0D274D"/>
                    </a:solidFill>
                    <a:latin typeface="CiscoSansTT" panose="020B0503020201020303" pitchFamily="34" charset="0"/>
                    <a:cs typeface="CiscoSansTT" panose="020B0503020201020303" pitchFamily="34" charset="0"/>
                  </a:rPr>
                  <a:t> </a:t>
                </a:r>
                <a:r>
                  <a:rPr lang="en-US" sz="2000">
                    <a:solidFill>
                      <a:schemeClr val="bg1"/>
                    </a:solidFill>
                    <a:latin typeface="CiscoSansTT" panose="020B0503020201020303" pitchFamily="34" charset="0"/>
                    <a:cs typeface="CiscoSansTT" panose="020B0503020201020303" pitchFamily="34" charset="0"/>
                  </a:rPr>
                  <a:t>simplicity</a:t>
                </a:r>
              </a:p>
            </p:txBody>
          </p:sp>
          <p:grpSp>
            <p:nvGrpSpPr>
              <p:cNvPr id="254" name="Group 253">
                <a:extLst>
                  <a:ext uri="{FF2B5EF4-FFF2-40B4-BE49-F238E27FC236}">
                    <a16:creationId xmlns:a16="http://schemas.microsoft.com/office/drawing/2014/main" id="{5F2F6116-48F3-064D-B857-BC819C3D9193}"/>
                  </a:ext>
                </a:extLst>
              </p:cNvPr>
              <p:cNvGrpSpPr>
                <a:grpSpLocks noChangeAspect="1"/>
              </p:cNvGrpSpPr>
              <p:nvPr/>
            </p:nvGrpSpPr>
            <p:grpSpPr>
              <a:xfrm>
                <a:off x="852672" y="3816661"/>
                <a:ext cx="831584" cy="904034"/>
                <a:chOff x="5022011" y="399610"/>
                <a:chExt cx="3996120" cy="4344279"/>
              </a:xfrm>
            </p:grpSpPr>
            <p:sp>
              <p:nvSpPr>
                <p:cNvPr id="255" name="Oval 83">
                  <a:extLst>
                    <a:ext uri="{FF2B5EF4-FFF2-40B4-BE49-F238E27FC236}">
                      <a16:creationId xmlns:a16="http://schemas.microsoft.com/office/drawing/2014/main" id="{050B6130-BC52-4D43-B0CF-401303817F85}"/>
                    </a:ext>
                  </a:extLst>
                </p:cNvPr>
                <p:cNvSpPr>
                  <a:spLocks/>
                </p:cNvSpPr>
                <p:nvPr/>
              </p:nvSpPr>
              <p:spPr>
                <a:xfrm>
                  <a:off x="7439634" y="661835"/>
                  <a:ext cx="859470" cy="862494"/>
                </a:xfrm>
                <a:prstGeom prst="ellipse">
                  <a:avLst/>
                </a:prstGeom>
                <a:solidFill>
                  <a:srgbClr val="FFFFFF"/>
                </a:solidFill>
                <a:ln w="25400" cap="flat" cmpd="sng" algn="ctr">
                  <a:no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56" name="Picture 596" descr="A picture containing sitting, black, dark, table&#10;&#10;Description automatically generated">
                  <a:extLst>
                    <a:ext uri="{FF2B5EF4-FFF2-40B4-BE49-F238E27FC236}">
                      <a16:creationId xmlns:a16="http://schemas.microsoft.com/office/drawing/2014/main" id="{7F4C0677-A872-244A-8AB1-F327FF04C36B}"/>
                    </a:ext>
                  </a:extLst>
                </p:cNvPr>
                <p:cNvPicPr>
                  <a:picLocks noChangeAspect="1"/>
                </p:cNvPicPr>
                <p:nvPr/>
              </p:nvPicPr>
              <p:blipFill rotWithShape="1">
                <a:blip r:embed="rId9"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sp>
              <p:nvSpPr>
                <p:cNvPr id="257" name="Freeform: Shape 99">
                  <a:extLst>
                    <a:ext uri="{FF2B5EF4-FFF2-40B4-BE49-F238E27FC236}">
                      <a16:creationId xmlns:a16="http://schemas.microsoft.com/office/drawing/2014/main" id="{15160A38-4FB6-1445-8306-91AE7D736891}"/>
                    </a:ext>
                  </a:extLst>
                </p:cNvPr>
                <p:cNvSpPr/>
                <p:nvPr/>
              </p:nvSpPr>
              <p:spPr>
                <a:xfrm rot="7495001">
                  <a:off x="6016695" y="1476789"/>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58" name="Isosceles Triangle 49">
                  <a:extLst>
                    <a:ext uri="{FF2B5EF4-FFF2-40B4-BE49-F238E27FC236}">
                      <a16:creationId xmlns:a16="http://schemas.microsoft.com/office/drawing/2014/main" id="{7DF1B2BB-1B3F-7544-B75C-FCE57C43535A}"/>
                    </a:ext>
                  </a:extLst>
                </p:cNvPr>
                <p:cNvSpPr/>
                <p:nvPr/>
              </p:nvSpPr>
              <p:spPr>
                <a:xfrm rot="10800000">
                  <a:off x="5702955" y="2634004"/>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59" name="Rectangle: Rounded Corners 622">
                  <a:extLst>
                    <a:ext uri="{FF2B5EF4-FFF2-40B4-BE49-F238E27FC236}">
                      <a16:creationId xmlns:a16="http://schemas.microsoft.com/office/drawing/2014/main" id="{CA16182E-BC9C-F947-99ED-44FC9E2902D0}"/>
                    </a:ext>
                  </a:extLst>
                </p:cNvPr>
                <p:cNvSpPr/>
                <p:nvPr/>
              </p:nvSpPr>
              <p:spPr>
                <a:xfrm>
                  <a:off x="5574499" y="3117309"/>
                  <a:ext cx="1308345" cy="294686"/>
                </a:xfrm>
                <a:prstGeom prst="roundRect">
                  <a:avLst/>
                </a:prstGeom>
                <a:solidFill>
                  <a:srgbClr val="0D274D"/>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pic>
              <p:nvPicPr>
                <p:cNvPr id="260" name="Picture 661" descr="A close up of a mountain&#10;&#10;Description automatically generated">
                  <a:extLst>
                    <a:ext uri="{FF2B5EF4-FFF2-40B4-BE49-F238E27FC236}">
                      <a16:creationId xmlns:a16="http://schemas.microsoft.com/office/drawing/2014/main" id="{CE977DB9-C136-DD48-BB1A-30C8D185930E}"/>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936991" y="3093380"/>
                  <a:ext cx="2081140" cy="1036944"/>
                </a:xfrm>
                <a:prstGeom prst="rect">
                  <a:avLst/>
                </a:prstGeom>
              </p:spPr>
            </p:pic>
            <p:pic>
              <p:nvPicPr>
                <p:cNvPr id="261" name="Picture 654" descr="A close up of a mountain&#10;&#10;Description automatically generated">
                  <a:extLst>
                    <a:ext uri="{FF2B5EF4-FFF2-40B4-BE49-F238E27FC236}">
                      <a16:creationId xmlns:a16="http://schemas.microsoft.com/office/drawing/2014/main" id="{1EBF444B-8EAF-4C45-9499-103ADB5E8D5B}"/>
                    </a:ext>
                  </a:extLst>
                </p:cNvPr>
                <p:cNvPicPr>
                  <a:picLocks noChangeAspect="1"/>
                </p:cNvPicPr>
                <p:nvPr/>
              </p:nvPicPr>
              <p:blipFill>
                <a:blip r:embed="rId11" cstate="screen">
                  <a:duotone>
                    <a:prstClr val="black"/>
                    <a:srgbClr val="9E9EA2">
                      <a:tint val="45000"/>
                      <a:satMod val="400000"/>
                    </a:srgbClr>
                  </a:duotone>
                  <a:extLst>
                    <a:ext uri="{BEBA8EAE-BF5A-486C-A8C5-ECC9F3942E4B}">
                      <a14:imgProps xmlns:a14="http://schemas.microsoft.com/office/drawing/2010/main">
                        <a14:imgLayer r:embed="rId12">
                          <a14:imgEffect>
                            <a14:brightnessContrast bright="-12000"/>
                          </a14:imgEffect>
                        </a14:imgLayer>
                      </a14:imgProps>
                    </a:ext>
                    <a:ext uri="{28A0092B-C50C-407E-A947-70E740481C1C}">
                      <a14:useLocalDpi xmlns:a14="http://schemas.microsoft.com/office/drawing/2010/main"/>
                    </a:ext>
                  </a:extLst>
                </a:blip>
                <a:stretch>
                  <a:fillRect/>
                </a:stretch>
              </p:blipFill>
              <p:spPr>
                <a:xfrm>
                  <a:off x="5428845" y="2799167"/>
                  <a:ext cx="2066449" cy="1029624"/>
                </a:xfrm>
                <a:prstGeom prst="rect">
                  <a:avLst/>
                </a:prstGeom>
              </p:spPr>
            </p:pic>
            <p:pic>
              <p:nvPicPr>
                <p:cNvPr id="262" name="Picture 656" descr="A close up of a mountain&#10;&#10;Description automatically generated">
                  <a:extLst>
                    <a:ext uri="{FF2B5EF4-FFF2-40B4-BE49-F238E27FC236}">
                      <a16:creationId xmlns:a16="http://schemas.microsoft.com/office/drawing/2014/main" id="{2BED80F4-17E0-D844-8C6F-3064DADACA66}"/>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022011" y="3051945"/>
                  <a:ext cx="2081140" cy="1036944"/>
                </a:xfrm>
                <a:prstGeom prst="rect">
                  <a:avLst/>
                </a:prstGeom>
              </p:spPr>
            </p:pic>
            <p:pic>
              <p:nvPicPr>
                <p:cNvPr id="263" name="Picture 108" descr="A close up of a mountain&#10;&#10;Description automatically generated">
                  <a:extLst>
                    <a:ext uri="{FF2B5EF4-FFF2-40B4-BE49-F238E27FC236}">
                      <a16:creationId xmlns:a16="http://schemas.microsoft.com/office/drawing/2014/main" id="{E79945A2-CF76-AB4E-A5B8-B647E5FEAEB5}"/>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781454" y="2797676"/>
                  <a:ext cx="2081140" cy="1036944"/>
                </a:xfrm>
                <a:prstGeom prst="rect">
                  <a:avLst/>
                </a:prstGeom>
              </p:spPr>
            </p:pic>
            <p:pic>
              <p:nvPicPr>
                <p:cNvPr id="264" name="Picture 7" descr="A close up of a mountain&#10;&#10;Description automatically generated">
                  <a:extLst>
                    <a:ext uri="{FF2B5EF4-FFF2-40B4-BE49-F238E27FC236}">
                      <a16:creationId xmlns:a16="http://schemas.microsoft.com/office/drawing/2014/main" id="{1AC718AC-5786-EC49-BECA-C6A16597ACE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243141" y="3187103"/>
                  <a:ext cx="2331539" cy="1161707"/>
                </a:xfrm>
                <a:prstGeom prst="rect">
                  <a:avLst/>
                </a:prstGeom>
              </p:spPr>
            </p:pic>
            <p:pic>
              <p:nvPicPr>
                <p:cNvPr id="265" name="Picture 668" descr="A close up of a mountain&#10;&#10;Description automatically generated">
                  <a:extLst>
                    <a:ext uri="{FF2B5EF4-FFF2-40B4-BE49-F238E27FC236}">
                      <a16:creationId xmlns:a16="http://schemas.microsoft.com/office/drawing/2014/main" id="{DF6BBA33-2184-6E4D-AAEB-0C54122A37CC}"/>
                    </a:ext>
                  </a:extLst>
                </p:cNvPr>
                <p:cNvPicPr>
                  <a:picLocks noChangeAspect="1"/>
                </p:cNvPicPr>
                <p:nvPr/>
              </p:nvPicPr>
              <p:blipFill>
                <a:blip r:embed="rId14" cstate="screen">
                  <a:duotone>
                    <a:prstClr val="black"/>
                    <a:srgbClr val="9E9EA2">
                      <a:tint val="45000"/>
                      <a:satMod val="400000"/>
                    </a:srgbClr>
                  </a:duotone>
                  <a:extLst>
                    <a:ext uri="{BEBA8EAE-BF5A-486C-A8C5-ECC9F3942E4B}">
                      <a14:imgProps xmlns:a14="http://schemas.microsoft.com/office/drawing/2010/main">
                        <a14:imgLayer r:embed="rId15">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266028" y="2789445"/>
                  <a:ext cx="1723254" cy="858624"/>
                </a:xfrm>
                <a:prstGeom prst="rect">
                  <a:avLst/>
                </a:prstGeom>
              </p:spPr>
            </p:pic>
            <p:sp>
              <p:nvSpPr>
                <p:cNvPr id="266" name="Freeform: Shape 100">
                  <a:extLst>
                    <a:ext uri="{FF2B5EF4-FFF2-40B4-BE49-F238E27FC236}">
                      <a16:creationId xmlns:a16="http://schemas.microsoft.com/office/drawing/2014/main" id="{B96D3C4C-1742-914C-AB6A-07DF155E4670}"/>
                    </a:ext>
                  </a:extLst>
                </p:cNvPr>
                <p:cNvSpPr/>
                <p:nvPr/>
              </p:nvSpPr>
              <p:spPr>
                <a:xfrm rot="14974915">
                  <a:off x="7072221" y="2565312"/>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67" name="Picture 6" descr="A close up of a mountain&#10;&#10;Description automatically generated">
                  <a:extLst>
                    <a:ext uri="{FF2B5EF4-FFF2-40B4-BE49-F238E27FC236}">
                      <a16:creationId xmlns:a16="http://schemas.microsoft.com/office/drawing/2014/main" id="{B8940615-1546-2941-800C-2561FD20433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5358005" y="3189191"/>
                  <a:ext cx="2331539" cy="1161707"/>
                </a:xfrm>
                <a:prstGeom prst="rect">
                  <a:avLst/>
                </a:prstGeom>
              </p:spPr>
            </p:pic>
            <p:sp>
              <p:nvSpPr>
                <p:cNvPr id="268" name="Freeform: Shape 86">
                  <a:extLst>
                    <a:ext uri="{FF2B5EF4-FFF2-40B4-BE49-F238E27FC236}">
                      <a16:creationId xmlns:a16="http://schemas.microsoft.com/office/drawing/2014/main" id="{179609B8-F1A2-AE4C-B3F8-46B0D2B90AC8}"/>
                    </a:ext>
                  </a:extLst>
                </p:cNvPr>
                <p:cNvSpPr>
                  <a:spLocks noChangeAspect="1"/>
                </p:cNvSpPr>
                <p:nvPr/>
              </p:nvSpPr>
              <p:spPr>
                <a:xfrm rot="16200000">
                  <a:off x="6147270" y="3399089"/>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algn="ctr" defTabSz="914378">
                    <a:defRPr/>
                  </a:pPr>
                  <a:endParaRPr lang="en-US" sz="1600" kern="0">
                    <a:solidFill>
                      <a:srgbClr val="0D274D"/>
                    </a:solidFill>
                    <a:latin typeface="CiscoSansTT ExtraLight"/>
                    <a:ea typeface="ＭＳ Ｐゴシック" charset="0"/>
                  </a:endParaRPr>
                </a:p>
              </p:txBody>
            </p:sp>
            <p:pic>
              <p:nvPicPr>
                <p:cNvPr id="269" name="Picture 105" descr="A close up of a mountain&#10;&#10;Description automatically generated">
                  <a:extLst>
                    <a:ext uri="{FF2B5EF4-FFF2-40B4-BE49-F238E27FC236}">
                      <a16:creationId xmlns:a16="http://schemas.microsoft.com/office/drawing/2014/main" id="{8E9B8CCA-F7D8-CD41-A2D0-75F459E59F13}"/>
                    </a:ext>
                  </a:extLst>
                </p:cNvPr>
                <p:cNvPicPr>
                  <a:picLocks noChangeAspect="1"/>
                </p:cNvPicPr>
                <p:nvPr/>
              </p:nvPicPr>
              <p:blipFill>
                <a:blip r:embed="rId16"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045884" y="3243453"/>
                  <a:ext cx="1790804" cy="892282"/>
                </a:xfrm>
                <a:prstGeom prst="rect">
                  <a:avLst/>
                </a:prstGeom>
              </p:spPr>
            </p:pic>
            <p:sp>
              <p:nvSpPr>
                <p:cNvPr id="270" name="Isosceles Triangle 49">
                  <a:extLst>
                    <a:ext uri="{FF2B5EF4-FFF2-40B4-BE49-F238E27FC236}">
                      <a16:creationId xmlns:a16="http://schemas.microsoft.com/office/drawing/2014/main" id="{0720C0E9-A7B4-314E-833C-71B3E31B8DB1}"/>
                    </a:ext>
                  </a:extLst>
                </p:cNvPr>
                <p:cNvSpPr/>
                <p:nvPr/>
              </p:nvSpPr>
              <p:spPr>
                <a:xfrm>
                  <a:off x="6481784" y="2480006"/>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71" name="Rectangle: Rounded Corners 666">
                  <a:extLst>
                    <a:ext uri="{FF2B5EF4-FFF2-40B4-BE49-F238E27FC236}">
                      <a16:creationId xmlns:a16="http://schemas.microsoft.com/office/drawing/2014/main" id="{0BCCAB91-3F25-2647-8749-1DCB778B9B0E}"/>
                    </a:ext>
                  </a:extLst>
                </p:cNvPr>
                <p:cNvSpPr/>
                <p:nvPr/>
              </p:nvSpPr>
              <p:spPr>
                <a:xfrm>
                  <a:off x="6194678" y="2106147"/>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72" name="AutoShape 3">
                  <a:extLst>
                    <a:ext uri="{FF2B5EF4-FFF2-40B4-BE49-F238E27FC236}">
                      <a16:creationId xmlns:a16="http://schemas.microsoft.com/office/drawing/2014/main" id="{1339310A-A70B-E846-965C-8765AD6418B2}"/>
                    </a:ext>
                  </a:extLst>
                </p:cNvPr>
                <p:cNvSpPr>
                  <a:spLocks noChangeAspect="1" noChangeArrowheads="1" noTextEdit="1"/>
                </p:cNvSpPr>
                <p:nvPr/>
              </p:nvSpPr>
              <p:spPr bwMode="auto">
                <a:xfrm rot="15056671">
                  <a:off x="7384256" y="615156"/>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273" name="Freeform 5">
                  <a:extLst>
                    <a:ext uri="{FF2B5EF4-FFF2-40B4-BE49-F238E27FC236}">
                      <a16:creationId xmlns:a16="http://schemas.microsoft.com/office/drawing/2014/main" id="{49444A8F-034B-7347-9F4B-4E4112EC7528}"/>
                    </a:ext>
                  </a:extLst>
                </p:cNvPr>
                <p:cNvSpPr>
                  <a:spLocks/>
                </p:cNvSpPr>
                <p:nvPr/>
              </p:nvSpPr>
              <p:spPr bwMode="auto">
                <a:xfrm rot="21386774">
                  <a:off x="7308733" y="587389"/>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274" name="Freeform 6">
                  <a:extLst>
                    <a:ext uri="{FF2B5EF4-FFF2-40B4-BE49-F238E27FC236}">
                      <a16:creationId xmlns:a16="http://schemas.microsoft.com/office/drawing/2014/main" id="{A97D56A2-750E-874F-B619-42BFB217E7E8}"/>
                    </a:ext>
                  </a:extLst>
                </p:cNvPr>
                <p:cNvSpPr>
                  <a:spLocks/>
                </p:cNvSpPr>
                <p:nvPr/>
              </p:nvSpPr>
              <p:spPr bwMode="auto">
                <a:xfrm rot="15056671">
                  <a:off x="7972413" y="1399965"/>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pic>
              <p:nvPicPr>
                <p:cNvPr id="275" name="Picture 578" descr="A close up of a persons hand&#10;&#10;Description automatically generated">
                  <a:extLst>
                    <a:ext uri="{FF2B5EF4-FFF2-40B4-BE49-F238E27FC236}">
                      <a16:creationId xmlns:a16="http://schemas.microsoft.com/office/drawing/2014/main" id="{2BE58C71-0198-EA4D-9664-0BE25585A6D0}"/>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6065948" y="399610"/>
                  <a:ext cx="2070387" cy="3307335"/>
                </a:xfrm>
                <a:prstGeom prst="rect">
                  <a:avLst/>
                </a:prstGeom>
              </p:spPr>
            </p:pic>
            <p:cxnSp>
              <p:nvCxnSpPr>
                <p:cNvPr id="277" name="Straight Connector 68">
                  <a:extLst>
                    <a:ext uri="{FF2B5EF4-FFF2-40B4-BE49-F238E27FC236}">
                      <a16:creationId xmlns:a16="http://schemas.microsoft.com/office/drawing/2014/main" id="{009DFB0F-FD9D-FC40-A1D8-70CF4CA25FA6}"/>
                    </a:ext>
                  </a:extLst>
                </p:cNvPr>
                <p:cNvCxnSpPr>
                  <a:cxnSpLocks/>
                </p:cNvCxnSpPr>
                <p:nvPr/>
              </p:nvCxnSpPr>
              <p:spPr>
                <a:xfrm flipV="1">
                  <a:off x="8053454" y="547273"/>
                  <a:ext cx="258188" cy="286562"/>
                </a:xfrm>
                <a:prstGeom prst="line">
                  <a:avLst/>
                </a:prstGeom>
                <a:noFill/>
                <a:ln w="25400" cap="flat" cmpd="sng" algn="ctr">
                  <a:solidFill>
                    <a:srgbClr val="6EBE4A"/>
                  </a:solidFill>
                  <a:prstDash val="solid"/>
                  <a:miter lim="800000"/>
                </a:ln>
                <a:effectLst/>
              </p:spPr>
            </p:cxnSp>
            <p:cxnSp>
              <p:nvCxnSpPr>
                <p:cNvPr id="278" name="Straight Connector 69">
                  <a:extLst>
                    <a:ext uri="{FF2B5EF4-FFF2-40B4-BE49-F238E27FC236}">
                      <a16:creationId xmlns:a16="http://schemas.microsoft.com/office/drawing/2014/main" id="{AD13DFC0-B475-0240-A596-10FED2F56714}"/>
                    </a:ext>
                  </a:extLst>
                </p:cNvPr>
                <p:cNvCxnSpPr>
                  <a:cxnSpLocks/>
                </p:cNvCxnSpPr>
                <p:nvPr/>
              </p:nvCxnSpPr>
              <p:spPr>
                <a:xfrm flipV="1">
                  <a:off x="8106909" y="892488"/>
                  <a:ext cx="365895" cy="111469"/>
                </a:xfrm>
                <a:prstGeom prst="line">
                  <a:avLst/>
                </a:prstGeom>
                <a:noFill/>
                <a:ln w="25400" cap="flat" cmpd="sng" algn="ctr">
                  <a:solidFill>
                    <a:srgbClr val="6EBE4A"/>
                  </a:solidFill>
                  <a:prstDash val="solid"/>
                  <a:miter lim="800000"/>
                </a:ln>
                <a:effectLst/>
              </p:spPr>
            </p:cxnSp>
            <p:cxnSp>
              <p:nvCxnSpPr>
                <p:cNvPr id="279" name="Straight Connector 70">
                  <a:extLst>
                    <a:ext uri="{FF2B5EF4-FFF2-40B4-BE49-F238E27FC236}">
                      <a16:creationId xmlns:a16="http://schemas.microsoft.com/office/drawing/2014/main" id="{0EB13A5C-4A72-7B4A-8FEF-5F11C9DBF09C}"/>
                    </a:ext>
                  </a:extLst>
                </p:cNvPr>
                <p:cNvCxnSpPr>
                  <a:cxnSpLocks/>
                </p:cNvCxnSpPr>
                <p:nvPr/>
              </p:nvCxnSpPr>
              <p:spPr>
                <a:xfrm>
                  <a:off x="8107268" y="1192221"/>
                  <a:ext cx="377947" cy="83227"/>
                </a:xfrm>
                <a:prstGeom prst="line">
                  <a:avLst/>
                </a:prstGeom>
                <a:noFill/>
                <a:ln w="25400" cap="flat" cmpd="sng" algn="ctr">
                  <a:solidFill>
                    <a:srgbClr val="6EBE4A"/>
                  </a:solidFill>
                  <a:prstDash val="solid"/>
                  <a:miter lim="800000"/>
                </a:ln>
                <a:effectLst/>
              </p:spPr>
            </p:cxnSp>
            <p:sp>
              <p:nvSpPr>
                <p:cNvPr id="280" name="Freeform: Shape 725">
                  <a:extLst>
                    <a:ext uri="{FF2B5EF4-FFF2-40B4-BE49-F238E27FC236}">
                      <a16:creationId xmlns:a16="http://schemas.microsoft.com/office/drawing/2014/main" id="{B2888F23-D37D-4247-A00F-B8BF1C6FDFBD}"/>
                    </a:ext>
                  </a:extLst>
                </p:cNvPr>
                <p:cNvSpPr/>
                <p:nvPr/>
              </p:nvSpPr>
              <p:spPr>
                <a:xfrm>
                  <a:off x="6364504" y="651554"/>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81" name="Freeform: Shape 726">
                  <a:extLst>
                    <a:ext uri="{FF2B5EF4-FFF2-40B4-BE49-F238E27FC236}">
                      <a16:creationId xmlns:a16="http://schemas.microsoft.com/office/drawing/2014/main" id="{8A4D4F2E-02C2-3647-94F3-1311B76471F4}"/>
                    </a:ext>
                  </a:extLst>
                </p:cNvPr>
                <p:cNvSpPr/>
                <p:nvPr/>
              </p:nvSpPr>
              <p:spPr>
                <a:xfrm>
                  <a:off x="6349495" y="678498"/>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82" name="Freeform: Shape 727">
                  <a:extLst>
                    <a:ext uri="{FF2B5EF4-FFF2-40B4-BE49-F238E27FC236}">
                      <a16:creationId xmlns:a16="http://schemas.microsoft.com/office/drawing/2014/main" id="{AFC9B6A5-8015-1446-B2BA-6B1E6E38252D}"/>
                    </a:ext>
                  </a:extLst>
                </p:cNvPr>
                <p:cNvSpPr/>
                <p:nvPr/>
              </p:nvSpPr>
              <p:spPr>
                <a:xfrm>
                  <a:off x="6344685" y="705459"/>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83" name="Picture 650" descr="A close up of a mountain&#10;&#10;Description automatically generated">
                  <a:extLst>
                    <a:ext uri="{FF2B5EF4-FFF2-40B4-BE49-F238E27FC236}">
                      <a16:creationId xmlns:a16="http://schemas.microsoft.com/office/drawing/2014/main" id="{6FEE6BD3-A2BB-DA42-8352-EE696090CD0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19647" y="3396261"/>
                  <a:ext cx="2331539" cy="1161707"/>
                </a:xfrm>
                <a:prstGeom prst="rect">
                  <a:avLst/>
                </a:prstGeom>
              </p:spPr>
            </p:pic>
            <p:pic>
              <p:nvPicPr>
                <p:cNvPr id="284" name="Picture 11" descr="A close up of a mountain&#10;&#10;Description automatically generated">
                  <a:extLst>
                    <a:ext uri="{FF2B5EF4-FFF2-40B4-BE49-F238E27FC236}">
                      <a16:creationId xmlns:a16="http://schemas.microsoft.com/office/drawing/2014/main" id="{8A2C4B40-6CC8-7D4E-A0B5-37E766D94F86}"/>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791559" y="3408734"/>
                  <a:ext cx="2081140" cy="1036944"/>
                </a:xfrm>
                <a:prstGeom prst="rect">
                  <a:avLst/>
                </a:prstGeom>
              </p:spPr>
            </p:pic>
            <p:pic>
              <p:nvPicPr>
                <p:cNvPr id="285" name="Picture 651" descr="A close up of a mountain&#10;&#10;Description automatically generated">
                  <a:extLst>
                    <a:ext uri="{FF2B5EF4-FFF2-40B4-BE49-F238E27FC236}">
                      <a16:creationId xmlns:a16="http://schemas.microsoft.com/office/drawing/2014/main" id="{596AE97A-2B2B-F94D-BF72-63A6069BD34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flipH="1">
                  <a:off x="6530862" y="3536367"/>
                  <a:ext cx="2453510" cy="1161707"/>
                </a:xfrm>
                <a:prstGeom prst="rect">
                  <a:avLst/>
                </a:prstGeom>
              </p:spPr>
            </p:pic>
            <p:pic>
              <p:nvPicPr>
                <p:cNvPr id="286" name="Picture 652" descr="A close up of a mountain&#10;&#10;Description automatically generated">
                  <a:extLst>
                    <a:ext uri="{FF2B5EF4-FFF2-40B4-BE49-F238E27FC236}">
                      <a16:creationId xmlns:a16="http://schemas.microsoft.com/office/drawing/2014/main" id="{564C54C3-BEBC-C14E-B199-8B697CEAC3AC}"/>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490681" y="3706945"/>
                  <a:ext cx="2081140" cy="1036944"/>
                </a:xfrm>
                <a:prstGeom prst="rect">
                  <a:avLst/>
                </a:prstGeom>
              </p:spPr>
            </p:pic>
            <p:pic>
              <p:nvPicPr>
                <p:cNvPr id="343" name="Picture 653" descr="A close up of a mountain&#10;&#10;Description automatically generated">
                  <a:extLst>
                    <a:ext uri="{FF2B5EF4-FFF2-40B4-BE49-F238E27FC236}">
                      <a16:creationId xmlns:a16="http://schemas.microsoft.com/office/drawing/2014/main" id="{63208DB1-DF30-7F4F-B1C3-3D5EA320E60A}"/>
                    </a:ext>
                  </a:extLst>
                </p:cNvPr>
                <p:cNvPicPr>
                  <a:picLocks noChangeAspect="1"/>
                </p:cNvPicPr>
                <p:nvPr/>
              </p:nvPicPr>
              <p:blipFill>
                <a:blip r:embed="rId1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029946" y="3399660"/>
                  <a:ext cx="2453510" cy="1161707"/>
                </a:xfrm>
                <a:prstGeom prst="rect">
                  <a:avLst/>
                </a:prstGeom>
              </p:spPr>
            </p:pic>
            <p:pic>
              <p:nvPicPr>
                <p:cNvPr id="344" name="Picture 671" descr="A close up of a mountain&#10;&#10;Description automatically generated">
                  <a:extLst>
                    <a:ext uri="{FF2B5EF4-FFF2-40B4-BE49-F238E27FC236}">
                      <a16:creationId xmlns:a16="http://schemas.microsoft.com/office/drawing/2014/main" id="{1B812B12-427B-F741-A9A1-8D5347DACF52}"/>
                    </a:ext>
                  </a:extLst>
                </p:cNvPr>
                <p:cNvPicPr>
                  <a:picLocks noChangeAspect="1"/>
                </p:cNvPicPr>
                <p:nvPr/>
              </p:nvPicPr>
              <p:blipFill>
                <a:blip r:embed="rId19"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635063" y="3439796"/>
                  <a:ext cx="1521937" cy="758317"/>
                </a:xfrm>
                <a:prstGeom prst="rect">
                  <a:avLst/>
                </a:prstGeom>
              </p:spPr>
            </p:pic>
            <p:sp>
              <p:nvSpPr>
                <p:cNvPr id="345" name="Freeform: Shape 98">
                  <a:extLst>
                    <a:ext uri="{FF2B5EF4-FFF2-40B4-BE49-F238E27FC236}">
                      <a16:creationId xmlns:a16="http://schemas.microsoft.com/office/drawing/2014/main" id="{5599052F-0644-694B-AB27-F7AE6AEA74C1}"/>
                    </a:ext>
                  </a:extLst>
                </p:cNvPr>
                <p:cNvSpPr/>
                <p:nvPr/>
              </p:nvSpPr>
              <p:spPr>
                <a:xfrm>
                  <a:off x="5587711" y="2779505"/>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346" name="Picture 188" descr="A picture containing sitting, black, dark, table&#10;&#10;Description automatically generated">
                  <a:extLst>
                    <a:ext uri="{FF2B5EF4-FFF2-40B4-BE49-F238E27FC236}">
                      <a16:creationId xmlns:a16="http://schemas.microsoft.com/office/drawing/2014/main" id="{0F9357BD-31FB-8E43-8CAA-673CBC384F58}"/>
                    </a:ext>
                  </a:extLst>
                </p:cNvPr>
                <p:cNvPicPr>
                  <a:picLocks noChangeAspect="1"/>
                </p:cNvPicPr>
                <p:nvPr/>
              </p:nvPicPr>
              <p:blipFill rotWithShape="1">
                <a:blip r:embed="rId9"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grpSp>
        </p:grpSp>
        <p:pic>
          <p:nvPicPr>
            <p:cNvPr id="251" name="Graphic 250">
              <a:extLst>
                <a:ext uri="{FF2B5EF4-FFF2-40B4-BE49-F238E27FC236}">
                  <a16:creationId xmlns:a16="http://schemas.microsoft.com/office/drawing/2014/main" id="{336A346B-DC23-4347-8328-D3D34F9573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64541" y="4322359"/>
              <a:ext cx="707780" cy="707780"/>
            </a:xfrm>
            <a:prstGeom prst="rect">
              <a:avLst/>
            </a:prstGeom>
          </p:spPr>
        </p:pic>
        <p:pic>
          <p:nvPicPr>
            <p:cNvPr id="252" name="Graphic 251">
              <a:extLst>
                <a:ext uri="{FF2B5EF4-FFF2-40B4-BE49-F238E27FC236}">
                  <a16:creationId xmlns:a16="http://schemas.microsoft.com/office/drawing/2014/main" id="{FB0089FA-1A62-EA4B-93CA-792BA471983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39635" y="4309903"/>
              <a:ext cx="707780" cy="707780"/>
            </a:xfrm>
            <a:prstGeom prst="rect">
              <a:avLst/>
            </a:prstGeom>
          </p:spPr>
        </p:pic>
      </p:grpSp>
      <p:grpSp>
        <p:nvGrpSpPr>
          <p:cNvPr id="408" name="Group 407">
            <a:extLst>
              <a:ext uri="{FF2B5EF4-FFF2-40B4-BE49-F238E27FC236}">
                <a16:creationId xmlns:a16="http://schemas.microsoft.com/office/drawing/2014/main" id="{21871094-3848-48CB-ACCF-194E218FA931}"/>
              </a:ext>
            </a:extLst>
          </p:cNvPr>
          <p:cNvGrpSpPr>
            <a:grpSpLocks noChangeAspect="1"/>
          </p:cNvGrpSpPr>
          <p:nvPr/>
        </p:nvGrpSpPr>
        <p:grpSpPr>
          <a:xfrm>
            <a:off x="804402" y="2780073"/>
            <a:ext cx="339581" cy="347498"/>
            <a:chOff x="-1285851" y="2012409"/>
            <a:chExt cx="1309278" cy="1339813"/>
          </a:xfrm>
          <a:solidFill>
            <a:schemeClr val="tx2"/>
          </a:solidFill>
        </p:grpSpPr>
        <p:grpSp>
          <p:nvGrpSpPr>
            <p:cNvPr id="409" name="Graphic 75">
              <a:extLst>
                <a:ext uri="{FF2B5EF4-FFF2-40B4-BE49-F238E27FC236}">
                  <a16:creationId xmlns:a16="http://schemas.microsoft.com/office/drawing/2014/main" id="{A665A4E5-92BA-43BD-B3DD-0F4729498622}"/>
                </a:ext>
              </a:extLst>
            </p:cNvPr>
            <p:cNvGrpSpPr/>
            <p:nvPr/>
          </p:nvGrpSpPr>
          <p:grpSpPr>
            <a:xfrm>
              <a:off x="-1285851" y="2012409"/>
              <a:ext cx="1309278" cy="1339813"/>
              <a:chOff x="4820236" y="1931698"/>
              <a:chExt cx="926552" cy="948156"/>
            </a:xfrm>
            <a:grpFill/>
          </p:grpSpPr>
          <p:sp>
            <p:nvSpPr>
              <p:cNvPr id="411" name="Freeform: Shape 589">
                <a:extLst>
                  <a:ext uri="{FF2B5EF4-FFF2-40B4-BE49-F238E27FC236}">
                    <a16:creationId xmlns:a16="http://schemas.microsoft.com/office/drawing/2014/main" id="{55B2FFFE-471C-425D-8267-097139BA9D67}"/>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2" name="Freeform: Shape 590">
                <a:extLst>
                  <a:ext uri="{FF2B5EF4-FFF2-40B4-BE49-F238E27FC236}">
                    <a16:creationId xmlns:a16="http://schemas.microsoft.com/office/drawing/2014/main" id="{CDE60E91-3D56-4BF9-8E32-4659AAB21C8F}"/>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3" name="Freeform: Shape 591">
                <a:extLst>
                  <a:ext uri="{FF2B5EF4-FFF2-40B4-BE49-F238E27FC236}">
                    <a16:creationId xmlns:a16="http://schemas.microsoft.com/office/drawing/2014/main" id="{8D60E0FE-8BAA-46A2-91DC-6692E329C5AC}"/>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4" name="Freeform: Shape 592">
                <a:extLst>
                  <a:ext uri="{FF2B5EF4-FFF2-40B4-BE49-F238E27FC236}">
                    <a16:creationId xmlns:a16="http://schemas.microsoft.com/office/drawing/2014/main" id="{E3CE62A1-E7B4-4C4F-9001-88F9D9551122}"/>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5" name="Freeform: Shape 593">
                <a:extLst>
                  <a:ext uri="{FF2B5EF4-FFF2-40B4-BE49-F238E27FC236}">
                    <a16:creationId xmlns:a16="http://schemas.microsoft.com/office/drawing/2014/main" id="{3DD86994-F278-47B9-BD61-D43ED479C98E}"/>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6" name="Freeform: Shape 594">
                <a:extLst>
                  <a:ext uri="{FF2B5EF4-FFF2-40B4-BE49-F238E27FC236}">
                    <a16:creationId xmlns:a16="http://schemas.microsoft.com/office/drawing/2014/main" id="{DE243452-EA80-4073-853E-41DB06538427}"/>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7" name="Freeform: Shape 595">
                <a:extLst>
                  <a:ext uri="{FF2B5EF4-FFF2-40B4-BE49-F238E27FC236}">
                    <a16:creationId xmlns:a16="http://schemas.microsoft.com/office/drawing/2014/main" id="{B12317EF-658D-401A-B003-E1ED1775A0D7}"/>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8" name="Freeform: Shape 596">
                <a:extLst>
                  <a:ext uri="{FF2B5EF4-FFF2-40B4-BE49-F238E27FC236}">
                    <a16:creationId xmlns:a16="http://schemas.microsoft.com/office/drawing/2014/main" id="{7DA05E94-3DAB-4C4E-A1D7-9292FEA8E99A}"/>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9" name="Freeform: Shape 597">
                <a:extLst>
                  <a:ext uri="{FF2B5EF4-FFF2-40B4-BE49-F238E27FC236}">
                    <a16:creationId xmlns:a16="http://schemas.microsoft.com/office/drawing/2014/main" id="{06264882-0EB3-496E-96AE-2A12A598744C}"/>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0" name="Freeform: Shape 598">
                <a:extLst>
                  <a:ext uri="{FF2B5EF4-FFF2-40B4-BE49-F238E27FC236}">
                    <a16:creationId xmlns:a16="http://schemas.microsoft.com/office/drawing/2014/main" id="{BDADE58E-8683-4A17-8B7F-F543B679CC1B}"/>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1" name="Freeform: Shape 599">
                <a:extLst>
                  <a:ext uri="{FF2B5EF4-FFF2-40B4-BE49-F238E27FC236}">
                    <a16:creationId xmlns:a16="http://schemas.microsoft.com/office/drawing/2014/main" id="{BEA55794-6C7A-49E6-9E5F-B81E9D3B2FB6}"/>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2" name="Freeform: Shape 600">
                <a:extLst>
                  <a:ext uri="{FF2B5EF4-FFF2-40B4-BE49-F238E27FC236}">
                    <a16:creationId xmlns:a16="http://schemas.microsoft.com/office/drawing/2014/main" id="{18ABE648-9274-44C1-B0C8-FDEF85DAE06B}"/>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3" name="Freeform: Shape 601">
                <a:extLst>
                  <a:ext uri="{FF2B5EF4-FFF2-40B4-BE49-F238E27FC236}">
                    <a16:creationId xmlns:a16="http://schemas.microsoft.com/office/drawing/2014/main" id="{6542D535-83C0-462D-95AA-E47B37869B53}"/>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4" name="Freeform: Shape 602">
                <a:extLst>
                  <a:ext uri="{FF2B5EF4-FFF2-40B4-BE49-F238E27FC236}">
                    <a16:creationId xmlns:a16="http://schemas.microsoft.com/office/drawing/2014/main" id="{85D85A1E-39F7-4C2D-BA06-5385401BCEEA}"/>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5" name="Freeform: Shape 603">
                <a:extLst>
                  <a:ext uri="{FF2B5EF4-FFF2-40B4-BE49-F238E27FC236}">
                    <a16:creationId xmlns:a16="http://schemas.microsoft.com/office/drawing/2014/main" id="{B98CA4F2-E7C0-44D5-942A-58A9C7810897}"/>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6" name="Freeform: Shape 604">
                <a:extLst>
                  <a:ext uri="{FF2B5EF4-FFF2-40B4-BE49-F238E27FC236}">
                    <a16:creationId xmlns:a16="http://schemas.microsoft.com/office/drawing/2014/main" id="{521A1EFC-1CDA-40A8-92F8-4F54F8F9BA04}"/>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7" name="Freeform: Shape 605">
                <a:extLst>
                  <a:ext uri="{FF2B5EF4-FFF2-40B4-BE49-F238E27FC236}">
                    <a16:creationId xmlns:a16="http://schemas.microsoft.com/office/drawing/2014/main" id="{7F655A9A-AA1D-4AB0-B69C-EC0A1A267378}"/>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8" name="Freeform: Shape 606">
                <a:extLst>
                  <a:ext uri="{FF2B5EF4-FFF2-40B4-BE49-F238E27FC236}">
                    <a16:creationId xmlns:a16="http://schemas.microsoft.com/office/drawing/2014/main" id="{82F270FD-3886-4D64-8B0B-762B09DA818B}"/>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10" name="Oval 409">
              <a:extLst>
                <a:ext uri="{FF2B5EF4-FFF2-40B4-BE49-F238E27FC236}">
                  <a16:creationId xmlns:a16="http://schemas.microsoft.com/office/drawing/2014/main" id="{54659E9B-3598-4393-A2CF-F486F4E969A2}"/>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29" name="Group 428">
            <a:extLst>
              <a:ext uri="{FF2B5EF4-FFF2-40B4-BE49-F238E27FC236}">
                <a16:creationId xmlns:a16="http://schemas.microsoft.com/office/drawing/2014/main" id="{53B81F5B-4789-407E-B518-A7B30021C18D}"/>
              </a:ext>
            </a:extLst>
          </p:cNvPr>
          <p:cNvGrpSpPr>
            <a:grpSpLocks noChangeAspect="1"/>
          </p:cNvGrpSpPr>
          <p:nvPr/>
        </p:nvGrpSpPr>
        <p:grpSpPr>
          <a:xfrm>
            <a:off x="2533589" y="2780073"/>
            <a:ext cx="339581" cy="347498"/>
            <a:chOff x="-1285851" y="2012409"/>
            <a:chExt cx="1309278" cy="1339813"/>
          </a:xfrm>
          <a:solidFill>
            <a:schemeClr val="tx2"/>
          </a:solidFill>
        </p:grpSpPr>
        <p:grpSp>
          <p:nvGrpSpPr>
            <p:cNvPr id="430" name="Graphic 75">
              <a:extLst>
                <a:ext uri="{FF2B5EF4-FFF2-40B4-BE49-F238E27FC236}">
                  <a16:creationId xmlns:a16="http://schemas.microsoft.com/office/drawing/2014/main" id="{6E5D5BE3-E0BD-48C2-B051-F5A7BDFA0BCE}"/>
                </a:ext>
              </a:extLst>
            </p:cNvPr>
            <p:cNvGrpSpPr/>
            <p:nvPr/>
          </p:nvGrpSpPr>
          <p:grpSpPr>
            <a:xfrm>
              <a:off x="-1285851" y="2012409"/>
              <a:ext cx="1309278" cy="1339813"/>
              <a:chOff x="4820236" y="1931698"/>
              <a:chExt cx="926552" cy="948156"/>
            </a:xfrm>
            <a:grpFill/>
          </p:grpSpPr>
          <p:sp>
            <p:nvSpPr>
              <p:cNvPr id="432" name="Freeform: Shape 589">
                <a:extLst>
                  <a:ext uri="{FF2B5EF4-FFF2-40B4-BE49-F238E27FC236}">
                    <a16:creationId xmlns:a16="http://schemas.microsoft.com/office/drawing/2014/main" id="{799ADCD9-D872-45A3-B1FF-DF3050E6BDF1}"/>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3" name="Freeform: Shape 590">
                <a:extLst>
                  <a:ext uri="{FF2B5EF4-FFF2-40B4-BE49-F238E27FC236}">
                    <a16:creationId xmlns:a16="http://schemas.microsoft.com/office/drawing/2014/main" id="{0D1D6DBA-DCCE-4B0E-845B-E98D77193BB2}"/>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4" name="Freeform: Shape 591">
                <a:extLst>
                  <a:ext uri="{FF2B5EF4-FFF2-40B4-BE49-F238E27FC236}">
                    <a16:creationId xmlns:a16="http://schemas.microsoft.com/office/drawing/2014/main" id="{668B4D85-924E-4B99-987F-D9965F792C27}"/>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5" name="Freeform: Shape 592">
                <a:extLst>
                  <a:ext uri="{FF2B5EF4-FFF2-40B4-BE49-F238E27FC236}">
                    <a16:creationId xmlns:a16="http://schemas.microsoft.com/office/drawing/2014/main" id="{05DBE349-1AEA-4844-B033-0DC3DD89E575}"/>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6" name="Freeform: Shape 593">
                <a:extLst>
                  <a:ext uri="{FF2B5EF4-FFF2-40B4-BE49-F238E27FC236}">
                    <a16:creationId xmlns:a16="http://schemas.microsoft.com/office/drawing/2014/main" id="{3C1B4B29-20CA-42BF-A87D-F40789D65B76}"/>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7" name="Freeform: Shape 594">
                <a:extLst>
                  <a:ext uri="{FF2B5EF4-FFF2-40B4-BE49-F238E27FC236}">
                    <a16:creationId xmlns:a16="http://schemas.microsoft.com/office/drawing/2014/main" id="{76C991C9-E986-4A56-A398-F7142AC9F228}"/>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8" name="Freeform: Shape 595">
                <a:extLst>
                  <a:ext uri="{FF2B5EF4-FFF2-40B4-BE49-F238E27FC236}">
                    <a16:creationId xmlns:a16="http://schemas.microsoft.com/office/drawing/2014/main" id="{7BEACFD3-5E39-4FBB-823F-B23C38AF9AD9}"/>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9" name="Freeform: Shape 596">
                <a:extLst>
                  <a:ext uri="{FF2B5EF4-FFF2-40B4-BE49-F238E27FC236}">
                    <a16:creationId xmlns:a16="http://schemas.microsoft.com/office/drawing/2014/main" id="{12DBC9D2-4403-45D5-8719-7C78EB05ECF1}"/>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0" name="Freeform: Shape 597">
                <a:extLst>
                  <a:ext uri="{FF2B5EF4-FFF2-40B4-BE49-F238E27FC236}">
                    <a16:creationId xmlns:a16="http://schemas.microsoft.com/office/drawing/2014/main" id="{1B722F98-9CE0-4C71-A918-7DEFC80C5C66}"/>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1" name="Freeform: Shape 598">
                <a:extLst>
                  <a:ext uri="{FF2B5EF4-FFF2-40B4-BE49-F238E27FC236}">
                    <a16:creationId xmlns:a16="http://schemas.microsoft.com/office/drawing/2014/main" id="{1AB9B0B2-3D9F-45C6-8D06-6052B0106441}"/>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2" name="Freeform: Shape 599">
                <a:extLst>
                  <a:ext uri="{FF2B5EF4-FFF2-40B4-BE49-F238E27FC236}">
                    <a16:creationId xmlns:a16="http://schemas.microsoft.com/office/drawing/2014/main" id="{775F787E-A839-46C2-9CB5-23774A7D3C55}"/>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3" name="Freeform: Shape 600">
                <a:extLst>
                  <a:ext uri="{FF2B5EF4-FFF2-40B4-BE49-F238E27FC236}">
                    <a16:creationId xmlns:a16="http://schemas.microsoft.com/office/drawing/2014/main" id="{5B56E3E3-2F07-43C6-B683-066CF7F01E5B}"/>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4" name="Freeform: Shape 601">
                <a:extLst>
                  <a:ext uri="{FF2B5EF4-FFF2-40B4-BE49-F238E27FC236}">
                    <a16:creationId xmlns:a16="http://schemas.microsoft.com/office/drawing/2014/main" id="{B62E6737-8A4B-4FEC-8787-7ACF7BDA6218}"/>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5" name="Freeform: Shape 602">
                <a:extLst>
                  <a:ext uri="{FF2B5EF4-FFF2-40B4-BE49-F238E27FC236}">
                    <a16:creationId xmlns:a16="http://schemas.microsoft.com/office/drawing/2014/main" id="{4DA5C32D-3FE2-49D4-A02B-C68AC36ED01F}"/>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6" name="Freeform: Shape 603">
                <a:extLst>
                  <a:ext uri="{FF2B5EF4-FFF2-40B4-BE49-F238E27FC236}">
                    <a16:creationId xmlns:a16="http://schemas.microsoft.com/office/drawing/2014/main" id="{130F5826-D241-4E0A-8DC1-B85143FCFEB7}"/>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7" name="Freeform: Shape 604">
                <a:extLst>
                  <a:ext uri="{FF2B5EF4-FFF2-40B4-BE49-F238E27FC236}">
                    <a16:creationId xmlns:a16="http://schemas.microsoft.com/office/drawing/2014/main" id="{188C523E-620B-4F4F-9080-B8B5D2D3F43F}"/>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8" name="Freeform: Shape 605">
                <a:extLst>
                  <a:ext uri="{FF2B5EF4-FFF2-40B4-BE49-F238E27FC236}">
                    <a16:creationId xmlns:a16="http://schemas.microsoft.com/office/drawing/2014/main" id="{7C2612F8-BED3-437A-B7C9-6C925877F3E3}"/>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9" name="Freeform: Shape 606">
                <a:extLst>
                  <a:ext uri="{FF2B5EF4-FFF2-40B4-BE49-F238E27FC236}">
                    <a16:creationId xmlns:a16="http://schemas.microsoft.com/office/drawing/2014/main" id="{5295A388-82DD-4FDF-819A-48F700FA563F}"/>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31" name="Oval 430">
              <a:extLst>
                <a:ext uri="{FF2B5EF4-FFF2-40B4-BE49-F238E27FC236}">
                  <a16:creationId xmlns:a16="http://schemas.microsoft.com/office/drawing/2014/main" id="{AA98D7AF-70C4-4B0C-8039-4F24725AA45C}"/>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50" name="Group 449">
            <a:extLst>
              <a:ext uri="{FF2B5EF4-FFF2-40B4-BE49-F238E27FC236}">
                <a16:creationId xmlns:a16="http://schemas.microsoft.com/office/drawing/2014/main" id="{F9C65FCD-4922-455B-8143-B918D971B29F}"/>
              </a:ext>
            </a:extLst>
          </p:cNvPr>
          <p:cNvGrpSpPr>
            <a:grpSpLocks noChangeAspect="1"/>
          </p:cNvGrpSpPr>
          <p:nvPr/>
        </p:nvGrpSpPr>
        <p:grpSpPr>
          <a:xfrm>
            <a:off x="4427502" y="2780073"/>
            <a:ext cx="339581" cy="347498"/>
            <a:chOff x="-1285851" y="2012409"/>
            <a:chExt cx="1309278" cy="1339813"/>
          </a:xfrm>
          <a:solidFill>
            <a:schemeClr val="tx2"/>
          </a:solidFill>
        </p:grpSpPr>
        <p:grpSp>
          <p:nvGrpSpPr>
            <p:cNvPr id="451" name="Graphic 75">
              <a:extLst>
                <a:ext uri="{FF2B5EF4-FFF2-40B4-BE49-F238E27FC236}">
                  <a16:creationId xmlns:a16="http://schemas.microsoft.com/office/drawing/2014/main" id="{1E931BCA-4813-4DCE-B15D-BF68CFDDA5E6}"/>
                </a:ext>
              </a:extLst>
            </p:cNvPr>
            <p:cNvGrpSpPr/>
            <p:nvPr/>
          </p:nvGrpSpPr>
          <p:grpSpPr>
            <a:xfrm>
              <a:off x="-1285851" y="2012409"/>
              <a:ext cx="1309278" cy="1339813"/>
              <a:chOff x="4820236" y="1931698"/>
              <a:chExt cx="926552" cy="948156"/>
            </a:xfrm>
            <a:grpFill/>
          </p:grpSpPr>
          <p:sp>
            <p:nvSpPr>
              <p:cNvPr id="453" name="Freeform: Shape 589">
                <a:extLst>
                  <a:ext uri="{FF2B5EF4-FFF2-40B4-BE49-F238E27FC236}">
                    <a16:creationId xmlns:a16="http://schemas.microsoft.com/office/drawing/2014/main" id="{830143BF-DFA9-4A71-8550-41060D84F922}"/>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4" name="Freeform: Shape 590">
                <a:extLst>
                  <a:ext uri="{FF2B5EF4-FFF2-40B4-BE49-F238E27FC236}">
                    <a16:creationId xmlns:a16="http://schemas.microsoft.com/office/drawing/2014/main" id="{40AC0990-7E50-4AAE-830E-37CB1E0E7EE9}"/>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5" name="Freeform: Shape 591">
                <a:extLst>
                  <a:ext uri="{FF2B5EF4-FFF2-40B4-BE49-F238E27FC236}">
                    <a16:creationId xmlns:a16="http://schemas.microsoft.com/office/drawing/2014/main" id="{BC2B04B7-83ED-4AFB-AB56-A5165EE1E471}"/>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6" name="Freeform: Shape 592">
                <a:extLst>
                  <a:ext uri="{FF2B5EF4-FFF2-40B4-BE49-F238E27FC236}">
                    <a16:creationId xmlns:a16="http://schemas.microsoft.com/office/drawing/2014/main" id="{7A16720A-9ED2-4C0C-9AB0-A055B3B88EB0}"/>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7" name="Freeform: Shape 593">
                <a:extLst>
                  <a:ext uri="{FF2B5EF4-FFF2-40B4-BE49-F238E27FC236}">
                    <a16:creationId xmlns:a16="http://schemas.microsoft.com/office/drawing/2014/main" id="{D8927A05-D0C1-4FD0-913C-BE509526599A}"/>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8" name="Freeform: Shape 594">
                <a:extLst>
                  <a:ext uri="{FF2B5EF4-FFF2-40B4-BE49-F238E27FC236}">
                    <a16:creationId xmlns:a16="http://schemas.microsoft.com/office/drawing/2014/main" id="{EE4D089D-99FE-4010-B7C0-9603B1B857E4}"/>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9" name="Freeform: Shape 595">
                <a:extLst>
                  <a:ext uri="{FF2B5EF4-FFF2-40B4-BE49-F238E27FC236}">
                    <a16:creationId xmlns:a16="http://schemas.microsoft.com/office/drawing/2014/main" id="{CC5C4710-80A4-4AE1-9123-62D65EDA359A}"/>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0" name="Freeform: Shape 596">
                <a:extLst>
                  <a:ext uri="{FF2B5EF4-FFF2-40B4-BE49-F238E27FC236}">
                    <a16:creationId xmlns:a16="http://schemas.microsoft.com/office/drawing/2014/main" id="{14917283-B8A4-4090-B5DF-BD8C82153A34}"/>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1" name="Freeform: Shape 597">
                <a:extLst>
                  <a:ext uri="{FF2B5EF4-FFF2-40B4-BE49-F238E27FC236}">
                    <a16:creationId xmlns:a16="http://schemas.microsoft.com/office/drawing/2014/main" id="{7837B924-A541-4829-90EC-84F961742C29}"/>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2" name="Freeform: Shape 598">
                <a:extLst>
                  <a:ext uri="{FF2B5EF4-FFF2-40B4-BE49-F238E27FC236}">
                    <a16:creationId xmlns:a16="http://schemas.microsoft.com/office/drawing/2014/main" id="{2515ADB7-7813-4230-852A-DB7BD1EE2B19}"/>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3" name="Freeform: Shape 599">
                <a:extLst>
                  <a:ext uri="{FF2B5EF4-FFF2-40B4-BE49-F238E27FC236}">
                    <a16:creationId xmlns:a16="http://schemas.microsoft.com/office/drawing/2014/main" id="{2ACC74F9-AB43-4D00-A77C-B64F468CE99C}"/>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4" name="Freeform: Shape 600">
                <a:extLst>
                  <a:ext uri="{FF2B5EF4-FFF2-40B4-BE49-F238E27FC236}">
                    <a16:creationId xmlns:a16="http://schemas.microsoft.com/office/drawing/2014/main" id="{031D6110-A1AA-484F-BA62-7609242B5AE8}"/>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5" name="Freeform: Shape 601">
                <a:extLst>
                  <a:ext uri="{FF2B5EF4-FFF2-40B4-BE49-F238E27FC236}">
                    <a16:creationId xmlns:a16="http://schemas.microsoft.com/office/drawing/2014/main" id="{29343693-2096-4C21-A6D9-C960608E9E45}"/>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6" name="Freeform: Shape 602">
                <a:extLst>
                  <a:ext uri="{FF2B5EF4-FFF2-40B4-BE49-F238E27FC236}">
                    <a16:creationId xmlns:a16="http://schemas.microsoft.com/office/drawing/2014/main" id="{577AAA24-280C-4B3B-ABE9-778CF4386190}"/>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7" name="Freeform: Shape 603">
                <a:extLst>
                  <a:ext uri="{FF2B5EF4-FFF2-40B4-BE49-F238E27FC236}">
                    <a16:creationId xmlns:a16="http://schemas.microsoft.com/office/drawing/2014/main" id="{3ACB2E0A-3E36-4767-83EB-DA295AC1EDF0}"/>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8" name="Freeform: Shape 604">
                <a:extLst>
                  <a:ext uri="{FF2B5EF4-FFF2-40B4-BE49-F238E27FC236}">
                    <a16:creationId xmlns:a16="http://schemas.microsoft.com/office/drawing/2014/main" id="{C3F03502-5CC6-4CB0-8A66-E93FAA03FC76}"/>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9" name="Freeform: Shape 605">
                <a:extLst>
                  <a:ext uri="{FF2B5EF4-FFF2-40B4-BE49-F238E27FC236}">
                    <a16:creationId xmlns:a16="http://schemas.microsoft.com/office/drawing/2014/main" id="{07F7EBFE-E985-4D28-8B39-517A1BD6DE68}"/>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0" name="Freeform: Shape 606">
                <a:extLst>
                  <a:ext uri="{FF2B5EF4-FFF2-40B4-BE49-F238E27FC236}">
                    <a16:creationId xmlns:a16="http://schemas.microsoft.com/office/drawing/2014/main" id="{16D11CC8-D404-4C30-B86B-ED4C911FD7AD}"/>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52" name="Oval 451">
              <a:extLst>
                <a:ext uri="{FF2B5EF4-FFF2-40B4-BE49-F238E27FC236}">
                  <a16:creationId xmlns:a16="http://schemas.microsoft.com/office/drawing/2014/main" id="{7D03135C-ABDB-4011-92B6-06A794E9F704}"/>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71" name="Group 470">
            <a:extLst>
              <a:ext uri="{FF2B5EF4-FFF2-40B4-BE49-F238E27FC236}">
                <a16:creationId xmlns:a16="http://schemas.microsoft.com/office/drawing/2014/main" id="{7D1F1205-35A7-433D-8E5B-841F200C6880}"/>
              </a:ext>
            </a:extLst>
          </p:cNvPr>
          <p:cNvGrpSpPr>
            <a:grpSpLocks noChangeAspect="1"/>
          </p:cNvGrpSpPr>
          <p:nvPr/>
        </p:nvGrpSpPr>
        <p:grpSpPr>
          <a:xfrm>
            <a:off x="6201016" y="2780073"/>
            <a:ext cx="339581" cy="347498"/>
            <a:chOff x="-1285851" y="2012409"/>
            <a:chExt cx="1309278" cy="1339813"/>
          </a:xfrm>
          <a:solidFill>
            <a:schemeClr val="tx2"/>
          </a:solidFill>
        </p:grpSpPr>
        <p:grpSp>
          <p:nvGrpSpPr>
            <p:cNvPr id="472" name="Graphic 75">
              <a:extLst>
                <a:ext uri="{FF2B5EF4-FFF2-40B4-BE49-F238E27FC236}">
                  <a16:creationId xmlns:a16="http://schemas.microsoft.com/office/drawing/2014/main" id="{042C56FD-D576-4FEF-AE74-2981BA98AD99}"/>
                </a:ext>
              </a:extLst>
            </p:cNvPr>
            <p:cNvGrpSpPr/>
            <p:nvPr/>
          </p:nvGrpSpPr>
          <p:grpSpPr>
            <a:xfrm>
              <a:off x="-1285851" y="2012409"/>
              <a:ext cx="1309278" cy="1339813"/>
              <a:chOff x="4820236" y="1931698"/>
              <a:chExt cx="926552" cy="948156"/>
            </a:xfrm>
            <a:grpFill/>
          </p:grpSpPr>
          <p:sp>
            <p:nvSpPr>
              <p:cNvPr id="474" name="Freeform: Shape 589">
                <a:extLst>
                  <a:ext uri="{FF2B5EF4-FFF2-40B4-BE49-F238E27FC236}">
                    <a16:creationId xmlns:a16="http://schemas.microsoft.com/office/drawing/2014/main" id="{FD88646D-41E4-41F5-9ACE-F19F131D4175}"/>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5" name="Freeform: Shape 590">
                <a:extLst>
                  <a:ext uri="{FF2B5EF4-FFF2-40B4-BE49-F238E27FC236}">
                    <a16:creationId xmlns:a16="http://schemas.microsoft.com/office/drawing/2014/main" id="{6D7C4781-3DED-4271-939C-56BAE36F345D}"/>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6" name="Freeform: Shape 591">
                <a:extLst>
                  <a:ext uri="{FF2B5EF4-FFF2-40B4-BE49-F238E27FC236}">
                    <a16:creationId xmlns:a16="http://schemas.microsoft.com/office/drawing/2014/main" id="{891EE92B-DB28-4F6E-AA5D-F6524AF6BA14}"/>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7" name="Freeform: Shape 592">
                <a:extLst>
                  <a:ext uri="{FF2B5EF4-FFF2-40B4-BE49-F238E27FC236}">
                    <a16:creationId xmlns:a16="http://schemas.microsoft.com/office/drawing/2014/main" id="{8618F22E-34E9-4DC6-BADA-F22404F30CD8}"/>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8" name="Freeform: Shape 593">
                <a:extLst>
                  <a:ext uri="{FF2B5EF4-FFF2-40B4-BE49-F238E27FC236}">
                    <a16:creationId xmlns:a16="http://schemas.microsoft.com/office/drawing/2014/main" id="{B9483A0C-1FB2-48C0-B63C-3643FD01AEFA}"/>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9" name="Freeform: Shape 594">
                <a:extLst>
                  <a:ext uri="{FF2B5EF4-FFF2-40B4-BE49-F238E27FC236}">
                    <a16:creationId xmlns:a16="http://schemas.microsoft.com/office/drawing/2014/main" id="{FA9FAEFC-6B13-42E7-A3E5-0B9EDEEDF144}"/>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0" name="Freeform: Shape 595">
                <a:extLst>
                  <a:ext uri="{FF2B5EF4-FFF2-40B4-BE49-F238E27FC236}">
                    <a16:creationId xmlns:a16="http://schemas.microsoft.com/office/drawing/2014/main" id="{ED14D35F-A038-4799-B9AA-27310BA69DAA}"/>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1" name="Freeform: Shape 596">
                <a:extLst>
                  <a:ext uri="{FF2B5EF4-FFF2-40B4-BE49-F238E27FC236}">
                    <a16:creationId xmlns:a16="http://schemas.microsoft.com/office/drawing/2014/main" id="{BBD9CBA7-61E8-4DF7-8124-EFD2FEBE41E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2" name="Freeform: Shape 597">
                <a:extLst>
                  <a:ext uri="{FF2B5EF4-FFF2-40B4-BE49-F238E27FC236}">
                    <a16:creationId xmlns:a16="http://schemas.microsoft.com/office/drawing/2014/main" id="{E98BD493-64E6-4504-A398-E50DDCB0086B}"/>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3" name="Freeform: Shape 598">
                <a:extLst>
                  <a:ext uri="{FF2B5EF4-FFF2-40B4-BE49-F238E27FC236}">
                    <a16:creationId xmlns:a16="http://schemas.microsoft.com/office/drawing/2014/main" id="{40C05743-72A4-4BF1-9189-5F9CA26C1B56}"/>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4" name="Freeform: Shape 599">
                <a:extLst>
                  <a:ext uri="{FF2B5EF4-FFF2-40B4-BE49-F238E27FC236}">
                    <a16:creationId xmlns:a16="http://schemas.microsoft.com/office/drawing/2014/main" id="{86451E42-FA70-48E8-B551-1DF5369B950B}"/>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5" name="Freeform: Shape 600">
                <a:extLst>
                  <a:ext uri="{FF2B5EF4-FFF2-40B4-BE49-F238E27FC236}">
                    <a16:creationId xmlns:a16="http://schemas.microsoft.com/office/drawing/2014/main" id="{A0540E7D-0A23-4855-9AC9-B2822286BFD2}"/>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6" name="Freeform: Shape 601">
                <a:extLst>
                  <a:ext uri="{FF2B5EF4-FFF2-40B4-BE49-F238E27FC236}">
                    <a16:creationId xmlns:a16="http://schemas.microsoft.com/office/drawing/2014/main" id="{50257C84-D04F-44E2-8D79-3B4E3EA3EBCE}"/>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7" name="Freeform: Shape 602">
                <a:extLst>
                  <a:ext uri="{FF2B5EF4-FFF2-40B4-BE49-F238E27FC236}">
                    <a16:creationId xmlns:a16="http://schemas.microsoft.com/office/drawing/2014/main" id="{87D72080-1FF1-4E48-A1B0-42136CC64275}"/>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8" name="Freeform: Shape 603">
                <a:extLst>
                  <a:ext uri="{FF2B5EF4-FFF2-40B4-BE49-F238E27FC236}">
                    <a16:creationId xmlns:a16="http://schemas.microsoft.com/office/drawing/2014/main" id="{91946D6D-28A5-423D-B9C7-1CE8262131F1}"/>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9" name="Freeform: Shape 604">
                <a:extLst>
                  <a:ext uri="{FF2B5EF4-FFF2-40B4-BE49-F238E27FC236}">
                    <a16:creationId xmlns:a16="http://schemas.microsoft.com/office/drawing/2014/main" id="{99E139A4-D104-4A8B-B9A5-887E96B648CD}"/>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0" name="Freeform: Shape 605">
                <a:extLst>
                  <a:ext uri="{FF2B5EF4-FFF2-40B4-BE49-F238E27FC236}">
                    <a16:creationId xmlns:a16="http://schemas.microsoft.com/office/drawing/2014/main" id="{52005D26-550E-4609-81C1-9E6EA2074238}"/>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1" name="Freeform: Shape 606">
                <a:extLst>
                  <a:ext uri="{FF2B5EF4-FFF2-40B4-BE49-F238E27FC236}">
                    <a16:creationId xmlns:a16="http://schemas.microsoft.com/office/drawing/2014/main" id="{6F54E114-D134-46F2-A9DA-00953C2352A2}"/>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73" name="Oval 472">
              <a:extLst>
                <a:ext uri="{FF2B5EF4-FFF2-40B4-BE49-F238E27FC236}">
                  <a16:creationId xmlns:a16="http://schemas.microsoft.com/office/drawing/2014/main" id="{493F8E0E-27D5-4C81-89CC-628548399498}"/>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92" name="Group 491">
            <a:extLst>
              <a:ext uri="{FF2B5EF4-FFF2-40B4-BE49-F238E27FC236}">
                <a16:creationId xmlns:a16="http://schemas.microsoft.com/office/drawing/2014/main" id="{9B5FEEA1-593F-41DE-ABFD-A3E71CABE2E9}"/>
              </a:ext>
            </a:extLst>
          </p:cNvPr>
          <p:cNvGrpSpPr>
            <a:grpSpLocks noChangeAspect="1"/>
          </p:cNvGrpSpPr>
          <p:nvPr/>
        </p:nvGrpSpPr>
        <p:grpSpPr>
          <a:xfrm>
            <a:off x="7987624" y="2780073"/>
            <a:ext cx="339581" cy="347498"/>
            <a:chOff x="-1285851" y="2012409"/>
            <a:chExt cx="1309278" cy="1339813"/>
          </a:xfrm>
          <a:solidFill>
            <a:schemeClr val="tx2"/>
          </a:solidFill>
        </p:grpSpPr>
        <p:grpSp>
          <p:nvGrpSpPr>
            <p:cNvPr id="493" name="Graphic 75">
              <a:extLst>
                <a:ext uri="{FF2B5EF4-FFF2-40B4-BE49-F238E27FC236}">
                  <a16:creationId xmlns:a16="http://schemas.microsoft.com/office/drawing/2014/main" id="{DC94BDBB-B46C-44D5-B739-456C548A3CD0}"/>
                </a:ext>
              </a:extLst>
            </p:cNvPr>
            <p:cNvGrpSpPr/>
            <p:nvPr/>
          </p:nvGrpSpPr>
          <p:grpSpPr>
            <a:xfrm>
              <a:off x="-1285851" y="2012409"/>
              <a:ext cx="1309278" cy="1339813"/>
              <a:chOff x="4820236" y="1931698"/>
              <a:chExt cx="926552" cy="948156"/>
            </a:xfrm>
            <a:grpFill/>
          </p:grpSpPr>
          <p:sp>
            <p:nvSpPr>
              <p:cNvPr id="495" name="Freeform: Shape 589">
                <a:extLst>
                  <a:ext uri="{FF2B5EF4-FFF2-40B4-BE49-F238E27FC236}">
                    <a16:creationId xmlns:a16="http://schemas.microsoft.com/office/drawing/2014/main" id="{BB9C9FD7-29D1-4F6F-A2A7-6C48BC818AAF}"/>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6" name="Freeform: Shape 590">
                <a:extLst>
                  <a:ext uri="{FF2B5EF4-FFF2-40B4-BE49-F238E27FC236}">
                    <a16:creationId xmlns:a16="http://schemas.microsoft.com/office/drawing/2014/main" id="{F919B4ED-8149-4416-8692-05863797DE76}"/>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7" name="Freeform: Shape 591">
                <a:extLst>
                  <a:ext uri="{FF2B5EF4-FFF2-40B4-BE49-F238E27FC236}">
                    <a16:creationId xmlns:a16="http://schemas.microsoft.com/office/drawing/2014/main" id="{55BDBE8C-7997-46AA-9D06-8DBABBFC570E}"/>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0" name="Freeform: Shape 592">
                <a:extLst>
                  <a:ext uri="{FF2B5EF4-FFF2-40B4-BE49-F238E27FC236}">
                    <a16:creationId xmlns:a16="http://schemas.microsoft.com/office/drawing/2014/main" id="{38ADE7EB-E8BA-4E69-B8D3-3D9C02E7E58D}"/>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4" name="Freeform: Shape 593">
                <a:extLst>
                  <a:ext uri="{FF2B5EF4-FFF2-40B4-BE49-F238E27FC236}">
                    <a16:creationId xmlns:a16="http://schemas.microsoft.com/office/drawing/2014/main" id="{D963B206-4DE8-4A5F-9F8B-F5F2D3803EA1}"/>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6" name="Freeform: Shape 594">
                <a:extLst>
                  <a:ext uri="{FF2B5EF4-FFF2-40B4-BE49-F238E27FC236}">
                    <a16:creationId xmlns:a16="http://schemas.microsoft.com/office/drawing/2014/main" id="{B8775CCB-0E6A-4CB5-AA1B-FA7A82B1D9B9}"/>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7" name="Freeform: Shape 595">
                <a:extLst>
                  <a:ext uri="{FF2B5EF4-FFF2-40B4-BE49-F238E27FC236}">
                    <a16:creationId xmlns:a16="http://schemas.microsoft.com/office/drawing/2014/main" id="{049E38F3-7CF8-41BD-A2C6-6849FFD29E58}"/>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8" name="Freeform: Shape 596">
                <a:extLst>
                  <a:ext uri="{FF2B5EF4-FFF2-40B4-BE49-F238E27FC236}">
                    <a16:creationId xmlns:a16="http://schemas.microsoft.com/office/drawing/2014/main" id="{AF08041E-D756-4E10-AD47-8D3DB3B7FD5E}"/>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9" name="Freeform: Shape 597">
                <a:extLst>
                  <a:ext uri="{FF2B5EF4-FFF2-40B4-BE49-F238E27FC236}">
                    <a16:creationId xmlns:a16="http://schemas.microsoft.com/office/drawing/2014/main" id="{81E66ED8-1EF7-497D-B193-22468E676A9C}"/>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0" name="Freeform: Shape 598">
                <a:extLst>
                  <a:ext uri="{FF2B5EF4-FFF2-40B4-BE49-F238E27FC236}">
                    <a16:creationId xmlns:a16="http://schemas.microsoft.com/office/drawing/2014/main" id="{1098BCB6-31DB-4C1A-A45C-C4CA0856DDEC}"/>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1" name="Freeform: Shape 599">
                <a:extLst>
                  <a:ext uri="{FF2B5EF4-FFF2-40B4-BE49-F238E27FC236}">
                    <a16:creationId xmlns:a16="http://schemas.microsoft.com/office/drawing/2014/main" id="{DD8FB944-9D32-4808-9C4C-43E71DB17505}"/>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2" name="Freeform: Shape 600">
                <a:extLst>
                  <a:ext uri="{FF2B5EF4-FFF2-40B4-BE49-F238E27FC236}">
                    <a16:creationId xmlns:a16="http://schemas.microsoft.com/office/drawing/2014/main" id="{41531617-7211-4E08-B40D-56CC5D60A9BC}"/>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3" name="Freeform: Shape 601">
                <a:extLst>
                  <a:ext uri="{FF2B5EF4-FFF2-40B4-BE49-F238E27FC236}">
                    <a16:creationId xmlns:a16="http://schemas.microsoft.com/office/drawing/2014/main" id="{5EB27EF1-B475-4465-AD0F-4AAE5D73A9B9}"/>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4" name="Freeform: Shape 602">
                <a:extLst>
                  <a:ext uri="{FF2B5EF4-FFF2-40B4-BE49-F238E27FC236}">
                    <a16:creationId xmlns:a16="http://schemas.microsoft.com/office/drawing/2014/main" id="{5D51BEDF-98FC-4487-84DC-CDEDFC98CFB2}"/>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5" name="Freeform: Shape 603">
                <a:extLst>
                  <a:ext uri="{FF2B5EF4-FFF2-40B4-BE49-F238E27FC236}">
                    <a16:creationId xmlns:a16="http://schemas.microsoft.com/office/drawing/2014/main" id="{CBB66AE2-824B-4C74-B16E-BFE7FA3F4CED}"/>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6" name="Freeform: Shape 604">
                <a:extLst>
                  <a:ext uri="{FF2B5EF4-FFF2-40B4-BE49-F238E27FC236}">
                    <a16:creationId xmlns:a16="http://schemas.microsoft.com/office/drawing/2014/main" id="{7058B8DF-ECCB-4F7C-B10C-DE192399913F}"/>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7" name="Freeform: Shape 605">
                <a:extLst>
                  <a:ext uri="{FF2B5EF4-FFF2-40B4-BE49-F238E27FC236}">
                    <a16:creationId xmlns:a16="http://schemas.microsoft.com/office/drawing/2014/main" id="{FD64CC8F-A492-49F1-B31F-8E45BFA7F41A}"/>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18" name="Freeform: Shape 606">
                <a:extLst>
                  <a:ext uri="{FF2B5EF4-FFF2-40B4-BE49-F238E27FC236}">
                    <a16:creationId xmlns:a16="http://schemas.microsoft.com/office/drawing/2014/main" id="{BA43A7B8-29FF-4876-BE92-FA947F0E7929}"/>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94" name="Oval 493">
              <a:extLst>
                <a:ext uri="{FF2B5EF4-FFF2-40B4-BE49-F238E27FC236}">
                  <a16:creationId xmlns:a16="http://schemas.microsoft.com/office/drawing/2014/main" id="{C34A0660-FC25-40C3-A924-54BDAE07861C}"/>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sp>
        <p:nvSpPr>
          <p:cNvPr id="527" name="Rectangle 526">
            <a:extLst>
              <a:ext uri="{FF2B5EF4-FFF2-40B4-BE49-F238E27FC236}">
                <a16:creationId xmlns:a16="http://schemas.microsoft.com/office/drawing/2014/main" id="{B0FDD867-392B-DC49-952E-0DE0D4A94F20}"/>
              </a:ext>
            </a:extLst>
          </p:cNvPr>
          <p:cNvSpPr/>
          <p:nvPr/>
        </p:nvSpPr>
        <p:spPr>
          <a:xfrm>
            <a:off x="321528" y="3710977"/>
            <a:ext cx="1315435" cy="553998"/>
          </a:xfrm>
          <a:prstGeom prst="rect">
            <a:avLst/>
          </a:prstGeom>
        </p:spPr>
        <p:txBody>
          <a:bodyPr wrap="square" lIns="0" tIns="0" rIns="0" bIns="0">
            <a:spAutoFit/>
          </a:bodyPr>
          <a:lstStyle/>
          <a:p>
            <a:pPr algn="ctr" defTabSz="457189" fontAlgn="base">
              <a:spcBef>
                <a:spcPct val="0"/>
              </a:spcBef>
              <a:spcAft>
                <a:spcPct val="0"/>
              </a:spcAft>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integrations </a:t>
            </a:r>
            <a:br>
              <a:rPr lang="en-US" sz="1500" dirty="0">
                <a:solidFill>
                  <a:srgbClr val="0D274D"/>
                </a:solidFill>
                <a:latin typeface="CiscoSansTT" panose="020B0503020201020303" pitchFamily="34" charset="0"/>
                <a:ea typeface="ＭＳ Ｐゴシック" charset="0"/>
                <a:cs typeface="CiscoSansTT" panose="020B0503020201020303" pitchFamily="34" charset="0"/>
              </a:rPr>
            </a:br>
            <a:r>
              <a:rPr lang="en-US" sz="1050" dirty="0">
                <a:solidFill>
                  <a:srgbClr val="0D274D"/>
                </a:solidFill>
                <a:latin typeface="CiscoSansTT ExtraLight"/>
                <a:ea typeface="ＭＳ Ｐゴシック" charset="0"/>
              </a:rPr>
              <a:t>built-in, pre-built </a:t>
            </a:r>
            <a:br>
              <a:rPr lang="en-US" sz="1050" dirty="0">
                <a:solidFill>
                  <a:srgbClr val="0D274D"/>
                </a:solidFill>
                <a:latin typeface="CiscoSansTT ExtraLight"/>
                <a:ea typeface="ＭＳ Ｐゴシック" charset="0"/>
              </a:rPr>
            </a:br>
            <a:r>
              <a:rPr lang="en-US" sz="1050" dirty="0">
                <a:solidFill>
                  <a:srgbClr val="0D274D"/>
                </a:solidFill>
                <a:latin typeface="CiscoSansTT ExtraLight"/>
                <a:ea typeface="ＭＳ Ｐゴシック" charset="0"/>
              </a:rPr>
              <a:t>or custom</a:t>
            </a:r>
          </a:p>
        </p:txBody>
      </p:sp>
      <p:sp>
        <p:nvSpPr>
          <p:cNvPr id="552" name="Rectangle 551">
            <a:extLst>
              <a:ext uri="{FF2B5EF4-FFF2-40B4-BE49-F238E27FC236}">
                <a16:creationId xmlns:a16="http://schemas.microsoft.com/office/drawing/2014/main" id="{8BE14DC6-7C28-4247-9F97-53D377817B35}"/>
              </a:ext>
            </a:extLst>
          </p:cNvPr>
          <p:cNvSpPr/>
          <p:nvPr/>
        </p:nvSpPr>
        <p:spPr>
          <a:xfrm>
            <a:off x="1935577" y="3710977"/>
            <a:ext cx="1530154" cy="553998"/>
          </a:xfrm>
          <a:prstGeom prst="rect">
            <a:avLst/>
          </a:prstGeom>
        </p:spPr>
        <p:txBody>
          <a:bodyPr wrap="square" lIns="0" tIns="0" rIns="0" bIns="0">
            <a:spAutoFit/>
          </a:bodyPr>
          <a:lstStyle/>
          <a:p>
            <a:pPr algn="ctr" defTabSz="457189" fontAlgn="base">
              <a:spcBef>
                <a:spcPct val="0"/>
              </a:spcBef>
              <a:spcAft>
                <a:spcPct val="0"/>
              </a:spcAft>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ribbon &amp; sign-on</a:t>
            </a:r>
          </a:p>
          <a:p>
            <a:pPr algn="ctr" defTabSz="457189" fontAlgn="base">
              <a:spcBef>
                <a:spcPct val="0"/>
              </a:spcBef>
              <a:spcAft>
                <a:spcPct val="0"/>
              </a:spcAft>
            </a:pPr>
            <a:r>
              <a:rPr lang="en-US" sz="1050" dirty="0">
                <a:solidFill>
                  <a:srgbClr val="0D274D"/>
                </a:solidFill>
                <a:latin typeface="CiscoSansTT ExtraLight"/>
                <a:ea typeface="ＭＳ Ｐゴシック" charset="0"/>
              </a:rPr>
              <a:t>never leaves you </a:t>
            </a:r>
          </a:p>
          <a:p>
            <a:pPr algn="ctr" defTabSz="457189" fontAlgn="base">
              <a:spcBef>
                <a:spcPct val="0"/>
              </a:spcBef>
              <a:spcAft>
                <a:spcPct val="0"/>
              </a:spcAft>
            </a:pPr>
            <a:r>
              <a:rPr lang="en-US" sz="1050" dirty="0">
                <a:solidFill>
                  <a:srgbClr val="0D274D"/>
                </a:solidFill>
                <a:latin typeface="CiscoSansTT ExtraLight"/>
                <a:ea typeface="ＭＳ Ｐゴシック" charset="0"/>
              </a:rPr>
              <a:t>maintains context</a:t>
            </a:r>
          </a:p>
        </p:txBody>
      </p:sp>
      <p:sp>
        <p:nvSpPr>
          <p:cNvPr id="577" name="Rectangle 576">
            <a:extLst>
              <a:ext uri="{FF2B5EF4-FFF2-40B4-BE49-F238E27FC236}">
                <a16:creationId xmlns:a16="http://schemas.microsoft.com/office/drawing/2014/main" id="{D93F9BE2-D907-1F45-84D9-F7FDC3876AB9}"/>
              </a:ext>
            </a:extLst>
          </p:cNvPr>
          <p:cNvSpPr/>
          <p:nvPr/>
        </p:nvSpPr>
        <p:spPr>
          <a:xfrm>
            <a:off x="3912350" y="3710977"/>
            <a:ext cx="1374970" cy="553998"/>
          </a:xfrm>
          <a:prstGeom prst="rect">
            <a:avLst/>
          </a:prstGeom>
        </p:spPr>
        <p:txBody>
          <a:bodyPr wrap="square" lIns="0" tIns="0" rIns="0" bIns="0">
            <a:spAutoFit/>
          </a:bodyPr>
          <a:lstStyle/>
          <a:p>
            <a:pPr algn="ctr" defTabSz="457189" fontAlgn="base">
              <a:spcBef>
                <a:spcPct val="0"/>
              </a:spcBef>
              <a:spcAft>
                <a:spcPct val="0"/>
              </a:spcAft>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dashboard </a:t>
            </a:r>
            <a:br>
              <a:rPr lang="en-US" sz="1500" dirty="0">
                <a:solidFill>
                  <a:srgbClr val="0D274D"/>
                </a:solidFill>
                <a:latin typeface="CiscoSansTT" panose="020B0503020201020303" pitchFamily="34" charset="0"/>
                <a:ea typeface="ＭＳ Ｐゴシック" charset="0"/>
                <a:cs typeface="CiscoSansTT" panose="020B0503020201020303" pitchFamily="34" charset="0"/>
              </a:rPr>
            </a:br>
            <a:r>
              <a:rPr lang="en-US" sz="1050" dirty="0">
                <a:solidFill>
                  <a:srgbClr val="0D274D"/>
                </a:solidFill>
                <a:latin typeface="CiscoSansTT ExtraLight"/>
                <a:ea typeface="ＭＳ Ｐゴシック" charset="0"/>
              </a:rPr>
              <a:t>customizable for what matters to you</a:t>
            </a:r>
          </a:p>
        </p:txBody>
      </p:sp>
      <p:sp>
        <p:nvSpPr>
          <p:cNvPr id="602" name="Rectangle 601">
            <a:extLst>
              <a:ext uri="{FF2B5EF4-FFF2-40B4-BE49-F238E27FC236}">
                <a16:creationId xmlns:a16="http://schemas.microsoft.com/office/drawing/2014/main" id="{DDA05D84-4A63-0748-BBD6-4ADC46F324C7}"/>
              </a:ext>
            </a:extLst>
          </p:cNvPr>
          <p:cNvSpPr/>
          <p:nvPr/>
        </p:nvSpPr>
        <p:spPr>
          <a:xfrm>
            <a:off x="5495335" y="3710977"/>
            <a:ext cx="1743619" cy="553998"/>
          </a:xfrm>
          <a:prstGeom prst="rect">
            <a:avLst/>
          </a:prstGeom>
        </p:spPr>
        <p:txBody>
          <a:bodyPr wrap="square" lIns="0" tIns="0" rIns="0" bIns="0">
            <a:spAutoFit/>
          </a:bodyPr>
          <a:lstStyle/>
          <a:p>
            <a:pPr algn="ctr" defTabSz="457189" fontAlgn="base">
              <a:spcBef>
                <a:spcPct val="0"/>
              </a:spcBef>
              <a:spcAft>
                <a:spcPct val="0"/>
              </a:spcAft>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threat response </a:t>
            </a:r>
          </a:p>
          <a:p>
            <a:pPr algn="ctr" defTabSz="457189" fontAlgn="base">
              <a:spcBef>
                <a:spcPct val="0"/>
              </a:spcBef>
              <a:spcAft>
                <a:spcPct val="0"/>
              </a:spcAft>
            </a:pPr>
            <a:r>
              <a:rPr lang="en-US" sz="1050" dirty="0">
                <a:solidFill>
                  <a:srgbClr val="0D274D"/>
                </a:solidFill>
                <a:latin typeface="CiscoSansTT ExtraLight"/>
                <a:ea typeface="ＭＳ Ｐゴシック" charset="0"/>
              </a:rPr>
              <a:t>is at the core </a:t>
            </a:r>
            <a:br>
              <a:rPr lang="en-US" sz="1050" dirty="0">
                <a:solidFill>
                  <a:srgbClr val="0D274D"/>
                </a:solidFill>
                <a:latin typeface="CiscoSansTT ExtraLight"/>
                <a:ea typeface="ＭＳ Ｐゴシック" charset="0"/>
              </a:rPr>
            </a:br>
            <a:r>
              <a:rPr lang="en-US" sz="1050" dirty="0">
                <a:solidFill>
                  <a:srgbClr val="0D274D"/>
                </a:solidFill>
                <a:latin typeface="CiscoSansTT ExtraLight"/>
                <a:ea typeface="ＭＳ Ｐゴシック" charset="0"/>
              </a:rPr>
              <a:t>of the platform</a:t>
            </a:r>
          </a:p>
        </p:txBody>
      </p:sp>
      <p:sp>
        <p:nvSpPr>
          <p:cNvPr id="627" name="Rectangle 626">
            <a:extLst>
              <a:ext uri="{FF2B5EF4-FFF2-40B4-BE49-F238E27FC236}">
                <a16:creationId xmlns:a16="http://schemas.microsoft.com/office/drawing/2014/main" id="{1D526913-954A-E64F-A2BF-13E2A355BEF6}"/>
              </a:ext>
            </a:extLst>
          </p:cNvPr>
          <p:cNvSpPr/>
          <p:nvPr/>
        </p:nvSpPr>
        <p:spPr>
          <a:xfrm>
            <a:off x="7343478" y="3710977"/>
            <a:ext cx="1631162" cy="553998"/>
          </a:xfrm>
          <a:prstGeom prst="rect">
            <a:avLst/>
          </a:prstGeom>
        </p:spPr>
        <p:txBody>
          <a:bodyPr wrap="square" lIns="0" tIns="0" rIns="0" bIns="0">
            <a:spAutoFit/>
          </a:bodyPr>
          <a:lstStyle/>
          <a:p>
            <a:pPr algn="ctr" defTabSz="457189" fontAlgn="base">
              <a:spcBef>
                <a:spcPct val="0"/>
              </a:spcBef>
              <a:spcAft>
                <a:spcPct val="0"/>
              </a:spcAft>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orchestration </a:t>
            </a:r>
            <a:br>
              <a:rPr lang="en-US" sz="1500" dirty="0">
                <a:solidFill>
                  <a:srgbClr val="0D274D"/>
                </a:solidFill>
                <a:latin typeface="CiscoSansTT" panose="020B0503020201020303" pitchFamily="34" charset="0"/>
                <a:ea typeface="ＭＳ Ｐゴシック" charset="0"/>
                <a:cs typeface="CiscoSansTT" panose="020B0503020201020303" pitchFamily="34" charset="0"/>
              </a:rPr>
            </a:br>
            <a:r>
              <a:rPr lang="en-US" sz="1050" dirty="0">
                <a:solidFill>
                  <a:srgbClr val="0D274D"/>
                </a:solidFill>
                <a:latin typeface="CiscoSansTT ExtraLight"/>
                <a:ea typeface="ＭＳ Ｐゴシック" charset="0"/>
              </a:rPr>
              <a:t>drag-drop GUI </a:t>
            </a:r>
          </a:p>
          <a:p>
            <a:pPr algn="ctr" defTabSz="457189" fontAlgn="base">
              <a:spcBef>
                <a:spcPct val="0"/>
              </a:spcBef>
              <a:spcAft>
                <a:spcPct val="0"/>
              </a:spcAft>
            </a:pPr>
            <a:r>
              <a:rPr lang="en-US" sz="1050" dirty="0">
                <a:solidFill>
                  <a:srgbClr val="0D274D"/>
                </a:solidFill>
                <a:latin typeface="CiscoSansTT ExtraLight"/>
                <a:ea typeface="ＭＳ Ｐゴシック" charset="0"/>
              </a:rPr>
              <a:t>for no/low code</a:t>
            </a:r>
          </a:p>
        </p:txBody>
      </p:sp>
      <p:cxnSp>
        <p:nvCxnSpPr>
          <p:cNvPr id="407" name="Straight Connector 406">
            <a:extLst>
              <a:ext uri="{FF2B5EF4-FFF2-40B4-BE49-F238E27FC236}">
                <a16:creationId xmlns:a16="http://schemas.microsoft.com/office/drawing/2014/main" id="{4FDE2411-7369-408A-9ABA-5EC4CB333A61}"/>
              </a:ext>
            </a:extLst>
          </p:cNvPr>
          <p:cNvCxnSpPr>
            <a:cxnSpLocks/>
          </p:cNvCxnSpPr>
          <p:nvPr/>
        </p:nvCxnSpPr>
        <p:spPr>
          <a:xfrm flipV="1">
            <a:off x="0" y="2953822"/>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3F41051-3316-4086-B68D-86311B9A23FD}"/>
              </a:ext>
            </a:extLst>
          </p:cNvPr>
          <p:cNvGrpSpPr/>
          <p:nvPr/>
        </p:nvGrpSpPr>
        <p:grpSpPr>
          <a:xfrm>
            <a:off x="943527" y="3258824"/>
            <a:ext cx="7251251" cy="391193"/>
            <a:chOff x="943527" y="3319784"/>
            <a:chExt cx="7251251" cy="391193"/>
          </a:xfrm>
        </p:grpSpPr>
        <p:pic>
          <p:nvPicPr>
            <p:cNvPr id="578" name="Picture 577" descr="A picture containing flower&#10;&#10;Description generated with very high confidence">
              <a:extLst>
                <a:ext uri="{FF2B5EF4-FFF2-40B4-BE49-F238E27FC236}">
                  <a16:creationId xmlns:a16="http://schemas.microsoft.com/office/drawing/2014/main" id="{82C2C5B6-50A4-A444-A794-0AC9ACC676F7}"/>
                </a:ext>
              </a:extLst>
            </p:cNvPr>
            <p:cNvPicPr>
              <a:picLocks noChangeAspect="1"/>
            </p:cNvPicPr>
            <p:nvPr/>
          </p:nvPicPr>
          <p:blipFill rotWithShape="1">
            <a:blip r:embed="rId22" cstate="screen">
              <a:extLst>
                <a:ext uri="{28A0092B-C50C-407E-A947-70E740481C1C}">
                  <a14:useLocalDpi xmlns:a14="http://schemas.microsoft.com/office/drawing/2010/main"/>
                </a:ext>
              </a:extLst>
            </a:blip>
            <a:srcRect l="37119" t="35566" r="13643" b="20885"/>
            <a:stretch/>
          </p:blipFill>
          <p:spPr>
            <a:xfrm>
              <a:off x="4098706" y="3319784"/>
              <a:ext cx="999074" cy="197252"/>
            </a:xfrm>
            <a:prstGeom prst="rect">
              <a:avLst/>
            </a:prstGeom>
          </p:spPr>
        </p:pic>
        <p:cxnSp>
          <p:nvCxnSpPr>
            <p:cNvPr id="4" name="Straight Connector 3">
              <a:extLst>
                <a:ext uri="{FF2B5EF4-FFF2-40B4-BE49-F238E27FC236}">
                  <a16:creationId xmlns:a16="http://schemas.microsoft.com/office/drawing/2014/main" id="{10E5B194-B26C-466F-B013-5FE6C7B80606}"/>
                </a:ext>
              </a:extLst>
            </p:cNvPr>
            <p:cNvCxnSpPr>
              <a:cxnSpLocks/>
            </p:cNvCxnSpPr>
            <p:nvPr/>
          </p:nvCxnSpPr>
          <p:spPr>
            <a:xfrm>
              <a:off x="985284" y="3675258"/>
              <a:ext cx="717066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09DCB5D4-2A2F-4D42-9CC2-EE26EA08A94F}"/>
                </a:ext>
              </a:extLst>
            </p:cNvPr>
            <p:cNvSpPr/>
            <p:nvPr/>
          </p:nvSpPr>
          <p:spPr>
            <a:xfrm>
              <a:off x="4564117" y="3639540"/>
              <a:ext cx="71437" cy="7143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9" name="Oval 518">
              <a:extLst>
                <a:ext uri="{FF2B5EF4-FFF2-40B4-BE49-F238E27FC236}">
                  <a16:creationId xmlns:a16="http://schemas.microsoft.com/office/drawing/2014/main" id="{EACA0B50-7EA1-4792-A80A-18B43D9B5C2F}"/>
                </a:ext>
              </a:extLst>
            </p:cNvPr>
            <p:cNvSpPr/>
            <p:nvPr/>
          </p:nvSpPr>
          <p:spPr>
            <a:xfrm>
              <a:off x="6331426" y="3639540"/>
              <a:ext cx="71437" cy="7143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0" name="Oval 519">
              <a:extLst>
                <a:ext uri="{FF2B5EF4-FFF2-40B4-BE49-F238E27FC236}">
                  <a16:creationId xmlns:a16="http://schemas.microsoft.com/office/drawing/2014/main" id="{7CB7ACF3-CBBD-4453-AD96-8086C1479C7C}"/>
                </a:ext>
              </a:extLst>
            </p:cNvPr>
            <p:cNvSpPr/>
            <p:nvPr/>
          </p:nvSpPr>
          <p:spPr>
            <a:xfrm>
              <a:off x="8123341" y="3639540"/>
              <a:ext cx="71437" cy="7143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1" name="Oval 520">
              <a:extLst>
                <a:ext uri="{FF2B5EF4-FFF2-40B4-BE49-F238E27FC236}">
                  <a16:creationId xmlns:a16="http://schemas.microsoft.com/office/drawing/2014/main" id="{E59FB3D9-34FF-4CAF-BA6B-FD3AF20123BE}"/>
                </a:ext>
              </a:extLst>
            </p:cNvPr>
            <p:cNvSpPr/>
            <p:nvPr/>
          </p:nvSpPr>
          <p:spPr>
            <a:xfrm>
              <a:off x="943527" y="3639540"/>
              <a:ext cx="71437" cy="7143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2" name="Oval 521">
              <a:extLst>
                <a:ext uri="{FF2B5EF4-FFF2-40B4-BE49-F238E27FC236}">
                  <a16:creationId xmlns:a16="http://schemas.microsoft.com/office/drawing/2014/main" id="{4FB48630-CB02-44E8-AB9C-213579CD6216}"/>
                </a:ext>
              </a:extLst>
            </p:cNvPr>
            <p:cNvSpPr/>
            <p:nvPr/>
          </p:nvSpPr>
          <p:spPr>
            <a:xfrm>
              <a:off x="2664936" y="3639540"/>
              <a:ext cx="71437" cy="7143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1594323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hat, shirt&#10;&#10;Description automatically generated">
            <a:extLst>
              <a:ext uri="{FF2B5EF4-FFF2-40B4-BE49-F238E27FC236}">
                <a16:creationId xmlns:a16="http://schemas.microsoft.com/office/drawing/2014/main" id="{645FFB2D-9C51-47BE-B8A2-22B6864AB7D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529194">
            <a:off x="4750660" y="625397"/>
            <a:ext cx="3754711" cy="3892705"/>
          </a:xfrm>
          <a:prstGeom prst="rect">
            <a:avLst/>
          </a:prstGeom>
        </p:spPr>
      </p:pic>
      <p:sp>
        <p:nvSpPr>
          <p:cNvPr id="130" name="Freeform: Shape 129">
            <a:extLst>
              <a:ext uri="{FF2B5EF4-FFF2-40B4-BE49-F238E27FC236}">
                <a16:creationId xmlns:a16="http://schemas.microsoft.com/office/drawing/2014/main" id="{19CF54BE-4669-4DB3-A5E9-E17419D68618}"/>
              </a:ext>
            </a:extLst>
          </p:cNvPr>
          <p:cNvSpPr/>
          <p:nvPr/>
        </p:nvSpPr>
        <p:spPr>
          <a:xfrm rot="3206179">
            <a:off x="3842220" y="606289"/>
            <a:ext cx="2147091" cy="2147030"/>
          </a:xfrm>
          <a:custGeom>
            <a:avLst/>
            <a:gdLst>
              <a:gd name="connsiteX0" fmla="*/ 2146963 w 2343208"/>
              <a:gd name="connsiteY0" fmla="*/ 1043525 h 2343142"/>
              <a:gd name="connsiteX1" fmla="*/ 1977295 w 2343208"/>
              <a:gd name="connsiteY1" fmla="*/ 1213193 h 2343142"/>
              <a:gd name="connsiteX2" fmla="*/ 2146963 w 2343208"/>
              <a:gd name="connsiteY2" fmla="*/ 1382861 h 2343142"/>
              <a:gd name="connsiteX3" fmla="*/ 2303271 w 2343208"/>
              <a:gd name="connsiteY3" fmla="*/ 1279156 h 2343142"/>
              <a:gd name="connsiteX4" fmla="*/ 2313500 w 2343208"/>
              <a:gd name="connsiteY4" fmla="*/ 1228651 h 2343142"/>
              <a:gd name="connsiteX5" fmla="*/ 2313973 w 2343208"/>
              <a:gd name="connsiteY5" fmla="*/ 1223973 h 2343142"/>
              <a:gd name="connsiteX6" fmla="*/ 2314942 w 2343208"/>
              <a:gd name="connsiteY6" fmla="*/ 1204847 h 2343142"/>
              <a:gd name="connsiteX7" fmla="*/ 2303281 w 2343208"/>
              <a:gd name="connsiteY7" fmla="*/ 1147230 h 2343142"/>
              <a:gd name="connsiteX8" fmla="*/ 2146963 w 2343208"/>
              <a:gd name="connsiteY8" fmla="*/ 1043525 h 2343142"/>
              <a:gd name="connsiteX9" fmla="*/ 1934016 w 2343208"/>
              <a:gd name="connsiteY9" fmla="*/ 830578 h 2343142"/>
              <a:gd name="connsiteX10" fmla="*/ 1551336 w 2343208"/>
              <a:gd name="connsiteY10" fmla="*/ 1213259 h 2343142"/>
              <a:gd name="connsiteX11" fmla="*/ 1934016 w 2343208"/>
              <a:gd name="connsiteY11" fmla="*/ 1595940 h 2343142"/>
              <a:gd name="connsiteX12" fmla="*/ 2286579 w 2343208"/>
              <a:gd name="connsiteY12" fmla="*/ 1362079 h 2343142"/>
              <a:gd name="connsiteX13" fmla="*/ 2293272 w 2343208"/>
              <a:gd name="connsiteY13" fmla="*/ 1340560 h 2343142"/>
              <a:gd name="connsiteX14" fmla="*/ 2285613 w 2343208"/>
              <a:gd name="connsiteY14" fmla="*/ 1351910 h 2343142"/>
              <a:gd name="connsiteX15" fmla="*/ 2146963 w 2343208"/>
              <a:gd name="connsiteY15" fmla="*/ 1409438 h 2343142"/>
              <a:gd name="connsiteX16" fmla="*/ 1950784 w 2343208"/>
              <a:gd name="connsiteY16" fmla="*/ 1213259 h 2343142"/>
              <a:gd name="connsiteX17" fmla="*/ 2146963 w 2343208"/>
              <a:gd name="connsiteY17" fmla="*/ 1017081 h 2343142"/>
              <a:gd name="connsiteX18" fmla="*/ 2285613 w 2343208"/>
              <a:gd name="connsiteY18" fmla="*/ 1074609 h 2343142"/>
              <a:gd name="connsiteX19" fmla="*/ 2293259 w 2343208"/>
              <a:gd name="connsiteY19" fmla="*/ 1085939 h 2343142"/>
              <a:gd name="connsiteX20" fmla="*/ 2286569 w 2343208"/>
              <a:gd name="connsiteY20" fmla="*/ 1064439 h 2343142"/>
              <a:gd name="connsiteX21" fmla="*/ 1934016 w 2343208"/>
              <a:gd name="connsiteY21" fmla="*/ 830578 h 2343142"/>
              <a:gd name="connsiteX22" fmla="*/ 1667850 w 2343208"/>
              <a:gd name="connsiteY22" fmla="*/ 548903 h 2343142"/>
              <a:gd name="connsiteX23" fmla="*/ 1019069 w 2343208"/>
              <a:gd name="connsiteY23" fmla="*/ 1197685 h 2343142"/>
              <a:gd name="connsiteX24" fmla="*/ 1667850 w 2343208"/>
              <a:gd name="connsiteY24" fmla="*/ 1846466 h 2343142"/>
              <a:gd name="connsiteX25" fmla="*/ 2205684 w 2343208"/>
              <a:gd name="connsiteY25" fmla="*/ 1560182 h 2343142"/>
              <a:gd name="connsiteX26" fmla="*/ 2263788 w 2343208"/>
              <a:gd name="connsiteY26" fmla="*/ 1453265 h 2343142"/>
              <a:gd name="connsiteX27" fmla="*/ 2223214 w 2343208"/>
              <a:gd name="connsiteY27" fmla="*/ 1502415 h 2343142"/>
              <a:gd name="connsiteX28" fmla="*/ 1934016 w 2343208"/>
              <a:gd name="connsiteY28" fmla="*/ 1622384 h 2343142"/>
              <a:gd name="connsiteX29" fmla="*/ 1524825 w 2343208"/>
              <a:gd name="connsiteY29" fmla="*/ 1213192 h 2343142"/>
              <a:gd name="connsiteX30" fmla="*/ 1934016 w 2343208"/>
              <a:gd name="connsiteY30" fmla="*/ 804001 h 2343142"/>
              <a:gd name="connsiteX31" fmla="*/ 2273241 w 2343208"/>
              <a:gd name="connsiteY31" fmla="*/ 984549 h 2343142"/>
              <a:gd name="connsiteX32" fmla="*/ 2283776 w 2343208"/>
              <a:gd name="connsiteY32" fmla="*/ 1003938 h 2343142"/>
              <a:gd name="connsiteX33" fmla="*/ 2265569 w 2343208"/>
              <a:gd name="connsiteY33" fmla="*/ 945410 h 2343142"/>
              <a:gd name="connsiteX34" fmla="*/ 1667850 w 2343208"/>
              <a:gd name="connsiteY34" fmla="*/ 548903 h 2343142"/>
              <a:gd name="connsiteX35" fmla="*/ 1421168 w 2343208"/>
              <a:gd name="connsiteY35" fmla="*/ 282338 h 2343142"/>
              <a:gd name="connsiteX36" fmla="*/ 525706 w 2343208"/>
              <a:gd name="connsiteY36" fmla="*/ 1177801 h 2343142"/>
              <a:gd name="connsiteX37" fmla="*/ 1421168 w 2343208"/>
              <a:gd name="connsiteY37" fmla="*/ 2073263 h 2343142"/>
              <a:gd name="connsiteX38" fmla="*/ 2208395 w 2343208"/>
              <a:gd name="connsiteY38" fmla="*/ 1604281 h 2343142"/>
              <a:gd name="connsiteX39" fmla="*/ 2217111 w 2343208"/>
              <a:gd name="connsiteY39" fmla="*/ 1586215 h 2343142"/>
              <a:gd name="connsiteX40" fmla="*/ 2178287 w 2343208"/>
              <a:gd name="connsiteY40" fmla="*/ 1639431 h 2343142"/>
              <a:gd name="connsiteX41" fmla="*/ 1667850 w 2343208"/>
              <a:gd name="connsiteY41" fmla="*/ 1873043 h 2343142"/>
              <a:gd name="connsiteX42" fmla="*/ 992558 w 2343208"/>
              <a:gd name="connsiteY42" fmla="*/ 1197751 h 2343142"/>
              <a:gd name="connsiteX43" fmla="*/ 1667850 w 2343208"/>
              <a:gd name="connsiteY43" fmla="*/ 522459 h 2343142"/>
              <a:gd name="connsiteX44" fmla="*/ 2227651 w 2343208"/>
              <a:gd name="connsiteY44" fmla="*/ 820457 h 2343142"/>
              <a:gd name="connsiteX45" fmla="*/ 2274239 w 2343208"/>
              <a:gd name="connsiteY45" fmla="*/ 906177 h 2343142"/>
              <a:gd name="connsiteX46" fmla="*/ 2246150 w 2343208"/>
              <a:gd name="connsiteY46" fmla="*/ 829580 h 2343142"/>
              <a:gd name="connsiteX47" fmla="*/ 1421168 w 2343208"/>
              <a:gd name="connsiteY47" fmla="*/ 282338 h 2343142"/>
              <a:gd name="connsiteX48" fmla="*/ 1171571 w 2343208"/>
              <a:gd name="connsiteY48" fmla="*/ 26444 h 2343142"/>
              <a:gd name="connsiteX49" fmla="*/ 26511 w 2343208"/>
              <a:gd name="connsiteY49" fmla="*/ 1171505 h 2343142"/>
              <a:gd name="connsiteX50" fmla="*/ 1171571 w 2343208"/>
              <a:gd name="connsiteY50" fmla="*/ 2316565 h 2343142"/>
              <a:gd name="connsiteX51" fmla="*/ 2178231 w 2343208"/>
              <a:gd name="connsiteY51" fmla="*/ 1716873 h 2343142"/>
              <a:gd name="connsiteX52" fmla="*/ 2204537 w 2343208"/>
              <a:gd name="connsiteY52" fmla="*/ 1662344 h 2343142"/>
              <a:gd name="connsiteX53" fmla="*/ 2118052 w 2343208"/>
              <a:gd name="connsiteY53" fmla="*/ 1780884 h 2343142"/>
              <a:gd name="connsiteX54" fmla="*/ 1421168 w 2343208"/>
              <a:gd name="connsiteY54" fmla="*/ 2099840 h 2343142"/>
              <a:gd name="connsiteX55" fmla="*/ 499195 w 2343208"/>
              <a:gd name="connsiteY55" fmla="*/ 1177867 h 2343142"/>
              <a:gd name="connsiteX56" fmla="*/ 1421168 w 2343208"/>
              <a:gd name="connsiteY56" fmla="*/ 255894 h 2343142"/>
              <a:gd name="connsiteX57" fmla="*/ 2185476 w 2343208"/>
              <a:gd name="connsiteY57" fmla="*/ 662757 h 2343142"/>
              <a:gd name="connsiteX58" fmla="*/ 2230221 w 2343208"/>
              <a:gd name="connsiteY58" fmla="*/ 736335 h 2343142"/>
              <a:gd name="connsiteX59" fmla="*/ 2226509 w 2343208"/>
              <a:gd name="connsiteY59" fmla="*/ 726210 h 2343142"/>
              <a:gd name="connsiteX60" fmla="*/ 1171571 w 2343208"/>
              <a:gd name="connsiteY60" fmla="*/ 26444 h 2343142"/>
              <a:gd name="connsiteX61" fmla="*/ 1171571 w 2343208"/>
              <a:gd name="connsiteY61" fmla="*/ 0 h 2343142"/>
              <a:gd name="connsiteX62" fmla="*/ 2343141 w 2343208"/>
              <a:gd name="connsiteY62" fmla="*/ 1171571 h 2343142"/>
              <a:gd name="connsiteX63" fmla="*/ 2342982 w 2343208"/>
              <a:gd name="connsiteY63" fmla="*/ 1174719 h 2343142"/>
              <a:gd name="connsiteX64" fmla="*/ 2343141 w 2343208"/>
              <a:gd name="connsiteY64" fmla="*/ 1177867 h 2343142"/>
              <a:gd name="connsiteX65" fmla="*/ 2342470 w 2343208"/>
              <a:gd name="connsiteY65" fmla="*/ 1191108 h 2343142"/>
              <a:gd name="connsiteX66" fmla="*/ 2343142 w 2343208"/>
              <a:gd name="connsiteY66" fmla="*/ 1197751 h 2343142"/>
              <a:gd name="connsiteX67" fmla="*/ 2342395 w 2343208"/>
              <a:gd name="connsiteY67" fmla="*/ 1205144 h 2343142"/>
              <a:gd name="connsiteX68" fmla="*/ 2343208 w 2343208"/>
              <a:gd name="connsiteY68" fmla="*/ 1213192 h 2343142"/>
              <a:gd name="connsiteX69" fmla="*/ 2339487 w 2343208"/>
              <a:gd name="connsiteY69" fmla="*/ 1249995 h 2343142"/>
              <a:gd name="connsiteX70" fmla="*/ 2338373 w 2343208"/>
              <a:gd name="connsiteY70" fmla="*/ 1271993 h 2343142"/>
              <a:gd name="connsiteX71" fmla="*/ 2337895 w 2343208"/>
              <a:gd name="connsiteY71" fmla="*/ 1275112 h 2343142"/>
              <a:gd name="connsiteX72" fmla="*/ 2337081 w 2343208"/>
              <a:gd name="connsiteY72" fmla="*/ 1291185 h 2343142"/>
              <a:gd name="connsiteX73" fmla="*/ 1171571 w 2343208"/>
              <a:gd name="connsiteY73" fmla="*/ 2343142 h 2343142"/>
              <a:gd name="connsiteX74" fmla="*/ 0 w 2343208"/>
              <a:gd name="connsiteY74" fmla="*/ 1171571 h 2343142"/>
              <a:gd name="connsiteX75" fmla="*/ 1171571 w 2343208"/>
              <a:gd name="connsiteY75" fmla="*/ 0 h 234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343208" h="2343142">
                <a:moveTo>
                  <a:pt x="2146963" y="1043525"/>
                </a:moveTo>
                <a:cubicBezTo>
                  <a:pt x="2053380" y="1043525"/>
                  <a:pt x="1977295" y="1119677"/>
                  <a:pt x="1977295" y="1213193"/>
                </a:cubicBezTo>
                <a:cubicBezTo>
                  <a:pt x="1977295" y="1306710"/>
                  <a:pt x="2053446" y="1382861"/>
                  <a:pt x="2146963" y="1382861"/>
                </a:cubicBezTo>
                <a:cubicBezTo>
                  <a:pt x="2217100" y="1382861"/>
                  <a:pt x="2277470" y="1340026"/>
                  <a:pt x="2303271" y="1279156"/>
                </a:cubicBezTo>
                <a:lnTo>
                  <a:pt x="2313500" y="1228651"/>
                </a:lnTo>
                <a:lnTo>
                  <a:pt x="2313973" y="1223973"/>
                </a:lnTo>
                <a:lnTo>
                  <a:pt x="2314942" y="1204847"/>
                </a:lnTo>
                <a:lnTo>
                  <a:pt x="2303281" y="1147230"/>
                </a:lnTo>
                <a:cubicBezTo>
                  <a:pt x="2277495" y="1086361"/>
                  <a:pt x="2217150" y="1043525"/>
                  <a:pt x="2146963" y="1043525"/>
                </a:cubicBezTo>
                <a:close/>
                <a:moveTo>
                  <a:pt x="1934016" y="830578"/>
                </a:moveTo>
                <a:cubicBezTo>
                  <a:pt x="1723058" y="830578"/>
                  <a:pt x="1551336" y="1002234"/>
                  <a:pt x="1551336" y="1213259"/>
                </a:cubicBezTo>
                <a:cubicBezTo>
                  <a:pt x="1551336" y="1424284"/>
                  <a:pt x="1722992" y="1595940"/>
                  <a:pt x="1934016" y="1595940"/>
                </a:cubicBezTo>
                <a:cubicBezTo>
                  <a:pt x="2092285" y="1595940"/>
                  <a:pt x="2228409" y="1499384"/>
                  <a:pt x="2286579" y="1362079"/>
                </a:cubicBezTo>
                <a:lnTo>
                  <a:pt x="2293272" y="1340560"/>
                </a:lnTo>
                <a:lnTo>
                  <a:pt x="2285613" y="1351910"/>
                </a:lnTo>
                <a:cubicBezTo>
                  <a:pt x="2250089" y="1387434"/>
                  <a:pt x="2201045" y="1409438"/>
                  <a:pt x="2146963" y="1409438"/>
                </a:cubicBezTo>
                <a:cubicBezTo>
                  <a:pt x="2038799" y="1409438"/>
                  <a:pt x="1950784" y="1321423"/>
                  <a:pt x="1950784" y="1213259"/>
                </a:cubicBezTo>
                <a:cubicBezTo>
                  <a:pt x="1950784" y="1105096"/>
                  <a:pt x="2038799" y="1017081"/>
                  <a:pt x="2146963" y="1017081"/>
                </a:cubicBezTo>
                <a:cubicBezTo>
                  <a:pt x="2201045" y="1017081"/>
                  <a:pt x="2250089" y="1039085"/>
                  <a:pt x="2285613" y="1074609"/>
                </a:cubicBezTo>
                <a:lnTo>
                  <a:pt x="2293259" y="1085939"/>
                </a:lnTo>
                <a:lnTo>
                  <a:pt x="2286569" y="1064439"/>
                </a:lnTo>
                <a:cubicBezTo>
                  <a:pt x="2228384" y="927134"/>
                  <a:pt x="2092236" y="830578"/>
                  <a:pt x="1934016" y="830578"/>
                </a:cubicBezTo>
                <a:close/>
                <a:moveTo>
                  <a:pt x="1667850" y="548903"/>
                </a:moveTo>
                <a:cubicBezTo>
                  <a:pt x="1310089" y="548903"/>
                  <a:pt x="1019069" y="839924"/>
                  <a:pt x="1019069" y="1197685"/>
                </a:cubicBezTo>
                <a:cubicBezTo>
                  <a:pt x="1019069" y="1555445"/>
                  <a:pt x="1310089" y="1846466"/>
                  <a:pt x="1667850" y="1846466"/>
                </a:cubicBezTo>
                <a:cubicBezTo>
                  <a:pt x="1891450" y="1846466"/>
                  <a:pt x="2088981" y="1732786"/>
                  <a:pt x="2205684" y="1560182"/>
                </a:cubicBezTo>
                <a:lnTo>
                  <a:pt x="2263788" y="1453265"/>
                </a:lnTo>
                <a:lnTo>
                  <a:pt x="2223214" y="1502415"/>
                </a:lnTo>
                <a:cubicBezTo>
                  <a:pt x="2149117" y="1576504"/>
                  <a:pt x="2046819" y="1622384"/>
                  <a:pt x="1934016" y="1622384"/>
                </a:cubicBezTo>
                <a:cubicBezTo>
                  <a:pt x="1708411" y="1622384"/>
                  <a:pt x="1524825" y="1438864"/>
                  <a:pt x="1524825" y="1213192"/>
                </a:cubicBezTo>
                <a:cubicBezTo>
                  <a:pt x="1524825" y="987521"/>
                  <a:pt x="1708345" y="804001"/>
                  <a:pt x="1934016" y="804001"/>
                </a:cubicBezTo>
                <a:cubicBezTo>
                  <a:pt x="2075061" y="804001"/>
                  <a:pt x="2199641" y="875688"/>
                  <a:pt x="2273241" y="984549"/>
                </a:cubicBezTo>
                <a:lnTo>
                  <a:pt x="2283776" y="1003938"/>
                </a:lnTo>
                <a:lnTo>
                  <a:pt x="2265569" y="945410"/>
                </a:lnTo>
                <a:cubicBezTo>
                  <a:pt x="2166950" y="712639"/>
                  <a:pt x="1936171" y="548903"/>
                  <a:pt x="1667850" y="548903"/>
                </a:cubicBezTo>
                <a:close/>
                <a:moveTo>
                  <a:pt x="1421168" y="282338"/>
                </a:moveTo>
                <a:cubicBezTo>
                  <a:pt x="927408" y="282338"/>
                  <a:pt x="525706" y="684041"/>
                  <a:pt x="525706" y="1177801"/>
                </a:cubicBezTo>
                <a:cubicBezTo>
                  <a:pt x="525706" y="1671561"/>
                  <a:pt x="927408" y="2073263"/>
                  <a:pt x="1421168" y="2073263"/>
                </a:cubicBezTo>
                <a:cubicBezTo>
                  <a:pt x="1760628" y="2073263"/>
                  <a:pt x="2056577" y="1883396"/>
                  <a:pt x="2208395" y="1604281"/>
                </a:cubicBezTo>
                <a:lnTo>
                  <a:pt x="2217111" y="1586215"/>
                </a:lnTo>
                <a:lnTo>
                  <a:pt x="2178287" y="1639431"/>
                </a:lnTo>
                <a:cubicBezTo>
                  <a:pt x="2054379" y="1782439"/>
                  <a:pt x="1871510" y="1873043"/>
                  <a:pt x="1667850" y="1873043"/>
                </a:cubicBezTo>
                <a:cubicBezTo>
                  <a:pt x="1295508" y="1873043"/>
                  <a:pt x="992558" y="1570093"/>
                  <a:pt x="992558" y="1197751"/>
                </a:cubicBezTo>
                <a:cubicBezTo>
                  <a:pt x="992558" y="825409"/>
                  <a:pt x="1295508" y="522459"/>
                  <a:pt x="1667850" y="522459"/>
                </a:cubicBezTo>
                <a:cubicBezTo>
                  <a:pt x="1900563" y="522459"/>
                  <a:pt x="2106171" y="640799"/>
                  <a:pt x="2227651" y="820457"/>
                </a:cubicBezTo>
                <a:lnTo>
                  <a:pt x="2274239" y="906177"/>
                </a:lnTo>
                <a:lnTo>
                  <a:pt x="2246150" y="829580"/>
                </a:lnTo>
                <a:cubicBezTo>
                  <a:pt x="2110027" y="508296"/>
                  <a:pt x="1791489" y="282338"/>
                  <a:pt x="1421168" y="282338"/>
                </a:cubicBezTo>
                <a:close/>
                <a:moveTo>
                  <a:pt x="1171571" y="26444"/>
                </a:moveTo>
                <a:cubicBezTo>
                  <a:pt x="540154" y="26444"/>
                  <a:pt x="26511" y="540088"/>
                  <a:pt x="26511" y="1171505"/>
                </a:cubicBezTo>
                <a:cubicBezTo>
                  <a:pt x="26511" y="1802921"/>
                  <a:pt x="540154" y="2316565"/>
                  <a:pt x="1171571" y="2316565"/>
                </a:cubicBezTo>
                <a:cubicBezTo>
                  <a:pt x="1605669" y="2316565"/>
                  <a:pt x="1984103" y="2073788"/>
                  <a:pt x="2178231" y="1716873"/>
                </a:cubicBezTo>
                <a:lnTo>
                  <a:pt x="2204537" y="1662344"/>
                </a:lnTo>
                <a:lnTo>
                  <a:pt x="2118052" y="1780884"/>
                </a:lnTo>
                <a:cubicBezTo>
                  <a:pt x="1948874" y="1976134"/>
                  <a:pt x="1699203" y="2099840"/>
                  <a:pt x="1421168" y="2099840"/>
                </a:cubicBezTo>
                <a:cubicBezTo>
                  <a:pt x="912760" y="2099840"/>
                  <a:pt x="499195" y="1686208"/>
                  <a:pt x="499195" y="1177867"/>
                </a:cubicBezTo>
                <a:cubicBezTo>
                  <a:pt x="499195" y="669460"/>
                  <a:pt x="912827" y="255894"/>
                  <a:pt x="1421168" y="255894"/>
                </a:cubicBezTo>
                <a:cubicBezTo>
                  <a:pt x="1738923" y="255894"/>
                  <a:pt x="2019630" y="417469"/>
                  <a:pt x="2185476" y="662757"/>
                </a:cubicBezTo>
                <a:lnTo>
                  <a:pt x="2230221" y="736335"/>
                </a:lnTo>
                <a:lnTo>
                  <a:pt x="2226509" y="726210"/>
                </a:lnTo>
                <a:cubicBezTo>
                  <a:pt x="2052449" y="315369"/>
                  <a:pt x="1645133" y="26444"/>
                  <a:pt x="1171571" y="26444"/>
                </a:cubicBezTo>
                <a:close/>
                <a:moveTo>
                  <a:pt x="1171571" y="0"/>
                </a:moveTo>
                <a:cubicBezTo>
                  <a:pt x="1817568" y="0"/>
                  <a:pt x="2343141" y="525573"/>
                  <a:pt x="2343141" y="1171571"/>
                </a:cubicBezTo>
                <a:lnTo>
                  <a:pt x="2342982" y="1174719"/>
                </a:lnTo>
                <a:lnTo>
                  <a:pt x="2343141" y="1177867"/>
                </a:lnTo>
                <a:lnTo>
                  <a:pt x="2342470" y="1191108"/>
                </a:lnTo>
                <a:lnTo>
                  <a:pt x="2343142" y="1197751"/>
                </a:lnTo>
                <a:lnTo>
                  <a:pt x="2342395" y="1205144"/>
                </a:lnTo>
                <a:lnTo>
                  <a:pt x="2343208" y="1213192"/>
                </a:lnTo>
                <a:lnTo>
                  <a:pt x="2339487" y="1249995"/>
                </a:lnTo>
                <a:lnTo>
                  <a:pt x="2338373" y="1271993"/>
                </a:lnTo>
                <a:lnTo>
                  <a:pt x="2337895" y="1275112"/>
                </a:lnTo>
                <a:lnTo>
                  <a:pt x="2337081" y="1291185"/>
                </a:lnTo>
                <a:cubicBezTo>
                  <a:pt x="2276974" y="1881212"/>
                  <a:pt x="1777193" y="2343142"/>
                  <a:pt x="1171571" y="2343142"/>
                </a:cubicBezTo>
                <a:cubicBezTo>
                  <a:pt x="525573" y="2343142"/>
                  <a:pt x="0" y="1817568"/>
                  <a:pt x="0" y="1171571"/>
                </a:cubicBezTo>
                <a:cubicBezTo>
                  <a:pt x="0" y="525573"/>
                  <a:pt x="525573" y="0"/>
                  <a:pt x="1171571" y="0"/>
                </a:cubicBezTo>
                <a:close/>
              </a:path>
            </a:pathLst>
          </a:custGeom>
          <a:solidFill>
            <a:srgbClr val="21BDEA"/>
          </a:solidFill>
          <a:ln w="662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grpSp>
        <p:nvGrpSpPr>
          <p:cNvPr id="99" name="Group 98">
            <a:extLst>
              <a:ext uri="{FF2B5EF4-FFF2-40B4-BE49-F238E27FC236}">
                <a16:creationId xmlns:a16="http://schemas.microsoft.com/office/drawing/2014/main" id="{FB94973D-F651-46D3-BFF6-43FF0F205749}"/>
              </a:ext>
            </a:extLst>
          </p:cNvPr>
          <p:cNvGrpSpPr/>
          <p:nvPr/>
        </p:nvGrpSpPr>
        <p:grpSpPr>
          <a:xfrm rot="12484991">
            <a:off x="4424429" y="698236"/>
            <a:ext cx="4254882" cy="3747026"/>
            <a:chOff x="3404715" y="158225"/>
            <a:chExt cx="5660959" cy="4985275"/>
          </a:xfrm>
        </p:grpSpPr>
        <p:sp>
          <p:nvSpPr>
            <p:cNvPr id="45" name="Freeform: Shape 44">
              <a:extLst>
                <a:ext uri="{FF2B5EF4-FFF2-40B4-BE49-F238E27FC236}">
                  <a16:creationId xmlns:a16="http://schemas.microsoft.com/office/drawing/2014/main" id="{FBA2BBDF-77A4-4BAD-BF12-C2B79092B9DA}"/>
                </a:ext>
              </a:extLst>
            </p:cNvPr>
            <p:cNvSpPr/>
            <p:nvPr/>
          </p:nvSpPr>
          <p:spPr>
            <a:xfrm>
              <a:off x="5270680" y="158225"/>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6" name="Freeform: Shape 45">
              <a:extLst>
                <a:ext uri="{FF2B5EF4-FFF2-40B4-BE49-F238E27FC236}">
                  <a16:creationId xmlns:a16="http://schemas.microsoft.com/office/drawing/2014/main" id="{81BBBC61-F8AB-4469-A395-2F10AB0EDBF8}"/>
                </a:ext>
              </a:extLst>
            </p:cNvPr>
            <p:cNvSpPr/>
            <p:nvPr/>
          </p:nvSpPr>
          <p:spPr>
            <a:xfrm>
              <a:off x="5737576" y="15822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7" name="Freeform: Shape 46">
              <a:extLst>
                <a:ext uri="{FF2B5EF4-FFF2-40B4-BE49-F238E27FC236}">
                  <a16:creationId xmlns:a16="http://schemas.microsoft.com/office/drawing/2014/main" id="{B4DC178E-4B06-477D-B719-216AC34E258B}"/>
                </a:ext>
              </a:extLst>
            </p:cNvPr>
            <p:cNvSpPr/>
            <p:nvPr/>
          </p:nvSpPr>
          <p:spPr>
            <a:xfrm>
              <a:off x="6204409" y="15822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8" name="Freeform: Shape 47">
              <a:extLst>
                <a:ext uri="{FF2B5EF4-FFF2-40B4-BE49-F238E27FC236}">
                  <a16:creationId xmlns:a16="http://schemas.microsoft.com/office/drawing/2014/main" id="{2F911BE5-3675-419E-A06F-731D36F257E5}"/>
                </a:ext>
              </a:extLst>
            </p:cNvPr>
            <p:cNvSpPr/>
            <p:nvPr/>
          </p:nvSpPr>
          <p:spPr>
            <a:xfrm>
              <a:off x="6671304" y="15822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49" name="Freeform: Shape 48">
              <a:extLst>
                <a:ext uri="{FF2B5EF4-FFF2-40B4-BE49-F238E27FC236}">
                  <a16:creationId xmlns:a16="http://schemas.microsoft.com/office/drawing/2014/main" id="{8DBFAADD-0E8C-4B79-9057-FABE4C48AACD}"/>
                </a:ext>
              </a:extLst>
            </p:cNvPr>
            <p:cNvSpPr/>
            <p:nvPr/>
          </p:nvSpPr>
          <p:spPr>
            <a:xfrm>
              <a:off x="7138138" y="15822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0" name="Freeform: Shape 49">
              <a:extLst>
                <a:ext uri="{FF2B5EF4-FFF2-40B4-BE49-F238E27FC236}">
                  <a16:creationId xmlns:a16="http://schemas.microsoft.com/office/drawing/2014/main" id="{4DB398BE-70E8-45BA-8AF7-4FD74A606AD2}"/>
                </a:ext>
              </a:extLst>
            </p:cNvPr>
            <p:cNvSpPr/>
            <p:nvPr/>
          </p:nvSpPr>
          <p:spPr>
            <a:xfrm>
              <a:off x="6204409" y="609198"/>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1" name="Freeform: Shape 50">
              <a:extLst>
                <a:ext uri="{FF2B5EF4-FFF2-40B4-BE49-F238E27FC236}">
                  <a16:creationId xmlns:a16="http://schemas.microsoft.com/office/drawing/2014/main" id="{A899F59E-0A6F-4480-9683-9DC9F1011E0E}"/>
                </a:ext>
              </a:extLst>
            </p:cNvPr>
            <p:cNvSpPr/>
            <p:nvPr/>
          </p:nvSpPr>
          <p:spPr>
            <a:xfrm>
              <a:off x="6671304" y="609198"/>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2" name="Freeform: Shape 51">
              <a:extLst>
                <a:ext uri="{FF2B5EF4-FFF2-40B4-BE49-F238E27FC236}">
                  <a16:creationId xmlns:a16="http://schemas.microsoft.com/office/drawing/2014/main" id="{83B05CAF-2205-4DB5-ACB0-94438FF9EE61}"/>
                </a:ext>
              </a:extLst>
            </p:cNvPr>
            <p:cNvSpPr/>
            <p:nvPr/>
          </p:nvSpPr>
          <p:spPr>
            <a:xfrm>
              <a:off x="7138138" y="609198"/>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3" name="Freeform: Shape 52">
              <a:extLst>
                <a:ext uri="{FF2B5EF4-FFF2-40B4-BE49-F238E27FC236}">
                  <a16:creationId xmlns:a16="http://schemas.microsoft.com/office/drawing/2014/main" id="{DCBBFF5C-D493-4AF6-8CBB-138F2A93347B}"/>
                </a:ext>
              </a:extLst>
            </p:cNvPr>
            <p:cNvSpPr/>
            <p:nvPr/>
          </p:nvSpPr>
          <p:spPr>
            <a:xfrm>
              <a:off x="7602856" y="6091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4" name="Freeform: Shape 53">
              <a:extLst>
                <a:ext uri="{FF2B5EF4-FFF2-40B4-BE49-F238E27FC236}">
                  <a16:creationId xmlns:a16="http://schemas.microsoft.com/office/drawing/2014/main" id="{D2DADE84-823C-40DE-B58B-A94749ABEF05}"/>
                </a:ext>
              </a:extLst>
            </p:cNvPr>
            <p:cNvSpPr/>
            <p:nvPr/>
          </p:nvSpPr>
          <p:spPr>
            <a:xfrm>
              <a:off x="8067637" y="6091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5" name="Freeform: Shape 54">
              <a:extLst>
                <a:ext uri="{FF2B5EF4-FFF2-40B4-BE49-F238E27FC236}">
                  <a16:creationId xmlns:a16="http://schemas.microsoft.com/office/drawing/2014/main" id="{C697E22F-A519-4AB7-9E43-C7BE63A31375}"/>
                </a:ext>
              </a:extLst>
            </p:cNvPr>
            <p:cNvSpPr/>
            <p:nvPr/>
          </p:nvSpPr>
          <p:spPr>
            <a:xfrm>
              <a:off x="6204409" y="1060172"/>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6" name="Freeform: Shape 55">
              <a:extLst>
                <a:ext uri="{FF2B5EF4-FFF2-40B4-BE49-F238E27FC236}">
                  <a16:creationId xmlns:a16="http://schemas.microsoft.com/office/drawing/2014/main" id="{DF355186-CD4C-45FB-A2C1-08D69B540CF8}"/>
                </a:ext>
              </a:extLst>
            </p:cNvPr>
            <p:cNvSpPr/>
            <p:nvPr/>
          </p:nvSpPr>
          <p:spPr>
            <a:xfrm>
              <a:off x="6671304" y="1060172"/>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7" name="Freeform: Shape 56">
              <a:extLst>
                <a:ext uri="{FF2B5EF4-FFF2-40B4-BE49-F238E27FC236}">
                  <a16:creationId xmlns:a16="http://schemas.microsoft.com/office/drawing/2014/main" id="{AFA29DA0-D85F-4A71-B630-4F99AB34C419}"/>
                </a:ext>
              </a:extLst>
            </p:cNvPr>
            <p:cNvSpPr/>
            <p:nvPr/>
          </p:nvSpPr>
          <p:spPr>
            <a:xfrm>
              <a:off x="7138138" y="1060172"/>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8" name="Freeform: Shape 57">
              <a:extLst>
                <a:ext uri="{FF2B5EF4-FFF2-40B4-BE49-F238E27FC236}">
                  <a16:creationId xmlns:a16="http://schemas.microsoft.com/office/drawing/2014/main" id="{1B6E7187-FA45-4EBD-AD38-50EA1549E3E4}"/>
                </a:ext>
              </a:extLst>
            </p:cNvPr>
            <p:cNvSpPr/>
            <p:nvPr/>
          </p:nvSpPr>
          <p:spPr>
            <a:xfrm>
              <a:off x="7602856" y="106017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59" name="Freeform: Shape 58">
              <a:extLst>
                <a:ext uri="{FF2B5EF4-FFF2-40B4-BE49-F238E27FC236}">
                  <a16:creationId xmlns:a16="http://schemas.microsoft.com/office/drawing/2014/main" id="{E9DFB6BF-A407-4781-957F-FB3C7CEF18CA}"/>
                </a:ext>
              </a:extLst>
            </p:cNvPr>
            <p:cNvSpPr/>
            <p:nvPr/>
          </p:nvSpPr>
          <p:spPr>
            <a:xfrm>
              <a:off x="8067637" y="106017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0" name="Freeform: Shape 59">
              <a:extLst>
                <a:ext uri="{FF2B5EF4-FFF2-40B4-BE49-F238E27FC236}">
                  <a16:creationId xmlns:a16="http://schemas.microsoft.com/office/drawing/2014/main" id="{33AF8186-7E58-40C0-983B-188B9B91E894}"/>
                </a:ext>
              </a:extLst>
            </p:cNvPr>
            <p:cNvSpPr/>
            <p:nvPr/>
          </p:nvSpPr>
          <p:spPr>
            <a:xfrm>
              <a:off x="8536834" y="1060172"/>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1" name="Freeform: Shape 60">
              <a:extLst>
                <a:ext uri="{FF2B5EF4-FFF2-40B4-BE49-F238E27FC236}">
                  <a16:creationId xmlns:a16="http://schemas.microsoft.com/office/drawing/2014/main" id="{B977EC9D-6E15-4AA1-A394-C3A16612685C}"/>
                </a:ext>
              </a:extLst>
            </p:cNvPr>
            <p:cNvSpPr/>
            <p:nvPr/>
          </p:nvSpPr>
          <p:spPr>
            <a:xfrm>
              <a:off x="6671304" y="1957454"/>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2" name="Freeform: Shape 61">
              <a:extLst>
                <a:ext uri="{FF2B5EF4-FFF2-40B4-BE49-F238E27FC236}">
                  <a16:creationId xmlns:a16="http://schemas.microsoft.com/office/drawing/2014/main" id="{4834B8AA-9EFC-496D-A3B1-400E181E53FD}"/>
                </a:ext>
              </a:extLst>
            </p:cNvPr>
            <p:cNvSpPr/>
            <p:nvPr/>
          </p:nvSpPr>
          <p:spPr>
            <a:xfrm>
              <a:off x="7138138" y="1957454"/>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3" name="Freeform: Shape 62">
              <a:extLst>
                <a:ext uri="{FF2B5EF4-FFF2-40B4-BE49-F238E27FC236}">
                  <a16:creationId xmlns:a16="http://schemas.microsoft.com/office/drawing/2014/main" id="{09B18EAC-4793-4F9E-B9F5-7F9F69FE7A9E}"/>
                </a:ext>
              </a:extLst>
            </p:cNvPr>
            <p:cNvSpPr/>
            <p:nvPr/>
          </p:nvSpPr>
          <p:spPr>
            <a:xfrm>
              <a:off x="7602856" y="1957454"/>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4" name="Freeform: Shape 63">
              <a:extLst>
                <a:ext uri="{FF2B5EF4-FFF2-40B4-BE49-F238E27FC236}">
                  <a16:creationId xmlns:a16="http://schemas.microsoft.com/office/drawing/2014/main" id="{69617E06-6673-4A97-B946-C46B3B04006A}"/>
                </a:ext>
              </a:extLst>
            </p:cNvPr>
            <p:cNvSpPr/>
            <p:nvPr/>
          </p:nvSpPr>
          <p:spPr>
            <a:xfrm>
              <a:off x="8067637" y="1957454"/>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5" name="Freeform: Shape 64">
              <a:extLst>
                <a:ext uri="{FF2B5EF4-FFF2-40B4-BE49-F238E27FC236}">
                  <a16:creationId xmlns:a16="http://schemas.microsoft.com/office/drawing/2014/main" id="{A7FFC00F-4BB0-4D96-A1D7-350CC87ECD4C}"/>
                </a:ext>
              </a:extLst>
            </p:cNvPr>
            <p:cNvSpPr/>
            <p:nvPr/>
          </p:nvSpPr>
          <p:spPr>
            <a:xfrm>
              <a:off x="8536834" y="1957454"/>
              <a:ext cx="63562" cy="63562"/>
            </a:xfrm>
            <a:custGeom>
              <a:avLst/>
              <a:gdLst>
                <a:gd name="connsiteX0" fmla="*/ 63563 w 63562"/>
                <a:gd name="connsiteY0" fmla="*/ 31781 h 63562"/>
                <a:gd name="connsiteX1" fmla="*/ 31782 w 63562"/>
                <a:gd name="connsiteY1" fmla="*/ 63563 h 63562"/>
                <a:gd name="connsiteX2" fmla="*/ 1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30" y="63563"/>
                    <a:pt x="1" y="49334"/>
                    <a:pt x="1" y="31781"/>
                  </a:cubicBezTo>
                  <a:cubicBezTo>
                    <a:pt x="1"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6" name="Freeform: Shape 65">
              <a:extLst>
                <a:ext uri="{FF2B5EF4-FFF2-40B4-BE49-F238E27FC236}">
                  <a16:creationId xmlns:a16="http://schemas.microsoft.com/office/drawing/2014/main" id="{4E21F1C1-7AD3-4D48-8F8B-606FD86AE408}"/>
                </a:ext>
              </a:extLst>
            </p:cNvPr>
            <p:cNvSpPr/>
            <p:nvPr/>
          </p:nvSpPr>
          <p:spPr>
            <a:xfrm>
              <a:off x="8536834" y="1503993"/>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7" name="Freeform: Shape 66">
              <a:extLst>
                <a:ext uri="{FF2B5EF4-FFF2-40B4-BE49-F238E27FC236}">
                  <a16:creationId xmlns:a16="http://schemas.microsoft.com/office/drawing/2014/main" id="{31BB3FD4-528D-48AF-84CA-69FB12FAB703}"/>
                </a:ext>
              </a:extLst>
            </p:cNvPr>
            <p:cNvSpPr/>
            <p:nvPr/>
          </p:nvSpPr>
          <p:spPr>
            <a:xfrm>
              <a:off x="9002112" y="150399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8" name="Freeform: Shape 67">
              <a:extLst>
                <a:ext uri="{FF2B5EF4-FFF2-40B4-BE49-F238E27FC236}">
                  <a16:creationId xmlns:a16="http://schemas.microsoft.com/office/drawing/2014/main" id="{9EFD8A49-EB6C-4009-84A1-0D4095472E5C}"/>
                </a:ext>
              </a:extLst>
            </p:cNvPr>
            <p:cNvSpPr/>
            <p:nvPr/>
          </p:nvSpPr>
          <p:spPr>
            <a:xfrm>
              <a:off x="9002112" y="1950240"/>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69" name="Freeform: Shape 68">
              <a:extLst>
                <a:ext uri="{FF2B5EF4-FFF2-40B4-BE49-F238E27FC236}">
                  <a16:creationId xmlns:a16="http://schemas.microsoft.com/office/drawing/2014/main" id="{30BD38DE-08C9-4301-AC02-3F6AC14D04CB}"/>
                </a:ext>
              </a:extLst>
            </p:cNvPr>
            <p:cNvSpPr/>
            <p:nvPr/>
          </p:nvSpPr>
          <p:spPr>
            <a:xfrm>
              <a:off x="6667946" y="329706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0" name="Freeform: Shape 69">
              <a:extLst>
                <a:ext uri="{FF2B5EF4-FFF2-40B4-BE49-F238E27FC236}">
                  <a16:creationId xmlns:a16="http://schemas.microsoft.com/office/drawing/2014/main" id="{DDE56D9C-CE28-4AD5-B0E8-B16D86E09FBA}"/>
                </a:ext>
              </a:extLst>
            </p:cNvPr>
            <p:cNvSpPr/>
            <p:nvPr/>
          </p:nvSpPr>
          <p:spPr>
            <a:xfrm>
              <a:off x="6667946" y="374331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1" name="Freeform: Shape 70">
              <a:extLst>
                <a:ext uri="{FF2B5EF4-FFF2-40B4-BE49-F238E27FC236}">
                  <a16:creationId xmlns:a16="http://schemas.microsoft.com/office/drawing/2014/main" id="{39F26633-C083-40C5-AA3F-C6DB4DBF520D}"/>
                </a:ext>
              </a:extLst>
            </p:cNvPr>
            <p:cNvSpPr/>
            <p:nvPr/>
          </p:nvSpPr>
          <p:spPr>
            <a:xfrm>
              <a:off x="3404715" y="329289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2" name="Freeform: Shape 71">
              <a:extLst>
                <a:ext uri="{FF2B5EF4-FFF2-40B4-BE49-F238E27FC236}">
                  <a16:creationId xmlns:a16="http://schemas.microsoft.com/office/drawing/2014/main" id="{13874358-8CD2-490A-9B2C-98A1286B221E}"/>
                </a:ext>
              </a:extLst>
            </p:cNvPr>
            <p:cNvSpPr/>
            <p:nvPr/>
          </p:nvSpPr>
          <p:spPr>
            <a:xfrm>
              <a:off x="3404715" y="3739145"/>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3" name="Freeform: Shape 72">
              <a:extLst>
                <a:ext uri="{FF2B5EF4-FFF2-40B4-BE49-F238E27FC236}">
                  <a16:creationId xmlns:a16="http://schemas.microsoft.com/office/drawing/2014/main" id="{01C41B01-12E1-4F19-A2CB-26C00B5AF8C1}"/>
                </a:ext>
              </a:extLst>
            </p:cNvPr>
            <p:cNvSpPr/>
            <p:nvPr/>
          </p:nvSpPr>
          <p:spPr>
            <a:xfrm>
              <a:off x="3869932" y="3739145"/>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4" name="Freeform: Shape 73">
              <a:extLst>
                <a:ext uri="{FF2B5EF4-FFF2-40B4-BE49-F238E27FC236}">
                  <a16:creationId xmlns:a16="http://schemas.microsoft.com/office/drawing/2014/main" id="{6384BFF5-D08F-444A-B06A-410BFB5726A0}"/>
                </a:ext>
              </a:extLst>
            </p:cNvPr>
            <p:cNvSpPr/>
            <p:nvPr/>
          </p:nvSpPr>
          <p:spPr>
            <a:xfrm>
              <a:off x="4338382" y="3739145"/>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5" name="Freeform: Shape 74">
              <a:extLst>
                <a:ext uri="{FF2B5EF4-FFF2-40B4-BE49-F238E27FC236}">
                  <a16:creationId xmlns:a16="http://schemas.microsoft.com/office/drawing/2014/main" id="{4D08B983-DC20-4688-9D68-23FD51345D3B}"/>
                </a:ext>
              </a:extLst>
            </p:cNvPr>
            <p:cNvSpPr/>
            <p:nvPr/>
          </p:nvSpPr>
          <p:spPr>
            <a:xfrm>
              <a:off x="3869932" y="419117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6" name="Freeform: Shape 75">
              <a:extLst>
                <a:ext uri="{FF2B5EF4-FFF2-40B4-BE49-F238E27FC236}">
                  <a16:creationId xmlns:a16="http://schemas.microsoft.com/office/drawing/2014/main" id="{E9EBEB7D-7E33-4139-91C9-E8EC7A3E9890}"/>
                </a:ext>
              </a:extLst>
            </p:cNvPr>
            <p:cNvSpPr/>
            <p:nvPr/>
          </p:nvSpPr>
          <p:spPr>
            <a:xfrm>
              <a:off x="4338382" y="419117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7" name="Freeform: Shape 76">
              <a:extLst>
                <a:ext uri="{FF2B5EF4-FFF2-40B4-BE49-F238E27FC236}">
                  <a16:creationId xmlns:a16="http://schemas.microsoft.com/office/drawing/2014/main" id="{C873D857-9E08-4E61-8514-823C0210F59E}"/>
                </a:ext>
              </a:extLst>
            </p:cNvPr>
            <p:cNvSpPr/>
            <p:nvPr/>
          </p:nvSpPr>
          <p:spPr>
            <a:xfrm>
              <a:off x="4338382"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8" name="Freeform: Shape 77">
              <a:extLst>
                <a:ext uri="{FF2B5EF4-FFF2-40B4-BE49-F238E27FC236}">
                  <a16:creationId xmlns:a16="http://schemas.microsoft.com/office/drawing/2014/main" id="{73E02B6F-DC7A-44BD-9BBA-A44372C9CA65}"/>
                </a:ext>
              </a:extLst>
            </p:cNvPr>
            <p:cNvSpPr/>
            <p:nvPr/>
          </p:nvSpPr>
          <p:spPr>
            <a:xfrm>
              <a:off x="4803163" y="4634749"/>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79" name="Freeform: Shape 78">
              <a:extLst>
                <a:ext uri="{FF2B5EF4-FFF2-40B4-BE49-F238E27FC236}">
                  <a16:creationId xmlns:a16="http://schemas.microsoft.com/office/drawing/2014/main" id="{C60FA23C-B8A6-4984-AF72-866736899FBB}"/>
                </a:ext>
              </a:extLst>
            </p:cNvPr>
            <p:cNvSpPr/>
            <p:nvPr/>
          </p:nvSpPr>
          <p:spPr>
            <a:xfrm>
              <a:off x="5267881"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0" name="Freeform: Shape 79">
              <a:extLst>
                <a:ext uri="{FF2B5EF4-FFF2-40B4-BE49-F238E27FC236}">
                  <a16:creationId xmlns:a16="http://schemas.microsoft.com/office/drawing/2014/main" id="{C235296A-9582-4ADA-A63F-3F90186529A7}"/>
                </a:ext>
              </a:extLst>
            </p:cNvPr>
            <p:cNvSpPr/>
            <p:nvPr/>
          </p:nvSpPr>
          <p:spPr>
            <a:xfrm>
              <a:off x="5732600" y="4634749"/>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1" name="Freeform: Shape 80">
              <a:extLst>
                <a:ext uri="{FF2B5EF4-FFF2-40B4-BE49-F238E27FC236}">
                  <a16:creationId xmlns:a16="http://schemas.microsoft.com/office/drawing/2014/main" id="{7521914D-3705-4A05-B7A3-3DB0D1FF116E}"/>
                </a:ext>
              </a:extLst>
            </p:cNvPr>
            <p:cNvSpPr/>
            <p:nvPr/>
          </p:nvSpPr>
          <p:spPr>
            <a:xfrm>
              <a:off x="6197381"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2" name="Freeform: Shape 81">
              <a:extLst>
                <a:ext uri="{FF2B5EF4-FFF2-40B4-BE49-F238E27FC236}">
                  <a16:creationId xmlns:a16="http://schemas.microsoft.com/office/drawing/2014/main" id="{E2503384-ACAF-475D-B0D3-F8C909F3C878}"/>
                </a:ext>
              </a:extLst>
            </p:cNvPr>
            <p:cNvSpPr/>
            <p:nvPr/>
          </p:nvSpPr>
          <p:spPr>
            <a:xfrm>
              <a:off x="6662100"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3" name="Freeform: Shape 82">
              <a:extLst>
                <a:ext uri="{FF2B5EF4-FFF2-40B4-BE49-F238E27FC236}">
                  <a16:creationId xmlns:a16="http://schemas.microsoft.com/office/drawing/2014/main" id="{48335AFC-78FE-4979-ABED-07E04DDF0D01}"/>
                </a:ext>
              </a:extLst>
            </p:cNvPr>
            <p:cNvSpPr/>
            <p:nvPr/>
          </p:nvSpPr>
          <p:spPr>
            <a:xfrm>
              <a:off x="7126818" y="4634749"/>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4" name="Freeform: Shape 83">
              <a:extLst>
                <a:ext uri="{FF2B5EF4-FFF2-40B4-BE49-F238E27FC236}">
                  <a16:creationId xmlns:a16="http://schemas.microsoft.com/office/drawing/2014/main" id="{724D1EE0-6F46-41D1-9BFE-37876F724AA5}"/>
                </a:ext>
              </a:extLst>
            </p:cNvPr>
            <p:cNvSpPr/>
            <p:nvPr/>
          </p:nvSpPr>
          <p:spPr>
            <a:xfrm>
              <a:off x="5267881" y="507993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5" name="Freeform: Shape 84">
              <a:extLst>
                <a:ext uri="{FF2B5EF4-FFF2-40B4-BE49-F238E27FC236}">
                  <a16:creationId xmlns:a16="http://schemas.microsoft.com/office/drawing/2014/main" id="{567635F9-94A6-49C6-8ABF-E22DD092C031}"/>
                </a:ext>
              </a:extLst>
            </p:cNvPr>
            <p:cNvSpPr/>
            <p:nvPr/>
          </p:nvSpPr>
          <p:spPr>
            <a:xfrm>
              <a:off x="5732600" y="5079938"/>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6" name="Freeform: Shape 85">
              <a:extLst>
                <a:ext uri="{FF2B5EF4-FFF2-40B4-BE49-F238E27FC236}">
                  <a16:creationId xmlns:a16="http://schemas.microsoft.com/office/drawing/2014/main" id="{1F2A0704-1BA7-496C-8814-08D15C1E642D}"/>
                </a:ext>
              </a:extLst>
            </p:cNvPr>
            <p:cNvSpPr/>
            <p:nvPr/>
          </p:nvSpPr>
          <p:spPr>
            <a:xfrm>
              <a:off x="6197381" y="507993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7" name="Freeform: Shape 86">
              <a:extLst>
                <a:ext uri="{FF2B5EF4-FFF2-40B4-BE49-F238E27FC236}">
                  <a16:creationId xmlns:a16="http://schemas.microsoft.com/office/drawing/2014/main" id="{D01B4DB1-C5C6-4088-9377-053C99A193D7}"/>
                </a:ext>
              </a:extLst>
            </p:cNvPr>
            <p:cNvSpPr/>
            <p:nvPr/>
          </p:nvSpPr>
          <p:spPr>
            <a:xfrm>
              <a:off x="6662100" y="507993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8" name="Freeform: Shape 87">
              <a:extLst>
                <a:ext uri="{FF2B5EF4-FFF2-40B4-BE49-F238E27FC236}">
                  <a16:creationId xmlns:a16="http://schemas.microsoft.com/office/drawing/2014/main" id="{497DF527-885D-4755-8CB4-7DB805FA0D22}"/>
                </a:ext>
              </a:extLst>
            </p:cNvPr>
            <p:cNvSpPr/>
            <p:nvPr/>
          </p:nvSpPr>
          <p:spPr>
            <a:xfrm>
              <a:off x="7126818" y="5079938"/>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89" name="Freeform: Shape 88">
              <a:extLst>
                <a:ext uri="{FF2B5EF4-FFF2-40B4-BE49-F238E27FC236}">
                  <a16:creationId xmlns:a16="http://schemas.microsoft.com/office/drawing/2014/main" id="{4F6C9B62-6397-4229-8FFB-AA58D16A5226}"/>
                </a:ext>
              </a:extLst>
            </p:cNvPr>
            <p:cNvSpPr/>
            <p:nvPr/>
          </p:nvSpPr>
          <p:spPr>
            <a:xfrm>
              <a:off x="7591599"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0" name="Freeform: Shape 89">
              <a:extLst>
                <a:ext uri="{FF2B5EF4-FFF2-40B4-BE49-F238E27FC236}">
                  <a16:creationId xmlns:a16="http://schemas.microsoft.com/office/drawing/2014/main" id="{D49F5327-AE3E-4FE1-88E3-B5308AD2D2A6}"/>
                </a:ext>
              </a:extLst>
            </p:cNvPr>
            <p:cNvSpPr/>
            <p:nvPr/>
          </p:nvSpPr>
          <p:spPr>
            <a:xfrm>
              <a:off x="8056318" y="4634749"/>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1" name="Freeform: Shape 90">
              <a:extLst>
                <a:ext uri="{FF2B5EF4-FFF2-40B4-BE49-F238E27FC236}">
                  <a16:creationId xmlns:a16="http://schemas.microsoft.com/office/drawing/2014/main" id="{B93BFC5C-2410-4BA5-A1B1-320C4BB221DE}"/>
                </a:ext>
              </a:extLst>
            </p:cNvPr>
            <p:cNvSpPr/>
            <p:nvPr/>
          </p:nvSpPr>
          <p:spPr>
            <a:xfrm>
              <a:off x="7134779" y="329706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2" name="Freeform: Shape 91">
              <a:extLst>
                <a:ext uri="{FF2B5EF4-FFF2-40B4-BE49-F238E27FC236}">
                  <a16:creationId xmlns:a16="http://schemas.microsoft.com/office/drawing/2014/main" id="{41976B51-2E68-4636-B2BC-48626A4BA6C8}"/>
                </a:ext>
              </a:extLst>
            </p:cNvPr>
            <p:cNvSpPr/>
            <p:nvPr/>
          </p:nvSpPr>
          <p:spPr>
            <a:xfrm>
              <a:off x="6667946" y="4189497"/>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3" name="Freeform: Shape 92">
              <a:extLst>
                <a:ext uri="{FF2B5EF4-FFF2-40B4-BE49-F238E27FC236}">
                  <a16:creationId xmlns:a16="http://schemas.microsoft.com/office/drawing/2014/main" id="{EF7C5BA9-F002-45E0-BC78-1C97897610C8}"/>
                </a:ext>
              </a:extLst>
            </p:cNvPr>
            <p:cNvSpPr/>
            <p:nvPr/>
          </p:nvSpPr>
          <p:spPr>
            <a:xfrm>
              <a:off x="7134779" y="4189497"/>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4" name="Freeform: Shape 93">
              <a:extLst>
                <a:ext uri="{FF2B5EF4-FFF2-40B4-BE49-F238E27FC236}">
                  <a16:creationId xmlns:a16="http://schemas.microsoft.com/office/drawing/2014/main" id="{5E16306D-F956-47C5-BF3A-31E1638C059A}"/>
                </a:ext>
              </a:extLst>
            </p:cNvPr>
            <p:cNvSpPr/>
            <p:nvPr/>
          </p:nvSpPr>
          <p:spPr>
            <a:xfrm>
              <a:off x="7599498" y="3297066"/>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5" name="Freeform: Shape 94">
              <a:extLst>
                <a:ext uri="{FF2B5EF4-FFF2-40B4-BE49-F238E27FC236}">
                  <a16:creationId xmlns:a16="http://schemas.microsoft.com/office/drawing/2014/main" id="{1759EBC1-D505-44D2-BD04-BEB01577473A}"/>
                </a:ext>
              </a:extLst>
            </p:cNvPr>
            <p:cNvSpPr/>
            <p:nvPr/>
          </p:nvSpPr>
          <p:spPr>
            <a:xfrm>
              <a:off x="8064279" y="3297066"/>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6" name="Freeform: Shape 95">
              <a:extLst>
                <a:ext uri="{FF2B5EF4-FFF2-40B4-BE49-F238E27FC236}">
                  <a16:creationId xmlns:a16="http://schemas.microsoft.com/office/drawing/2014/main" id="{E10912A0-B4CF-44C0-A187-E9FB5E56BA50}"/>
                </a:ext>
              </a:extLst>
            </p:cNvPr>
            <p:cNvSpPr/>
            <p:nvPr/>
          </p:nvSpPr>
          <p:spPr>
            <a:xfrm>
              <a:off x="8533475" y="329706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7" name="Freeform: Shape 96">
              <a:extLst>
                <a:ext uri="{FF2B5EF4-FFF2-40B4-BE49-F238E27FC236}">
                  <a16:creationId xmlns:a16="http://schemas.microsoft.com/office/drawing/2014/main" id="{88E1D0E0-26A1-4111-8CDA-13C29C79B7E3}"/>
                </a:ext>
              </a:extLst>
            </p:cNvPr>
            <p:cNvSpPr/>
            <p:nvPr/>
          </p:nvSpPr>
          <p:spPr>
            <a:xfrm>
              <a:off x="8998754" y="3289851"/>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98" name="Freeform: Shape 97">
              <a:extLst>
                <a:ext uri="{FF2B5EF4-FFF2-40B4-BE49-F238E27FC236}">
                  <a16:creationId xmlns:a16="http://schemas.microsoft.com/office/drawing/2014/main" id="{1B619B5B-E76D-4249-A762-11FDA52A7274}"/>
                </a:ext>
              </a:extLst>
            </p:cNvPr>
            <p:cNvSpPr/>
            <p:nvPr/>
          </p:nvSpPr>
          <p:spPr>
            <a:xfrm>
              <a:off x="9002112" y="2845843"/>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grpSp>
      <p:sp>
        <p:nvSpPr>
          <p:cNvPr id="2" name="Title 1">
            <a:extLst>
              <a:ext uri="{FF2B5EF4-FFF2-40B4-BE49-F238E27FC236}">
                <a16:creationId xmlns:a16="http://schemas.microsoft.com/office/drawing/2014/main" id="{D5D7B7DC-FC6E-4805-BFFF-9B6AAC101C8B}"/>
              </a:ext>
            </a:extLst>
          </p:cNvPr>
          <p:cNvSpPr>
            <a:spLocks noGrp="1"/>
          </p:cNvSpPr>
          <p:nvPr>
            <p:ph type="title" idx="4294967295"/>
          </p:nvPr>
        </p:nvSpPr>
        <p:spPr>
          <a:xfrm>
            <a:off x="456167" y="2111682"/>
            <a:ext cx="1839112" cy="557605"/>
          </a:xfrm>
        </p:spPr>
        <p:txBody>
          <a:bodyPr/>
          <a:lstStyle/>
          <a:p>
            <a:r>
              <a:rPr lang="en-US" sz="4400">
                <a:solidFill>
                  <a:schemeClr val="accent2"/>
                </a:solidFill>
              </a:rPr>
              <a:t>Demo</a:t>
            </a:r>
            <a:endParaRPr lang="en-US" sz="4400"/>
          </a:p>
        </p:txBody>
      </p:sp>
      <p:pic>
        <p:nvPicPr>
          <p:cNvPr id="123" name="Picture 122">
            <a:extLst>
              <a:ext uri="{FF2B5EF4-FFF2-40B4-BE49-F238E27FC236}">
                <a16:creationId xmlns:a16="http://schemas.microsoft.com/office/drawing/2014/main" id="{E441A59F-5F44-4E1E-BA02-6ADBFBEA8B1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4652847" y="1367531"/>
            <a:ext cx="1377020" cy="1234967"/>
          </a:xfrm>
          <a:custGeom>
            <a:avLst/>
            <a:gdLst>
              <a:gd name="connsiteX0" fmla="*/ 0 w 1888982"/>
              <a:gd name="connsiteY0" fmla="*/ 0 h 1694115"/>
              <a:gd name="connsiteX1" fmla="*/ 1888982 w 1888982"/>
              <a:gd name="connsiteY1" fmla="*/ 0 h 1694115"/>
              <a:gd name="connsiteX2" fmla="*/ 1888982 w 1888982"/>
              <a:gd name="connsiteY2" fmla="*/ 1694116 h 1694115"/>
              <a:gd name="connsiteX3" fmla="*/ 0 w 1888982"/>
              <a:gd name="connsiteY3" fmla="*/ 1694116 h 1694115"/>
            </a:gdLst>
            <a:ahLst/>
            <a:cxnLst>
              <a:cxn ang="0">
                <a:pos x="connsiteX0" y="connsiteY0"/>
              </a:cxn>
              <a:cxn ang="0">
                <a:pos x="connsiteX1" y="connsiteY1"/>
              </a:cxn>
              <a:cxn ang="0">
                <a:pos x="connsiteX2" y="connsiteY2"/>
              </a:cxn>
              <a:cxn ang="0">
                <a:pos x="connsiteX3" y="connsiteY3"/>
              </a:cxn>
            </a:cxnLst>
            <a:rect l="l" t="t" r="r" b="b"/>
            <a:pathLst>
              <a:path w="1888982" h="1694115">
                <a:moveTo>
                  <a:pt x="0" y="0"/>
                </a:moveTo>
                <a:lnTo>
                  <a:pt x="1888982" y="0"/>
                </a:lnTo>
                <a:lnTo>
                  <a:pt x="1888982" y="1694116"/>
                </a:lnTo>
                <a:lnTo>
                  <a:pt x="0" y="1694116"/>
                </a:lnTo>
                <a:close/>
              </a:path>
            </a:pathLst>
          </a:custGeom>
        </p:spPr>
      </p:pic>
      <p:grpSp>
        <p:nvGrpSpPr>
          <p:cNvPr id="124" name="Group 123">
            <a:extLst>
              <a:ext uri="{FF2B5EF4-FFF2-40B4-BE49-F238E27FC236}">
                <a16:creationId xmlns:a16="http://schemas.microsoft.com/office/drawing/2014/main" id="{674023C8-9701-43ED-95E9-D8315CB4EAC2}"/>
              </a:ext>
            </a:extLst>
          </p:cNvPr>
          <p:cNvGrpSpPr/>
          <p:nvPr/>
        </p:nvGrpSpPr>
        <p:grpSpPr>
          <a:xfrm flipH="1">
            <a:off x="5945246" y="2194402"/>
            <a:ext cx="917887" cy="392166"/>
            <a:chOff x="2439036" y="3890855"/>
            <a:chExt cx="1567182" cy="669577"/>
          </a:xfrm>
        </p:grpSpPr>
        <p:sp>
          <p:nvSpPr>
            <p:cNvPr id="125" name="Freeform: Shape 124">
              <a:extLst>
                <a:ext uri="{FF2B5EF4-FFF2-40B4-BE49-F238E27FC236}">
                  <a16:creationId xmlns:a16="http://schemas.microsoft.com/office/drawing/2014/main" id="{AD1EFD01-1517-41C3-9775-D37F6C99AEE5}"/>
                </a:ext>
              </a:extLst>
            </p:cNvPr>
            <p:cNvSpPr/>
            <p:nvPr/>
          </p:nvSpPr>
          <p:spPr>
            <a:xfrm>
              <a:off x="2439036" y="3890855"/>
              <a:ext cx="477579" cy="669577"/>
            </a:xfrm>
            <a:custGeom>
              <a:avLst/>
              <a:gdLst>
                <a:gd name="connsiteX0" fmla="*/ 30627 w 477579"/>
                <a:gd name="connsiteY0" fmla="*/ 669578 h 669577"/>
                <a:gd name="connsiteX1" fmla="*/ 5330 w 477579"/>
                <a:gd name="connsiteY1" fmla="*/ 656257 h 669577"/>
                <a:gd name="connsiteX2" fmla="*/ 13335 w 477579"/>
                <a:gd name="connsiteY2" fmla="*/ 613790 h 669577"/>
                <a:gd name="connsiteX3" fmla="*/ 396333 w 477579"/>
                <a:gd name="connsiteY3" fmla="*/ 352693 h 669577"/>
                <a:gd name="connsiteX4" fmla="*/ 36004 w 477579"/>
                <a:gd name="connsiteY4" fmla="*/ 54079 h 669577"/>
                <a:gd name="connsiteX5" fmla="*/ 31971 w 477579"/>
                <a:gd name="connsiteY5" fmla="*/ 11062 h 669577"/>
                <a:gd name="connsiteX6" fmla="*/ 74988 w 477579"/>
                <a:gd name="connsiteY6" fmla="*/ 7030 h 669577"/>
                <a:gd name="connsiteX7" fmla="*/ 466541 w 477579"/>
                <a:gd name="connsiteY7" fmla="*/ 331552 h 669577"/>
                <a:gd name="connsiteX8" fmla="*/ 477540 w 477579"/>
                <a:gd name="connsiteY8" fmla="*/ 356482 h 669577"/>
                <a:gd name="connsiteX9" fmla="*/ 464219 w 477579"/>
                <a:gd name="connsiteY9" fmla="*/ 380312 h 669577"/>
                <a:gd name="connsiteX10" fmla="*/ 47675 w 477579"/>
                <a:gd name="connsiteY10" fmla="*/ 664262 h 669577"/>
                <a:gd name="connsiteX11" fmla="*/ 30627 w 477579"/>
                <a:gd name="connsiteY11" fmla="*/ 669578 h 66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79" h="669577">
                  <a:moveTo>
                    <a:pt x="30627" y="669578"/>
                  </a:moveTo>
                  <a:cubicBezTo>
                    <a:pt x="20850" y="669578"/>
                    <a:pt x="11257" y="664934"/>
                    <a:pt x="5330" y="656257"/>
                  </a:cubicBezTo>
                  <a:cubicBezTo>
                    <a:pt x="-4202" y="642325"/>
                    <a:pt x="-597" y="623322"/>
                    <a:pt x="13335" y="613790"/>
                  </a:cubicBezTo>
                  <a:lnTo>
                    <a:pt x="396333" y="352693"/>
                  </a:lnTo>
                  <a:lnTo>
                    <a:pt x="36004" y="54079"/>
                  </a:lnTo>
                  <a:cubicBezTo>
                    <a:pt x="22989" y="43325"/>
                    <a:pt x="21217" y="24078"/>
                    <a:pt x="31971" y="11062"/>
                  </a:cubicBezTo>
                  <a:cubicBezTo>
                    <a:pt x="42726" y="-1953"/>
                    <a:pt x="61973" y="-3725"/>
                    <a:pt x="74988" y="7030"/>
                  </a:cubicBezTo>
                  <a:lnTo>
                    <a:pt x="466541" y="331552"/>
                  </a:lnTo>
                  <a:cubicBezTo>
                    <a:pt x="473935" y="337662"/>
                    <a:pt x="478029" y="346889"/>
                    <a:pt x="477540" y="356482"/>
                  </a:cubicBezTo>
                  <a:cubicBezTo>
                    <a:pt x="477112" y="366075"/>
                    <a:pt x="472163" y="374874"/>
                    <a:pt x="464219" y="380312"/>
                  </a:cubicBezTo>
                  <a:lnTo>
                    <a:pt x="47675" y="664262"/>
                  </a:lnTo>
                  <a:cubicBezTo>
                    <a:pt x="42542" y="667867"/>
                    <a:pt x="36554" y="669578"/>
                    <a:pt x="30627" y="669578"/>
                  </a:cubicBezTo>
                  <a:close/>
                </a:path>
              </a:pathLst>
            </a:custGeom>
            <a:solidFill>
              <a:srgbClr val="6BBE4D"/>
            </a:solidFill>
            <a:ln w="610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26" name="Freeform: Shape 125">
              <a:extLst>
                <a:ext uri="{FF2B5EF4-FFF2-40B4-BE49-F238E27FC236}">
                  <a16:creationId xmlns:a16="http://schemas.microsoft.com/office/drawing/2014/main" id="{CCC6ADB3-2A67-48AD-B5BC-EB346DBE69BE}"/>
                </a:ext>
              </a:extLst>
            </p:cNvPr>
            <p:cNvSpPr/>
            <p:nvPr/>
          </p:nvSpPr>
          <p:spPr>
            <a:xfrm>
              <a:off x="2784945" y="3890855"/>
              <a:ext cx="477579" cy="669577"/>
            </a:xfrm>
            <a:custGeom>
              <a:avLst/>
              <a:gdLst>
                <a:gd name="connsiteX0" fmla="*/ 30627 w 477579"/>
                <a:gd name="connsiteY0" fmla="*/ 669578 h 669577"/>
                <a:gd name="connsiteX1" fmla="*/ 5330 w 477579"/>
                <a:gd name="connsiteY1" fmla="*/ 656257 h 669577"/>
                <a:gd name="connsiteX2" fmla="*/ 13335 w 477579"/>
                <a:gd name="connsiteY2" fmla="*/ 613790 h 669577"/>
                <a:gd name="connsiteX3" fmla="*/ 396333 w 477579"/>
                <a:gd name="connsiteY3" fmla="*/ 352693 h 669577"/>
                <a:gd name="connsiteX4" fmla="*/ 36004 w 477579"/>
                <a:gd name="connsiteY4" fmla="*/ 54079 h 669577"/>
                <a:gd name="connsiteX5" fmla="*/ 31971 w 477579"/>
                <a:gd name="connsiteY5" fmla="*/ 11062 h 669577"/>
                <a:gd name="connsiteX6" fmla="*/ 74988 w 477579"/>
                <a:gd name="connsiteY6" fmla="*/ 7030 h 669577"/>
                <a:gd name="connsiteX7" fmla="*/ 466541 w 477579"/>
                <a:gd name="connsiteY7" fmla="*/ 331552 h 669577"/>
                <a:gd name="connsiteX8" fmla="*/ 477540 w 477579"/>
                <a:gd name="connsiteY8" fmla="*/ 356482 h 669577"/>
                <a:gd name="connsiteX9" fmla="*/ 464219 w 477579"/>
                <a:gd name="connsiteY9" fmla="*/ 380312 h 669577"/>
                <a:gd name="connsiteX10" fmla="*/ 47675 w 477579"/>
                <a:gd name="connsiteY10" fmla="*/ 664262 h 669577"/>
                <a:gd name="connsiteX11" fmla="*/ 30627 w 477579"/>
                <a:gd name="connsiteY11" fmla="*/ 669578 h 66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79" h="669577">
                  <a:moveTo>
                    <a:pt x="30627" y="669578"/>
                  </a:moveTo>
                  <a:cubicBezTo>
                    <a:pt x="20850" y="669578"/>
                    <a:pt x="11257" y="664934"/>
                    <a:pt x="5330" y="656257"/>
                  </a:cubicBezTo>
                  <a:cubicBezTo>
                    <a:pt x="-4202" y="642325"/>
                    <a:pt x="-597" y="623322"/>
                    <a:pt x="13335" y="613790"/>
                  </a:cubicBezTo>
                  <a:lnTo>
                    <a:pt x="396333" y="352693"/>
                  </a:lnTo>
                  <a:lnTo>
                    <a:pt x="36004" y="54079"/>
                  </a:lnTo>
                  <a:cubicBezTo>
                    <a:pt x="22989" y="43325"/>
                    <a:pt x="21217" y="24078"/>
                    <a:pt x="31971" y="11062"/>
                  </a:cubicBezTo>
                  <a:cubicBezTo>
                    <a:pt x="42725" y="-1953"/>
                    <a:pt x="61973" y="-3725"/>
                    <a:pt x="74988" y="7030"/>
                  </a:cubicBezTo>
                  <a:lnTo>
                    <a:pt x="466541" y="331552"/>
                  </a:lnTo>
                  <a:cubicBezTo>
                    <a:pt x="473935" y="337662"/>
                    <a:pt x="478029" y="346889"/>
                    <a:pt x="477540" y="356482"/>
                  </a:cubicBezTo>
                  <a:cubicBezTo>
                    <a:pt x="477112" y="366075"/>
                    <a:pt x="472163" y="374874"/>
                    <a:pt x="464219" y="380312"/>
                  </a:cubicBezTo>
                  <a:lnTo>
                    <a:pt x="47675" y="664262"/>
                  </a:lnTo>
                  <a:cubicBezTo>
                    <a:pt x="42542" y="667867"/>
                    <a:pt x="36554" y="669578"/>
                    <a:pt x="30627" y="669578"/>
                  </a:cubicBezTo>
                  <a:close/>
                </a:path>
              </a:pathLst>
            </a:custGeom>
            <a:solidFill>
              <a:srgbClr val="6BBE4D"/>
            </a:solidFill>
            <a:ln w="610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27" name="Freeform: Shape 126">
              <a:extLst>
                <a:ext uri="{FF2B5EF4-FFF2-40B4-BE49-F238E27FC236}">
                  <a16:creationId xmlns:a16="http://schemas.microsoft.com/office/drawing/2014/main" id="{A2B85A4F-6705-4C55-A92B-71D0192C1F6C}"/>
                </a:ext>
              </a:extLst>
            </p:cNvPr>
            <p:cNvSpPr/>
            <p:nvPr/>
          </p:nvSpPr>
          <p:spPr>
            <a:xfrm>
              <a:off x="3161894" y="3890855"/>
              <a:ext cx="477579" cy="669577"/>
            </a:xfrm>
            <a:custGeom>
              <a:avLst/>
              <a:gdLst>
                <a:gd name="connsiteX0" fmla="*/ 30627 w 477579"/>
                <a:gd name="connsiteY0" fmla="*/ 669578 h 669577"/>
                <a:gd name="connsiteX1" fmla="*/ 5330 w 477579"/>
                <a:gd name="connsiteY1" fmla="*/ 656257 h 669577"/>
                <a:gd name="connsiteX2" fmla="*/ 13335 w 477579"/>
                <a:gd name="connsiteY2" fmla="*/ 613790 h 669577"/>
                <a:gd name="connsiteX3" fmla="*/ 396333 w 477579"/>
                <a:gd name="connsiteY3" fmla="*/ 352693 h 669577"/>
                <a:gd name="connsiteX4" fmla="*/ 36004 w 477579"/>
                <a:gd name="connsiteY4" fmla="*/ 54079 h 669577"/>
                <a:gd name="connsiteX5" fmla="*/ 31971 w 477579"/>
                <a:gd name="connsiteY5" fmla="*/ 11062 h 669577"/>
                <a:gd name="connsiteX6" fmla="*/ 74988 w 477579"/>
                <a:gd name="connsiteY6" fmla="*/ 7030 h 669577"/>
                <a:gd name="connsiteX7" fmla="*/ 466541 w 477579"/>
                <a:gd name="connsiteY7" fmla="*/ 331552 h 669577"/>
                <a:gd name="connsiteX8" fmla="*/ 477540 w 477579"/>
                <a:gd name="connsiteY8" fmla="*/ 356482 h 669577"/>
                <a:gd name="connsiteX9" fmla="*/ 464219 w 477579"/>
                <a:gd name="connsiteY9" fmla="*/ 380312 h 669577"/>
                <a:gd name="connsiteX10" fmla="*/ 47675 w 477579"/>
                <a:gd name="connsiteY10" fmla="*/ 664262 h 669577"/>
                <a:gd name="connsiteX11" fmla="*/ 30627 w 477579"/>
                <a:gd name="connsiteY11" fmla="*/ 669578 h 66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79" h="669577">
                  <a:moveTo>
                    <a:pt x="30627" y="669578"/>
                  </a:moveTo>
                  <a:cubicBezTo>
                    <a:pt x="20850" y="669578"/>
                    <a:pt x="11257" y="664934"/>
                    <a:pt x="5330" y="656257"/>
                  </a:cubicBezTo>
                  <a:cubicBezTo>
                    <a:pt x="-4202" y="642325"/>
                    <a:pt x="-597" y="623322"/>
                    <a:pt x="13335" y="613790"/>
                  </a:cubicBezTo>
                  <a:lnTo>
                    <a:pt x="396333" y="352693"/>
                  </a:lnTo>
                  <a:lnTo>
                    <a:pt x="36004" y="54079"/>
                  </a:lnTo>
                  <a:cubicBezTo>
                    <a:pt x="22989" y="43325"/>
                    <a:pt x="21217" y="24078"/>
                    <a:pt x="31971" y="11062"/>
                  </a:cubicBezTo>
                  <a:cubicBezTo>
                    <a:pt x="42725" y="-1953"/>
                    <a:pt x="61973" y="-3725"/>
                    <a:pt x="74988" y="7030"/>
                  </a:cubicBezTo>
                  <a:lnTo>
                    <a:pt x="466541" y="331552"/>
                  </a:lnTo>
                  <a:cubicBezTo>
                    <a:pt x="473935" y="337662"/>
                    <a:pt x="478029" y="346889"/>
                    <a:pt x="477540" y="356482"/>
                  </a:cubicBezTo>
                  <a:cubicBezTo>
                    <a:pt x="477112" y="366075"/>
                    <a:pt x="472163" y="374874"/>
                    <a:pt x="464219" y="380312"/>
                  </a:cubicBezTo>
                  <a:lnTo>
                    <a:pt x="47675" y="664262"/>
                  </a:lnTo>
                  <a:cubicBezTo>
                    <a:pt x="42542" y="667867"/>
                    <a:pt x="36554" y="669578"/>
                    <a:pt x="30627" y="669578"/>
                  </a:cubicBezTo>
                  <a:close/>
                </a:path>
              </a:pathLst>
            </a:custGeom>
            <a:solidFill>
              <a:srgbClr val="6BBE4D"/>
            </a:solidFill>
            <a:ln w="610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28" name="Freeform: Shape 127">
              <a:extLst>
                <a:ext uri="{FF2B5EF4-FFF2-40B4-BE49-F238E27FC236}">
                  <a16:creationId xmlns:a16="http://schemas.microsoft.com/office/drawing/2014/main" id="{231B014E-6958-4A32-9DFA-2889D474F409}"/>
                </a:ext>
              </a:extLst>
            </p:cNvPr>
            <p:cNvSpPr/>
            <p:nvPr/>
          </p:nvSpPr>
          <p:spPr>
            <a:xfrm>
              <a:off x="3528639" y="3890855"/>
              <a:ext cx="477579" cy="669577"/>
            </a:xfrm>
            <a:custGeom>
              <a:avLst/>
              <a:gdLst>
                <a:gd name="connsiteX0" fmla="*/ 30627 w 477579"/>
                <a:gd name="connsiteY0" fmla="*/ 669578 h 669577"/>
                <a:gd name="connsiteX1" fmla="*/ 5330 w 477579"/>
                <a:gd name="connsiteY1" fmla="*/ 656257 h 669577"/>
                <a:gd name="connsiteX2" fmla="*/ 13335 w 477579"/>
                <a:gd name="connsiteY2" fmla="*/ 613790 h 669577"/>
                <a:gd name="connsiteX3" fmla="*/ 396333 w 477579"/>
                <a:gd name="connsiteY3" fmla="*/ 352693 h 669577"/>
                <a:gd name="connsiteX4" fmla="*/ 36004 w 477579"/>
                <a:gd name="connsiteY4" fmla="*/ 54079 h 669577"/>
                <a:gd name="connsiteX5" fmla="*/ 31971 w 477579"/>
                <a:gd name="connsiteY5" fmla="*/ 11062 h 669577"/>
                <a:gd name="connsiteX6" fmla="*/ 74988 w 477579"/>
                <a:gd name="connsiteY6" fmla="*/ 7030 h 669577"/>
                <a:gd name="connsiteX7" fmla="*/ 466541 w 477579"/>
                <a:gd name="connsiteY7" fmla="*/ 331552 h 669577"/>
                <a:gd name="connsiteX8" fmla="*/ 477540 w 477579"/>
                <a:gd name="connsiteY8" fmla="*/ 356482 h 669577"/>
                <a:gd name="connsiteX9" fmla="*/ 464219 w 477579"/>
                <a:gd name="connsiteY9" fmla="*/ 380312 h 669577"/>
                <a:gd name="connsiteX10" fmla="*/ 47675 w 477579"/>
                <a:gd name="connsiteY10" fmla="*/ 664262 h 669577"/>
                <a:gd name="connsiteX11" fmla="*/ 30627 w 477579"/>
                <a:gd name="connsiteY11" fmla="*/ 669578 h 669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7579" h="669577">
                  <a:moveTo>
                    <a:pt x="30627" y="669578"/>
                  </a:moveTo>
                  <a:cubicBezTo>
                    <a:pt x="20850" y="669578"/>
                    <a:pt x="11257" y="664934"/>
                    <a:pt x="5330" y="656257"/>
                  </a:cubicBezTo>
                  <a:cubicBezTo>
                    <a:pt x="-4202" y="642325"/>
                    <a:pt x="-597" y="623322"/>
                    <a:pt x="13335" y="613790"/>
                  </a:cubicBezTo>
                  <a:lnTo>
                    <a:pt x="396333" y="352693"/>
                  </a:lnTo>
                  <a:lnTo>
                    <a:pt x="36004" y="54079"/>
                  </a:lnTo>
                  <a:cubicBezTo>
                    <a:pt x="22989" y="43325"/>
                    <a:pt x="21217" y="24078"/>
                    <a:pt x="31971" y="11062"/>
                  </a:cubicBezTo>
                  <a:cubicBezTo>
                    <a:pt x="42725" y="-1953"/>
                    <a:pt x="61973" y="-3725"/>
                    <a:pt x="74988" y="7030"/>
                  </a:cubicBezTo>
                  <a:lnTo>
                    <a:pt x="466541" y="331552"/>
                  </a:lnTo>
                  <a:cubicBezTo>
                    <a:pt x="473935" y="337662"/>
                    <a:pt x="478029" y="346889"/>
                    <a:pt x="477540" y="356482"/>
                  </a:cubicBezTo>
                  <a:cubicBezTo>
                    <a:pt x="477112" y="366075"/>
                    <a:pt x="472163" y="374874"/>
                    <a:pt x="464219" y="380312"/>
                  </a:cubicBezTo>
                  <a:lnTo>
                    <a:pt x="47675" y="664262"/>
                  </a:lnTo>
                  <a:cubicBezTo>
                    <a:pt x="42542" y="667867"/>
                    <a:pt x="36554" y="669578"/>
                    <a:pt x="30627" y="669578"/>
                  </a:cubicBezTo>
                  <a:close/>
                </a:path>
              </a:pathLst>
            </a:custGeom>
            <a:solidFill>
              <a:srgbClr val="6BBE4D"/>
            </a:solidFill>
            <a:ln w="610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131" name="Graphic 6">
            <a:extLst>
              <a:ext uri="{FF2B5EF4-FFF2-40B4-BE49-F238E27FC236}">
                <a16:creationId xmlns:a16="http://schemas.microsoft.com/office/drawing/2014/main" id="{108CDA28-D0BF-457E-A5BF-6FF37C41312C}"/>
              </a:ext>
            </a:extLst>
          </p:cNvPr>
          <p:cNvGrpSpPr/>
          <p:nvPr/>
        </p:nvGrpSpPr>
        <p:grpSpPr>
          <a:xfrm>
            <a:off x="6988504" y="3771569"/>
            <a:ext cx="1483068" cy="602561"/>
            <a:chOff x="5687823" y="1302032"/>
            <a:chExt cx="1483068" cy="602561"/>
          </a:xfrm>
          <a:solidFill>
            <a:schemeClr val="accent1"/>
          </a:solidFill>
        </p:grpSpPr>
        <p:sp>
          <p:nvSpPr>
            <p:cNvPr id="132" name="Freeform: Shape 131">
              <a:extLst>
                <a:ext uri="{FF2B5EF4-FFF2-40B4-BE49-F238E27FC236}">
                  <a16:creationId xmlns:a16="http://schemas.microsoft.com/office/drawing/2014/main" id="{53C37BD2-822E-4188-8477-128734E15E89}"/>
                </a:ext>
              </a:extLst>
            </p:cNvPr>
            <p:cNvSpPr/>
            <p:nvPr/>
          </p:nvSpPr>
          <p:spPr>
            <a:xfrm>
              <a:off x="5687875" y="1302032"/>
              <a:ext cx="1483016" cy="94426"/>
            </a:xfrm>
            <a:custGeom>
              <a:avLst/>
              <a:gdLst>
                <a:gd name="connsiteX0" fmla="*/ 1432410 w 1483016"/>
                <a:gd name="connsiteY0" fmla="*/ 60241 h 94426"/>
                <a:gd name="connsiteX1" fmla="*/ 1418788 w 1483016"/>
                <a:gd name="connsiteY1" fmla="*/ 45634 h 94426"/>
                <a:gd name="connsiteX2" fmla="*/ 1386518 w 1483016"/>
                <a:gd name="connsiteY2" fmla="*/ 15229 h 94426"/>
                <a:gd name="connsiteX3" fmla="*/ 1334876 w 1483016"/>
                <a:gd name="connsiteY3" fmla="*/ 0 h 94426"/>
                <a:gd name="connsiteX4" fmla="*/ 1334462 w 1483016"/>
                <a:gd name="connsiteY4" fmla="*/ 0 h 94426"/>
                <a:gd name="connsiteX5" fmla="*/ 1265105 w 1483016"/>
                <a:gd name="connsiteY5" fmla="*/ 29835 h 94426"/>
                <a:gd name="connsiteX6" fmla="*/ 1250342 w 1483016"/>
                <a:gd name="connsiteY6" fmla="*/ 45634 h 94426"/>
                <a:gd name="connsiteX7" fmla="*/ 1222475 w 1483016"/>
                <a:gd name="connsiteY7" fmla="*/ 72206 h 94426"/>
                <a:gd name="connsiteX8" fmla="*/ 1186320 w 1483016"/>
                <a:gd name="connsiteY8" fmla="*/ 82876 h 94426"/>
                <a:gd name="connsiteX9" fmla="*/ 1135921 w 1483016"/>
                <a:gd name="connsiteY9" fmla="*/ 60292 h 94426"/>
                <a:gd name="connsiteX10" fmla="*/ 1122298 w 1483016"/>
                <a:gd name="connsiteY10" fmla="*/ 45685 h 94426"/>
                <a:gd name="connsiteX11" fmla="*/ 1090028 w 1483016"/>
                <a:gd name="connsiteY11" fmla="*/ 15332 h 94426"/>
                <a:gd name="connsiteX12" fmla="*/ 1038386 w 1483016"/>
                <a:gd name="connsiteY12" fmla="*/ 104 h 94426"/>
                <a:gd name="connsiteX13" fmla="*/ 1037972 w 1483016"/>
                <a:gd name="connsiteY13" fmla="*/ 104 h 94426"/>
                <a:gd name="connsiteX14" fmla="*/ 968563 w 1483016"/>
                <a:gd name="connsiteY14" fmla="*/ 29939 h 94426"/>
                <a:gd name="connsiteX15" fmla="*/ 953800 w 1483016"/>
                <a:gd name="connsiteY15" fmla="*/ 45685 h 94426"/>
                <a:gd name="connsiteX16" fmla="*/ 925830 w 1483016"/>
                <a:gd name="connsiteY16" fmla="*/ 72258 h 94426"/>
                <a:gd name="connsiteX17" fmla="*/ 889624 w 1483016"/>
                <a:gd name="connsiteY17" fmla="*/ 82928 h 94426"/>
                <a:gd name="connsiteX18" fmla="*/ 839172 w 1483016"/>
                <a:gd name="connsiteY18" fmla="*/ 60344 h 94426"/>
                <a:gd name="connsiteX19" fmla="*/ 825550 w 1483016"/>
                <a:gd name="connsiteY19" fmla="*/ 45737 h 94426"/>
                <a:gd name="connsiteX20" fmla="*/ 793228 w 1483016"/>
                <a:gd name="connsiteY20" fmla="*/ 15332 h 94426"/>
                <a:gd name="connsiteX21" fmla="*/ 741431 w 1483016"/>
                <a:gd name="connsiteY21" fmla="*/ 104 h 94426"/>
                <a:gd name="connsiteX22" fmla="*/ 741016 w 1483016"/>
                <a:gd name="connsiteY22" fmla="*/ 104 h 94426"/>
                <a:gd name="connsiteX23" fmla="*/ 671659 w 1483016"/>
                <a:gd name="connsiteY23" fmla="*/ 29939 h 94426"/>
                <a:gd name="connsiteX24" fmla="*/ 656897 w 1483016"/>
                <a:gd name="connsiteY24" fmla="*/ 45737 h 94426"/>
                <a:gd name="connsiteX25" fmla="*/ 629030 w 1483016"/>
                <a:gd name="connsiteY25" fmla="*/ 72258 h 94426"/>
                <a:gd name="connsiteX26" fmla="*/ 592875 w 1483016"/>
                <a:gd name="connsiteY26" fmla="*/ 82928 h 94426"/>
                <a:gd name="connsiteX27" fmla="*/ 542528 w 1483016"/>
                <a:gd name="connsiteY27" fmla="*/ 60344 h 94426"/>
                <a:gd name="connsiteX28" fmla="*/ 528957 w 1483016"/>
                <a:gd name="connsiteY28" fmla="*/ 45737 h 94426"/>
                <a:gd name="connsiteX29" fmla="*/ 496687 w 1483016"/>
                <a:gd name="connsiteY29" fmla="*/ 15332 h 94426"/>
                <a:gd name="connsiteX30" fmla="*/ 444734 w 1483016"/>
                <a:gd name="connsiteY30" fmla="*/ 104 h 94426"/>
                <a:gd name="connsiteX31" fmla="*/ 444631 w 1483016"/>
                <a:gd name="connsiteY31" fmla="*/ 104 h 94426"/>
                <a:gd name="connsiteX32" fmla="*/ 375274 w 1483016"/>
                <a:gd name="connsiteY32" fmla="*/ 29939 h 94426"/>
                <a:gd name="connsiteX33" fmla="*/ 360511 w 1483016"/>
                <a:gd name="connsiteY33" fmla="*/ 45737 h 94426"/>
                <a:gd name="connsiteX34" fmla="*/ 332644 w 1483016"/>
                <a:gd name="connsiteY34" fmla="*/ 72309 h 94426"/>
                <a:gd name="connsiteX35" fmla="*/ 296489 w 1483016"/>
                <a:gd name="connsiteY35" fmla="*/ 82980 h 94426"/>
                <a:gd name="connsiteX36" fmla="*/ 246090 w 1483016"/>
                <a:gd name="connsiteY36" fmla="*/ 60396 h 94426"/>
                <a:gd name="connsiteX37" fmla="*/ 232468 w 1483016"/>
                <a:gd name="connsiteY37" fmla="*/ 45789 h 94426"/>
                <a:gd name="connsiteX38" fmla="*/ 200198 w 1483016"/>
                <a:gd name="connsiteY38" fmla="*/ 15384 h 94426"/>
                <a:gd name="connsiteX39" fmla="*/ 148555 w 1483016"/>
                <a:gd name="connsiteY39" fmla="*/ 155 h 94426"/>
                <a:gd name="connsiteX40" fmla="*/ 148141 w 1483016"/>
                <a:gd name="connsiteY40" fmla="*/ 155 h 94426"/>
                <a:gd name="connsiteX41" fmla="*/ 78784 w 1483016"/>
                <a:gd name="connsiteY41" fmla="*/ 29991 h 94426"/>
                <a:gd name="connsiteX42" fmla="*/ 64022 w 1483016"/>
                <a:gd name="connsiteY42" fmla="*/ 45789 h 94426"/>
                <a:gd name="connsiteX43" fmla="*/ 36155 w 1483016"/>
                <a:gd name="connsiteY43" fmla="*/ 72309 h 94426"/>
                <a:gd name="connsiteX44" fmla="*/ 0 w 1483016"/>
                <a:gd name="connsiteY44" fmla="*/ 82980 h 94426"/>
                <a:gd name="connsiteX45" fmla="*/ 52 w 1483016"/>
                <a:gd name="connsiteY45" fmla="*/ 94116 h 94426"/>
                <a:gd name="connsiteX46" fmla="*/ 42215 w 1483016"/>
                <a:gd name="connsiteY46" fmla="*/ 81633 h 94426"/>
                <a:gd name="connsiteX47" fmla="*/ 72258 w 1483016"/>
                <a:gd name="connsiteY47" fmla="*/ 53300 h 94426"/>
                <a:gd name="connsiteX48" fmla="*/ 86554 w 1483016"/>
                <a:gd name="connsiteY48" fmla="*/ 37968 h 94426"/>
                <a:gd name="connsiteX49" fmla="*/ 148245 w 1483016"/>
                <a:gd name="connsiteY49" fmla="*/ 11292 h 94426"/>
                <a:gd name="connsiteX50" fmla="*/ 148607 w 1483016"/>
                <a:gd name="connsiteY50" fmla="*/ 11292 h 94426"/>
                <a:gd name="connsiteX51" fmla="*/ 194189 w 1483016"/>
                <a:gd name="connsiteY51" fmla="*/ 24656 h 94426"/>
                <a:gd name="connsiteX52" fmla="*/ 224439 w 1483016"/>
                <a:gd name="connsiteY52" fmla="*/ 53300 h 94426"/>
                <a:gd name="connsiteX53" fmla="*/ 238580 w 1483016"/>
                <a:gd name="connsiteY53" fmla="*/ 68476 h 94426"/>
                <a:gd name="connsiteX54" fmla="*/ 296541 w 1483016"/>
                <a:gd name="connsiteY54" fmla="*/ 94220 h 94426"/>
                <a:gd name="connsiteX55" fmla="*/ 338704 w 1483016"/>
                <a:gd name="connsiteY55" fmla="*/ 81737 h 94426"/>
                <a:gd name="connsiteX56" fmla="*/ 368747 w 1483016"/>
                <a:gd name="connsiteY56" fmla="*/ 53403 h 94426"/>
                <a:gd name="connsiteX57" fmla="*/ 383043 w 1483016"/>
                <a:gd name="connsiteY57" fmla="*/ 38071 h 94426"/>
                <a:gd name="connsiteX58" fmla="*/ 444734 w 1483016"/>
                <a:gd name="connsiteY58" fmla="*/ 11395 h 94426"/>
                <a:gd name="connsiteX59" fmla="*/ 445097 w 1483016"/>
                <a:gd name="connsiteY59" fmla="*/ 11395 h 94426"/>
                <a:gd name="connsiteX60" fmla="*/ 490678 w 1483016"/>
                <a:gd name="connsiteY60" fmla="*/ 24759 h 94426"/>
                <a:gd name="connsiteX61" fmla="*/ 520928 w 1483016"/>
                <a:gd name="connsiteY61" fmla="*/ 53403 h 94426"/>
                <a:gd name="connsiteX62" fmla="*/ 535069 w 1483016"/>
                <a:gd name="connsiteY62" fmla="*/ 68528 h 94426"/>
                <a:gd name="connsiteX63" fmla="*/ 593031 w 1483016"/>
                <a:gd name="connsiteY63" fmla="*/ 94272 h 94426"/>
                <a:gd name="connsiteX64" fmla="*/ 635246 w 1483016"/>
                <a:gd name="connsiteY64" fmla="*/ 81788 h 94426"/>
                <a:gd name="connsiteX65" fmla="*/ 665236 w 1483016"/>
                <a:gd name="connsiteY65" fmla="*/ 53455 h 94426"/>
                <a:gd name="connsiteX66" fmla="*/ 679533 w 1483016"/>
                <a:gd name="connsiteY66" fmla="*/ 38123 h 94426"/>
                <a:gd name="connsiteX67" fmla="*/ 741275 w 1483016"/>
                <a:gd name="connsiteY67" fmla="*/ 11447 h 94426"/>
                <a:gd name="connsiteX68" fmla="*/ 741638 w 1483016"/>
                <a:gd name="connsiteY68" fmla="*/ 11447 h 94426"/>
                <a:gd name="connsiteX69" fmla="*/ 787272 w 1483016"/>
                <a:gd name="connsiteY69" fmla="*/ 24811 h 94426"/>
                <a:gd name="connsiteX70" fmla="*/ 817573 w 1483016"/>
                <a:gd name="connsiteY70" fmla="*/ 53455 h 94426"/>
                <a:gd name="connsiteX71" fmla="*/ 831714 w 1483016"/>
                <a:gd name="connsiteY71" fmla="*/ 68580 h 94426"/>
                <a:gd name="connsiteX72" fmla="*/ 889779 w 1483016"/>
                <a:gd name="connsiteY72" fmla="*/ 94323 h 94426"/>
                <a:gd name="connsiteX73" fmla="*/ 931994 w 1483016"/>
                <a:gd name="connsiteY73" fmla="*/ 81840 h 94426"/>
                <a:gd name="connsiteX74" fmla="*/ 962089 w 1483016"/>
                <a:gd name="connsiteY74" fmla="*/ 53455 h 94426"/>
                <a:gd name="connsiteX75" fmla="*/ 976385 w 1483016"/>
                <a:gd name="connsiteY75" fmla="*/ 38175 h 94426"/>
                <a:gd name="connsiteX76" fmla="*/ 1038179 w 1483016"/>
                <a:gd name="connsiteY76" fmla="*/ 11499 h 94426"/>
                <a:gd name="connsiteX77" fmla="*/ 1038542 w 1483016"/>
                <a:gd name="connsiteY77" fmla="*/ 11499 h 94426"/>
                <a:gd name="connsiteX78" fmla="*/ 1084123 w 1483016"/>
                <a:gd name="connsiteY78" fmla="*/ 24863 h 94426"/>
                <a:gd name="connsiteX79" fmla="*/ 1114373 w 1483016"/>
                <a:gd name="connsiteY79" fmla="*/ 53403 h 94426"/>
                <a:gd name="connsiteX80" fmla="*/ 1128514 w 1483016"/>
                <a:gd name="connsiteY80" fmla="*/ 68580 h 94426"/>
                <a:gd name="connsiteX81" fmla="*/ 1186475 w 1483016"/>
                <a:gd name="connsiteY81" fmla="*/ 94323 h 94426"/>
                <a:gd name="connsiteX82" fmla="*/ 1228639 w 1483016"/>
                <a:gd name="connsiteY82" fmla="*/ 81840 h 94426"/>
                <a:gd name="connsiteX83" fmla="*/ 1258682 w 1483016"/>
                <a:gd name="connsiteY83" fmla="*/ 53507 h 94426"/>
                <a:gd name="connsiteX84" fmla="*/ 1272977 w 1483016"/>
                <a:gd name="connsiteY84" fmla="*/ 38175 h 94426"/>
                <a:gd name="connsiteX85" fmla="*/ 1334720 w 1483016"/>
                <a:gd name="connsiteY85" fmla="*/ 11499 h 94426"/>
                <a:gd name="connsiteX86" fmla="*/ 1335083 w 1483016"/>
                <a:gd name="connsiteY86" fmla="*/ 11499 h 94426"/>
                <a:gd name="connsiteX87" fmla="*/ 1380665 w 1483016"/>
                <a:gd name="connsiteY87" fmla="*/ 24863 h 94426"/>
                <a:gd name="connsiteX88" fmla="*/ 1410914 w 1483016"/>
                <a:gd name="connsiteY88" fmla="*/ 53507 h 94426"/>
                <a:gd name="connsiteX89" fmla="*/ 1425055 w 1483016"/>
                <a:gd name="connsiteY89" fmla="*/ 68684 h 94426"/>
                <a:gd name="connsiteX90" fmla="*/ 1483017 w 1483016"/>
                <a:gd name="connsiteY90" fmla="*/ 94427 h 94426"/>
                <a:gd name="connsiteX91" fmla="*/ 1483017 w 1483016"/>
                <a:gd name="connsiteY91" fmla="*/ 83291 h 94426"/>
                <a:gd name="connsiteX92" fmla="*/ 1432410 w 1483016"/>
                <a:gd name="connsiteY92" fmla="*/ 60241 h 9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6">
                  <a:moveTo>
                    <a:pt x="1432410" y="60241"/>
                  </a:moveTo>
                  <a:cubicBezTo>
                    <a:pt x="1427748" y="55734"/>
                    <a:pt x="1423449" y="50813"/>
                    <a:pt x="1418788" y="45634"/>
                  </a:cubicBez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5"/>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0" y="45685"/>
                  </a:cubicBezTo>
                  <a:cubicBezTo>
                    <a:pt x="944633" y="55890"/>
                    <a:pt x="935982" y="65472"/>
                    <a:pt x="925830" y="72258"/>
                  </a:cubicBezTo>
                  <a:cubicBezTo>
                    <a:pt x="914746" y="79561"/>
                    <a:pt x="903557" y="82876"/>
                    <a:pt x="889624" y="82928"/>
                  </a:cubicBezTo>
                  <a:cubicBezTo>
                    <a:pt x="866936" y="82876"/>
                    <a:pt x="853003" y="73812"/>
                    <a:pt x="839172" y="60344"/>
                  </a:cubicBezTo>
                  <a:cubicBezTo>
                    <a:pt x="834563" y="55838"/>
                    <a:pt x="830212" y="50917"/>
                    <a:pt x="825550" y="45737"/>
                  </a:cubicBezTo>
                  <a:cubicBezTo>
                    <a:pt x="816071" y="35119"/>
                    <a:pt x="806229" y="24138"/>
                    <a:pt x="793228" y="15332"/>
                  </a:cubicBezTo>
                  <a:cubicBezTo>
                    <a:pt x="778207" y="5232"/>
                    <a:pt x="760803" y="104"/>
                    <a:pt x="741431" y="104"/>
                  </a:cubicBezTo>
                  <a:cubicBezTo>
                    <a:pt x="741275" y="104"/>
                    <a:pt x="741172" y="104"/>
                    <a:pt x="741016" y="104"/>
                  </a:cubicBezTo>
                  <a:cubicBezTo>
                    <a:pt x="705690" y="104"/>
                    <a:pt x="684505" y="17145"/>
                    <a:pt x="671659" y="29939"/>
                  </a:cubicBezTo>
                  <a:cubicBezTo>
                    <a:pt x="666428" y="35067"/>
                    <a:pt x="661610"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2"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6" y="25640"/>
                    <a:pt x="413759" y="11395"/>
                    <a:pt x="444734" y="11395"/>
                  </a:cubicBezTo>
                  <a:cubicBezTo>
                    <a:pt x="444838" y="11395"/>
                    <a:pt x="444993" y="11395"/>
                    <a:pt x="445097" y="11395"/>
                  </a:cubicBezTo>
                  <a:cubicBezTo>
                    <a:pt x="462242" y="11395"/>
                    <a:pt x="477574" y="15902"/>
                    <a:pt x="490678" y="24759"/>
                  </a:cubicBezTo>
                  <a:cubicBezTo>
                    <a:pt x="502592" y="32788"/>
                    <a:pt x="511864" y="43251"/>
                    <a:pt x="520928" y="53403"/>
                  </a:cubicBezTo>
                  <a:cubicBezTo>
                    <a:pt x="525487" y="58479"/>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8" y="43355"/>
                    <a:pt x="1114373" y="53403"/>
                  </a:cubicBezTo>
                  <a:cubicBezTo>
                    <a:pt x="1118931" y="58479"/>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1" y="48379"/>
                    <a:pt x="1268005" y="43147"/>
                    <a:pt x="1272977"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4" y="53507"/>
                  </a:cubicBezTo>
                  <a:cubicBezTo>
                    <a:pt x="1415472" y="58583"/>
                    <a:pt x="1420186" y="63866"/>
                    <a:pt x="1425055" y="68684"/>
                  </a:cubicBezTo>
                  <a:cubicBezTo>
                    <a:pt x="1438678" y="81996"/>
                    <a:pt x="1455201" y="94323"/>
                    <a:pt x="1483017" y="94427"/>
                  </a:cubicBezTo>
                  <a:lnTo>
                    <a:pt x="1483017" y="83291"/>
                  </a:lnTo>
                  <a:cubicBezTo>
                    <a:pt x="1460122" y="82773"/>
                    <a:pt x="1446292" y="73708"/>
                    <a:pt x="1432410" y="60241"/>
                  </a:cubicBezTo>
                  <a:close/>
                </a:path>
              </a:pathLst>
            </a:custGeom>
            <a:grpFill/>
            <a:ln w="517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33" name="Freeform: Shape 132">
              <a:extLst>
                <a:ext uri="{FF2B5EF4-FFF2-40B4-BE49-F238E27FC236}">
                  <a16:creationId xmlns:a16="http://schemas.microsoft.com/office/drawing/2014/main" id="{9AEDC73F-2FE6-4A87-AB31-59C69DCFD763}"/>
                </a:ext>
              </a:extLst>
            </p:cNvPr>
            <p:cNvSpPr/>
            <p:nvPr/>
          </p:nvSpPr>
          <p:spPr>
            <a:xfrm>
              <a:off x="5687823" y="1556099"/>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09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09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5 h 94427"/>
                <a:gd name="connsiteX58" fmla="*/ 445097 w 1483016"/>
                <a:gd name="connsiteY58" fmla="*/ 11395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3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3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0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7041"/>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093"/>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145"/>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09"/>
                  </a:cubicBezTo>
                  <a:cubicBezTo>
                    <a:pt x="321404" y="79716"/>
                    <a:pt x="310630" y="82928"/>
                    <a:pt x="296489" y="82980"/>
                  </a:cubicBezTo>
                  <a:cubicBezTo>
                    <a:pt x="273854" y="82928"/>
                    <a:pt x="259920" y="73863"/>
                    <a:pt x="246090" y="60396"/>
                  </a:cubicBezTo>
                  <a:cubicBezTo>
                    <a:pt x="241480" y="55890"/>
                    <a:pt x="237129" y="50969"/>
                    <a:pt x="232468" y="45789"/>
                  </a:cubicBezTo>
                  <a:cubicBezTo>
                    <a:pt x="222989" y="35171"/>
                    <a:pt x="213199" y="24189"/>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7"/>
                    <a:pt x="64022" y="45789"/>
                  </a:cubicBezTo>
                  <a:cubicBezTo>
                    <a:pt x="54854" y="55941"/>
                    <a:pt x="46255" y="65576"/>
                    <a:pt x="36155" y="72309"/>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5"/>
                    <a:pt x="444734" y="11395"/>
                  </a:cubicBezTo>
                  <a:cubicBezTo>
                    <a:pt x="444838" y="11395"/>
                    <a:pt x="444993" y="11395"/>
                    <a:pt x="445097" y="11395"/>
                  </a:cubicBezTo>
                  <a:cubicBezTo>
                    <a:pt x="462242" y="11395"/>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3"/>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3"/>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6"/>
                    <a:pt x="1425055" y="68684"/>
                  </a:cubicBezTo>
                  <a:cubicBezTo>
                    <a:pt x="1438678" y="81996"/>
                    <a:pt x="1455201" y="94323"/>
                    <a:pt x="1483017" y="94427"/>
                  </a:cubicBezTo>
                  <a:lnTo>
                    <a:pt x="1483017" y="83290"/>
                  </a:lnTo>
                  <a:cubicBezTo>
                    <a:pt x="1460329" y="83239"/>
                    <a:pt x="1446448" y="74174"/>
                    <a:pt x="1432618" y="60707"/>
                  </a:cubicBezTo>
                  <a:cubicBezTo>
                    <a:pt x="1427800" y="55734"/>
                    <a:pt x="1423449" y="50813"/>
                    <a:pt x="1418788" y="45634"/>
                  </a:cubicBezTo>
                  <a:close/>
                </a:path>
              </a:pathLst>
            </a:custGeom>
            <a:grpFill/>
            <a:ln w="517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sp>
          <p:nvSpPr>
            <p:cNvPr id="134" name="Freeform: Shape 133">
              <a:extLst>
                <a:ext uri="{FF2B5EF4-FFF2-40B4-BE49-F238E27FC236}">
                  <a16:creationId xmlns:a16="http://schemas.microsoft.com/office/drawing/2014/main" id="{08A32BEB-B3E3-4E7E-B7E2-D7E9B8C2091E}"/>
                </a:ext>
              </a:extLst>
            </p:cNvPr>
            <p:cNvSpPr/>
            <p:nvPr/>
          </p:nvSpPr>
          <p:spPr>
            <a:xfrm>
              <a:off x="5687823" y="1810166"/>
              <a:ext cx="1483016" cy="94427"/>
            </a:xfrm>
            <a:custGeom>
              <a:avLst/>
              <a:gdLst>
                <a:gd name="connsiteX0" fmla="*/ 1418788 w 1483016"/>
                <a:gd name="connsiteY0" fmla="*/ 45634 h 94427"/>
                <a:gd name="connsiteX1" fmla="*/ 1386518 w 1483016"/>
                <a:gd name="connsiteY1" fmla="*/ 15229 h 94427"/>
                <a:gd name="connsiteX2" fmla="*/ 1334876 w 1483016"/>
                <a:gd name="connsiteY2" fmla="*/ 0 h 94427"/>
                <a:gd name="connsiteX3" fmla="*/ 1334462 w 1483016"/>
                <a:gd name="connsiteY3" fmla="*/ 0 h 94427"/>
                <a:gd name="connsiteX4" fmla="*/ 1265105 w 1483016"/>
                <a:gd name="connsiteY4" fmla="*/ 29835 h 94427"/>
                <a:gd name="connsiteX5" fmla="*/ 1250342 w 1483016"/>
                <a:gd name="connsiteY5" fmla="*/ 45634 h 94427"/>
                <a:gd name="connsiteX6" fmla="*/ 1222475 w 1483016"/>
                <a:gd name="connsiteY6" fmla="*/ 72206 h 94427"/>
                <a:gd name="connsiteX7" fmla="*/ 1186320 w 1483016"/>
                <a:gd name="connsiteY7" fmla="*/ 82876 h 94427"/>
                <a:gd name="connsiteX8" fmla="*/ 1135921 w 1483016"/>
                <a:gd name="connsiteY8" fmla="*/ 60292 h 94427"/>
                <a:gd name="connsiteX9" fmla="*/ 1122298 w 1483016"/>
                <a:gd name="connsiteY9" fmla="*/ 45686 h 94427"/>
                <a:gd name="connsiteX10" fmla="*/ 1090028 w 1483016"/>
                <a:gd name="connsiteY10" fmla="*/ 15332 h 94427"/>
                <a:gd name="connsiteX11" fmla="*/ 1038386 w 1483016"/>
                <a:gd name="connsiteY11" fmla="*/ 104 h 94427"/>
                <a:gd name="connsiteX12" fmla="*/ 1037972 w 1483016"/>
                <a:gd name="connsiteY12" fmla="*/ 104 h 94427"/>
                <a:gd name="connsiteX13" fmla="*/ 968563 w 1483016"/>
                <a:gd name="connsiteY13" fmla="*/ 29939 h 94427"/>
                <a:gd name="connsiteX14" fmla="*/ 953801 w 1483016"/>
                <a:gd name="connsiteY14" fmla="*/ 45686 h 94427"/>
                <a:gd name="connsiteX15" fmla="*/ 925830 w 1483016"/>
                <a:gd name="connsiteY15" fmla="*/ 72258 h 94427"/>
                <a:gd name="connsiteX16" fmla="*/ 889624 w 1483016"/>
                <a:gd name="connsiteY16" fmla="*/ 82928 h 94427"/>
                <a:gd name="connsiteX17" fmla="*/ 839173 w 1483016"/>
                <a:gd name="connsiteY17" fmla="*/ 60344 h 94427"/>
                <a:gd name="connsiteX18" fmla="*/ 825550 w 1483016"/>
                <a:gd name="connsiteY18" fmla="*/ 45737 h 94427"/>
                <a:gd name="connsiteX19" fmla="*/ 793229 w 1483016"/>
                <a:gd name="connsiteY19" fmla="*/ 15332 h 94427"/>
                <a:gd name="connsiteX20" fmla="*/ 741431 w 1483016"/>
                <a:gd name="connsiteY20" fmla="*/ 104 h 94427"/>
                <a:gd name="connsiteX21" fmla="*/ 741016 w 1483016"/>
                <a:gd name="connsiteY21" fmla="*/ 104 h 94427"/>
                <a:gd name="connsiteX22" fmla="*/ 671660 w 1483016"/>
                <a:gd name="connsiteY22" fmla="*/ 29939 h 94427"/>
                <a:gd name="connsiteX23" fmla="*/ 656897 w 1483016"/>
                <a:gd name="connsiteY23" fmla="*/ 45737 h 94427"/>
                <a:gd name="connsiteX24" fmla="*/ 629030 w 1483016"/>
                <a:gd name="connsiteY24" fmla="*/ 72258 h 94427"/>
                <a:gd name="connsiteX25" fmla="*/ 592875 w 1483016"/>
                <a:gd name="connsiteY25" fmla="*/ 82928 h 94427"/>
                <a:gd name="connsiteX26" fmla="*/ 542528 w 1483016"/>
                <a:gd name="connsiteY26" fmla="*/ 60344 h 94427"/>
                <a:gd name="connsiteX27" fmla="*/ 528957 w 1483016"/>
                <a:gd name="connsiteY27" fmla="*/ 45737 h 94427"/>
                <a:gd name="connsiteX28" fmla="*/ 496687 w 1483016"/>
                <a:gd name="connsiteY28" fmla="*/ 15332 h 94427"/>
                <a:gd name="connsiteX29" fmla="*/ 444734 w 1483016"/>
                <a:gd name="connsiteY29" fmla="*/ 104 h 94427"/>
                <a:gd name="connsiteX30" fmla="*/ 444631 w 1483016"/>
                <a:gd name="connsiteY30" fmla="*/ 104 h 94427"/>
                <a:gd name="connsiteX31" fmla="*/ 375274 w 1483016"/>
                <a:gd name="connsiteY31" fmla="*/ 29939 h 94427"/>
                <a:gd name="connsiteX32" fmla="*/ 360511 w 1483016"/>
                <a:gd name="connsiteY32" fmla="*/ 45737 h 94427"/>
                <a:gd name="connsiteX33" fmla="*/ 332644 w 1483016"/>
                <a:gd name="connsiteY33" fmla="*/ 72310 h 94427"/>
                <a:gd name="connsiteX34" fmla="*/ 296489 w 1483016"/>
                <a:gd name="connsiteY34" fmla="*/ 82980 h 94427"/>
                <a:gd name="connsiteX35" fmla="*/ 246090 w 1483016"/>
                <a:gd name="connsiteY35" fmla="*/ 60396 h 94427"/>
                <a:gd name="connsiteX36" fmla="*/ 232468 w 1483016"/>
                <a:gd name="connsiteY36" fmla="*/ 45789 h 94427"/>
                <a:gd name="connsiteX37" fmla="*/ 200198 w 1483016"/>
                <a:gd name="connsiteY37" fmla="*/ 15384 h 94427"/>
                <a:gd name="connsiteX38" fmla="*/ 148555 w 1483016"/>
                <a:gd name="connsiteY38" fmla="*/ 155 h 94427"/>
                <a:gd name="connsiteX39" fmla="*/ 148141 w 1483016"/>
                <a:gd name="connsiteY39" fmla="*/ 155 h 94427"/>
                <a:gd name="connsiteX40" fmla="*/ 78784 w 1483016"/>
                <a:gd name="connsiteY40" fmla="*/ 29991 h 94427"/>
                <a:gd name="connsiteX41" fmla="*/ 64022 w 1483016"/>
                <a:gd name="connsiteY41" fmla="*/ 45789 h 94427"/>
                <a:gd name="connsiteX42" fmla="*/ 36155 w 1483016"/>
                <a:gd name="connsiteY42" fmla="*/ 72310 h 94427"/>
                <a:gd name="connsiteX43" fmla="*/ 0 w 1483016"/>
                <a:gd name="connsiteY43" fmla="*/ 82980 h 94427"/>
                <a:gd name="connsiteX44" fmla="*/ 52 w 1483016"/>
                <a:gd name="connsiteY44" fmla="*/ 94116 h 94427"/>
                <a:gd name="connsiteX45" fmla="*/ 42215 w 1483016"/>
                <a:gd name="connsiteY45" fmla="*/ 81633 h 94427"/>
                <a:gd name="connsiteX46" fmla="*/ 72258 w 1483016"/>
                <a:gd name="connsiteY46" fmla="*/ 53300 h 94427"/>
                <a:gd name="connsiteX47" fmla="*/ 86554 w 1483016"/>
                <a:gd name="connsiteY47" fmla="*/ 37968 h 94427"/>
                <a:gd name="connsiteX48" fmla="*/ 148245 w 1483016"/>
                <a:gd name="connsiteY48" fmla="*/ 11292 h 94427"/>
                <a:gd name="connsiteX49" fmla="*/ 148607 w 1483016"/>
                <a:gd name="connsiteY49" fmla="*/ 11292 h 94427"/>
                <a:gd name="connsiteX50" fmla="*/ 194189 w 1483016"/>
                <a:gd name="connsiteY50" fmla="*/ 24656 h 94427"/>
                <a:gd name="connsiteX51" fmla="*/ 224439 w 1483016"/>
                <a:gd name="connsiteY51" fmla="*/ 53300 h 94427"/>
                <a:gd name="connsiteX52" fmla="*/ 238580 w 1483016"/>
                <a:gd name="connsiteY52" fmla="*/ 68476 h 94427"/>
                <a:gd name="connsiteX53" fmla="*/ 296541 w 1483016"/>
                <a:gd name="connsiteY53" fmla="*/ 94220 h 94427"/>
                <a:gd name="connsiteX54" fmla="*/ 338704 w 1483016"/>
                <a:gd name="connsiteY54" fmla="*/ 81737 h 94427"/>
                <a:gd name="connsiteX55" fmla="*/ 368747 w 1483016"/>
                <a:gd name="connsiteY55" fmla="*/ 53403 h 94427"/>
                <a:gd name="connsiteX56" fmla="*/ 383043 w 1483016"/>
                <a:gd name="connsiteY56" fmla="*/ 38071 h 94427"/>
                <a:gd name="connsiteX57" fmla="*/ 444734 w 1483016"/>
                <a:gd name="connsiteY57" fmla="*/ 11396 h 94427"/>
                <a:gd name="connsiteX58" fmla="*/ 445097 w 1483016"/>
                <a:gd name="connsiteY58" fmla="*/ 11396 h 94427"/>
                <a:gd name="connsiteX59" fmla="*/ 490679 w 1483016"/>
                <a:gd name="connsiteY59" fmla="*/ 24759 h 94427"/>
                <a:gd name="connsiteX60" fmla="*/ 520928 w 1483016"/>
                <a:gd name="connsiteY60" fmla="*/ 53403 h 94427"/>
                <a:gd name="connsiteX61" fmla="*/ 535069 w 1483016"/>
                <a:gd name="connsiteY61" fmla="*/ 68528 h 94427"/>
                <a:gd name="connsiteX62" fmla="*/ 593031 w 1483016"/>
                <a:gd name="connsiteY62" fmla="*/ 94272 h 94427"/>
                <a:gd name="connsiteX63" fmla="*/ 635246 w 1483016"/>
                <a:gd name="connsiteY63" fmla="*/ 81788 h 94427"/>
                <a:gd name="connsiteX64" fmla="*/ 665236 w 1483016"/>
                <a:gd name="connsiteY64" fmla="*/ 53455 h 94427"/>
                <a:gd name="connsiteX65" fmla="*/ 679533 w 1483016"/>
                <a:gd name="connsiteY65" fmla="*/ 38123 h 94427"/>
                <a:gd name="connsiteX66" fmla="*/ 741275 w 1483016"/>
                <a:gd name="connsiteY66" fmla="*/ 11447 h 94427"/>
                <a:gd name="connsiteX67" fmla="*/ 741638 w 1483016"/>
                <a:gd name="connsiteY67" fmla="*/ 11447 h 94427"/>
                <a:gd name="connsiteX68" fmla="*/ 787272 w 1483016"/>
                <a:gd name="connsiteY68" fmla="*/ 24811 h 94427"/>
                <a:gd name="connsiteX69" fmla="*/ 817573 w 1483016"/>
                <a:gd name="connsiteY69" fmla="*/ 53455 h 94427"/>
                <a:gd name="connsiteX70" fmla="*/ 831714 w 1483016"/>
                <a:gd name="connsiteY70" fmla="*/ 68580 h 94427"/>
                <a:gd name="connsiteX71" fmla="*/ 889779 w 1483016"/>
                <a:gd name="connsiteY71" fmla="*/ 94324 h 94427"/>
                <a:gd name="connsiteX72" fmla="*/ 931994 w 1483016"/>
                <a:gd name="connsiteY72" fmla="*/ 81840 h 94427"/>
                <a:gd name="connsiteX73" fmla="*/ 962089 w 1483016"/>
                <a:gd name="connsiteY73" fmla="*/ 53455 h 94427"/>
                <a:gd name="connsiteX74" fmla="*/ 976385 w 1483016"/>
                <a:gd name="connsiteY74" fmla="*/ 38175 h 94427"/>
                <a:gd name="connsiteX75" fmla="*/ 1038179 w 1483016"/>
                <a:gd name="connsiteY75" fmla="*/ 11499 h 94427"/>
                <a:gd name="connsiteX76" fmla="*/ 1038542 w 1483016"/>
                <a:gd name="connsiteY76" fmla="*/ 11499 h 94427"/>
                <a:gd name="connsiteX77" fmla="*/ 1084123 w 1483016"/>
                <a:gd name="connsiteY77" fmla="*/ 24863 h 94427"/>
                <a:gd name="connsiteX78" fmla="*/ 1114374 w 1483016"/>
                <a:gd name="connsiteY78" fmla="*/ 53403 h 94427"/>
                <a:gd name="connsiteX79" fmla="*/ 1128514 w 1483016"/>
                <a:gd name="connsiteY79" fmla="*/ 68580 h 94427"/>
                <a:gd name="connsiteX80" fmla="*/ 1186475 w 1483016"/>
                <a:gd name="connsiteY80" fmla="*/ 94324 h 94427"/>
                <a:gd name="connsiteX81" fmla="*/ 1228639 w 1483016"/>
                <a:gd name="connsiteY81" fmla="*/ 81840 h 94427"/>
                <a:gd name="connsiteX82" fmla="*/ 1258682 w 1483016"/>
                <a:gd name="connsiteY82" fmla="*/ 53507 h 94427"/>
                <a:gd name="connsiteX83" fmla="*/ 1272978 w 1483016"/>
                <a:gd name="connsiteY83" fmla="*/ 38175 h 94427"/>
                <a:gd name="connsiteX84" fmla="*/ 1334720 w 1483016"/>
                <a:gd name="connsiteY84" fmla="*/ 11499 h 94427"/>
                <a:gd name="connsiteX85" fmla="*/ 1335083 w 1483016"/>
                <a:gd name="connsiteY85" fmla="*/ 11499 h 94427"/>
                <a:gd name="connsiteX86" fmla="*/ 1380665 w 1483016"/>
                <a:gd name="connsiteY86" fmla="*/ 24863 h 94427"/>
                <a:gd name="connsiteX87" fmla="*/ 1410915 w 1483016"/>
                <a:gd name="connsiteY87" fmla="*/ 53507 h 94427"/>
                <a:gd name="connsiteX88" fmla="*/ 1425055 w 1483016"/>
                <a:gd name="connsiteY88" fmla="*/ 68684 h 94427"/>
                <a:gd name="connsiteX89" fmla="*/ 1483017 w 1483016"/>
                <a:gd name="connsiteY89" fmla="*/ 94427 h 94427"/>
                <a:gd name="connsiteX90" fmla="*/ 1483017 w 1483016"/>
                <a:gd name="connsiteY90" fmla="*/ 83291 h 94427"/>
                <a:gd name="connsiteX91" fmla="*/ 1432618 w 1483016"/>
                <a:gd name="connsiteY91" fmla="*/ 60707 h 94427"/>
                <a:gd name="connsiteX92" fmla="*/ 1418788 w 1483016"/>
                <a:gd name="connsiteY92" fmla="*/ 45634 h 9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483016" h="94427">
                  <a:moveTo>
                    <a:pt x="1418788" y="45634"/>
                  </a:moveTo>
                  <a:cubicBezTo>
                    <a:pt x="1409309" y="35015"/>
                    <a:pt x="1399519" y="24034"/>
                    <a:pt x="1386518" y="15229"/>
                  </a:cubicBezTo>
                  <a:cubicBezTo>
                    <a:pt x="1371548" y="5128"/>
                    <a:pt x="1354196" y="0"/>
                    <a:pt x="1334876" y="0"/>
                  </a:cubicBezTo>
                  <a:cubicBezTo>
                    <a:pt x="1334720" y="0"/>
                    <a:pt x="1334616" y="0"/>
                    <a:pt x="1334462" y="0"/>
                  </a:cubicBezTo>
                  <a:cubicBezTo>
                    <a:pt x="1299135" y="0"/>
                    <a:pt x="1277950" y="16990"/>
                    <a:pt x="1265105" y="29835"/>
                  </a:cubicBezTo>
                  <a:cubicBezTo>
                    <a:pt x="1259873" y="34963"/>
                    <a:pt x="1255055" y="40402"/>
                    <a:pt x="1250342" y="45634"/>
                  </a:cubicBezTo>
                  <a:cubicBezTo>
                    <a:pt x="1241174" y="55786"/>
                    <a:pt x="1232575" y="65420"/>
                    <a:pt x="1222475" y="72206"/>
                  </a:cubicBezTo>
                  <a:cubicBezTo>
                    <a:pt x="1211235" y="79613"/>
                    <a:pt x="1200461" y="82824"/>
                    <a:pt x="1186320" y="82876"/>
                  </a:cubicBezTo>
                  <a:cubicBezTo>
                    <a:pt x="1163684" y="82824"/>
                    <a:pt x="1149751" y="73760"/>
                    <a:pt x="1135921" y="60292"/>
                  </a:cubicBezTo>
                  <a:cubicBezTo>
                    <a:pt x="1131259" y="55786"/>
                    <a:pt x="1126960" y="50865"/>
                    <a:pt x="1122298" y="45686"/>
                  </a:cubicBezTo>
                  <a:cubicBezTo>
                    <a:pt x="1112819" y="35067"/>
                    <a:pt x="1103030" y="24086"/>
                    <a:pt x="1090028" y="15332"/>
                  </a:cubicBezTo>
                  <a:cubicBezTo>
                    <a:pt x="1075059" y="5232"/>
                    <a:pt x="1057707" y="104"/>
                    <a:pt x="1038386" y="104"/>
                  </a:cubicBezTo>
                  <a:cubicBezTo>
                    <a:pt x="1038231" y="104"/>
                    <a:pt x="1038127" y="104"/>
                    <a:pt x="1037972" y="104"/>
                  </a:cubicBezTo>
                  <a:cubicBezTo>
                    <a:pt x="1002646" y="104"/>
                    <a:pt x="981409" y="17145"/>
                    <a:pt x="968563" y="29939"/>
                  </a:cubicBezTo>
                  <a:cubicBezTo>
                    <a:pt x="963332" y="35067"/>
                    <a:pt x="958514" y="40506"/>
                    <a:pt x="953801" y="45686"/>
                  </a:cubicBezTo>
                  <a:cubicBezTo>
                    <a:pt x="944633" y="55890"/>
                    <a:pt x="935982" y="65472"/>
                    <a:pt x="925830" y="72258"/>
                  </a:cubicBezTo>
                  <a:cubicBezTo>
                    <a:pt x="914746" y="79561"/>
                    <a:pt x="903557" y="82876"/>
                    <a:pt x="889624" y="82928"/>
                  </a:cubicBezTo>
                  <a:cubicBezTo>
                    <a:pt x="866936" y="82876"/>
                    <a:pt x="853003" y="73812"/>
                    <a:pt x="839173" y="60344"/>
                  </a:cubicBezTo>
                  <a:cubicBezTo>
                    <a:pt x="834563" y="55838"/>
                    <a:pt x="830212" y="50917"/>
                    <a:pt x="825550" y="45737"/>
                  </a:cubicBezTo>
                  <a:cubicBezTo>
                    <a:pt x="816071" y="35119"/>
                    <a:pt x="806229" y="24138"/>
                    <a:pt x="793229" y="15332"/>
                  </a:cubicBezTo>
                  <a:cubicBezTo>
                    <a:pt x="778207" y="5232"/>
                    <a:pt x="760803" y="104"/>
                    <a:pt x="741431" y="104"/>
                  </a:cubicBezTo>
                  <a:cubicBezTo>
                    <a:pt x="741275" y="104"/>
                    <a:pt x="741172" y="104"/>
                    <a:pt x="741016" y="104"/>
                  </a:cubicBezTo>
                  <a:cubicBezTo>
                    <a:pt x="705690" y="104"/>
                    <a:pt x="684505" y="17093"/>
                    <a:pt x="671660" y="29939"/>
                  </a:cubicBezTo>
                  <a:cubicBezTo>
                    <a:pt x="666428" y="35067"/>
                    <a:pt x="661611" y="40506"/>
                    <a:pt x="656897" y="45737"/>
                  </a:cubicBezTo>
                  <a:cubicBezTo>
                    <a:pt x="647729" y="55890"/>
                    <a:pt x="639130" y="65472"/>
                    <a:pt x="629030" y="72258"/>
                  </a:cubicBezTo>
                  <a:cubicBezTo>
                    <a:pt x="617945" y="79561"/>
                    <a:pt x="606757" y="82876"/>
                    <a:pt x="592875" y="82928"/>
                  </a:cubicBezTo>
                  <a:cubicBezTo>
                    <a:pt x="570240" y="82876"/>
                    <a:pt x="556358" y="73812"/>
                    <a:pt x="542528" y="60344"/>
                  </a:cubicBezTo>
                  <a:cubicBezTo>
                    <a:pt x="537918" y="55838"/>
                    <a:pt x="533515" y="50917"/>
                    <a:pt x="528957" y="45737"/>
                  </a:cubicBezTo>
                  <a:cubicBezTo>
                    <a:pt x="519478" y="35119"/>
                    <a:pt x="509688" y="24138"/>
                    <a:pt x="496687" y="15332"/>
                  </a:cubicBezTo>
                  <a:cubicBezTo>
                    <a:pt x="481666" y="5180"/>
                    <a:pt x="464417" y="52"/>
                    <a:pt x="444734" y="104"/>
                  </a:cubicBezTo>
                  <a:cubicBezTo>
                    <a:pt x="444682" y="104"/>
                    <a:pt x="444631" y="104"/>
                    <a:pt x="444631" y="104"/>
                  </a:cubicBezTo>
                  <a:cubicBezTo>
                    <a:pt x="409305" y="104"/>
                    <a:pt x="388119" y="17145"/>
                    <a:pt x="375274" y="29939"/>
                  </a:cubicBezTo>
                  <a:cubicBezTo>
                    <a:pt x="370094" y="35067"/>
                    <a:pt x="365225" y="40506"/>
                    <a:pt x="360511" y="45737"/>
                  </a:cubicBezTo>
                  <a:cubicBezTo>
                    <a:pt x="351343" y="55890"/>
                    <a:pt x="342745" y="65524"/>
                    <a:pt x="332644" y="72310"/>
                  </a:cubicBezTo>
                  <a:cubicBezTo>
                    <a:pt x="321404" y="79717"/>
                    <a:pt x="310630" y="82928"/>
                    <a:pt x="296489" y="82980"/>
                  </a:cubicBezTo>
                  <a:cubicBezTo>
                    <a:pt x="273854" y="82928"/>
                    <a:pt x="259920" y="73863"/>
                    <a:pt x="246090" y="60396"/>
                  </a:cubicBezTo>
                  <a:cubicBezTo>
                    <a:pt x="241480" y="55890"/>
                    <a:pt x="237129" y="50969"/>
                    <a:pt x="232468" y="45789"/>
                  </a:cubicBezTo>
                  <a:cubicBezTo>
                    <a:pt x="222989" y="35171"/>
                    <a:pt x="213199" y="24190"/>
                    <a:pt x="200198" y="15384"/>
                  </a:cubicBezTo>
                  <a:cubicBezTo>
                    <a:pt x="185228" y="5283"/>
                    <a:pt x="167876" y="155"/>
                    <a:pt x="148555" y="155"/>
                  </a:cubicBezTo>
                  <a:cubicBezTo>
                    <a:pt x="148400" y="155"/>
                    <a:pt x="148297" y="155"/>
                    <a:pt x="148141" y="155"/>
                  </a:cubicBezTo>
                  <a:cubicBezTo>
                    <a:pt x="112867" y="155"/>
                    <a:pt x="91630" y="17197"/>
                    <a:pt x="78784" y="29991"/>
                  </a:cubicBezTo>
                  <a:cubicBezTo>
                    <a:pt x="73553" y="35119"/>
                    <a:pt x="68735" y="40558"/>
                    <a:pt x="64022" y="45789"/>
                  </a:cubicBezTo>
                  <a:cubicBezTo>
                    <a:pt x="54854" y="55941"/>
                    <a:pt x="46255" y="65576"/>
                    <a:pt x="36155" y="72310"/>
                  </a:cubicBezTo>
                  <a:cubicBezTo>
                    <a:pt x="25070" y="79665"/>
                    <a:pt x="13882" y="82980"/>
                    <a:pt x="0" y="82980"/>
                  </a:cubicBezTo>
                  <a:lnTo>
                    <a:pt x="52" y="94116"/>
                  </a:lnTo>
                  <a:cubicBezTo>
                    <a:pt x="16213" y="94064"/>
                    <a:pt x="29214" y="90231"/>
                    <a:pt x="42215" y="81633"/>
                  </a:cubicBezTo>
                  <a:cubicBezTo>
                    <a:pt x="53507" y="74122"/>
                    <a:pt x="62623" y="64022"/>
                    <a:pt x="72258" y="53300"/>
                  </a:cubicBezTo>
                  <a:cubicBezTo>
                    <a:pt x="76868" y="48172"/>
                    <a:pt x="81581" y="42940"/>
                    <a:pt x="86554" y="37968"/>
                  </a:cubicBezTo>
                  <a:cubicBezTo>
                    <a:pt x="99037" y="25536"/>
                    <a:pt x="117270" y="11292"/>
                    <a:pt x="148245" y="11292"/>
                  </a:cubicBezTo>
                  <a:cubicBezTo>
                    <a:pt x="148348" y="11292"/>
                    <a:pt x="148504" y="11292"/>
                    <a:pt x="148607" y="11292"/>
                  </a:cubicBezTo>
                  <a:cubicBezTo>
                    <a:pt x="165752" y="11292"/>
                    <a:pt x="181084" y="15798"/>
                    <a:pt x="194189" y="24656"/>
                  </a:cubicBezTo>
                  <a:cubicBezTo>
                    <a:pt x="206103" y="32684"/>
                    <a:pt x="215374" y="43147"/>
                    <a:pt x="224439" y="53300"/>
                  </a:cubicBezTo>
                  <a:cubicBezTo>
                    <a:pt x="228997" y="58376"/>
                    <a:pt x="233711" y="63659"/>
                    <a:pt x="238580" y="68476"/>
                  </a:cubicBezTo>
                  <a:cubicBezTo>
                    <a:pt x="252202" y="81788"/>
                    <a:pt x="268726" y="94116"/>
                    <a:pt x="296541" y="94220"/>
                  </a:cubicBezTo>
                  <a:cubicBezTo>
                    <a:pt x="312754" y="94168"/>
                    <a:pt x="325755" y="90335"/>
                    <a:pt x="338704" y="81737"/>
                  </a:cubicBezTo>
                  <a:cubicBezTo>
                    <a:pt x="349996" y="74226"/>
                    <a:pt x="359113" y="64125"/>
                    <a:pt x="368747" y="53403"/>
                  </a:cubicBezTo>
                  <a:cubicBezTo>
                    <a:pt x="373357" y="48275"/>
                    <a:pt x="378071" y="43044"/>
                    <a:pt x="383043" y="38071"/>
                  </a:cubicBezTo>
                  <a:cubicBezTo>
                    <a:pt x="395527" y="25640"/>
                    <a:pt x="413759" y="11396"/>
                    <a:pt x="444734" y="11396"/>
                  </a:cubicBezTo>
                  <a:cubicBezTo>
                    <a:pt x="444838" y="11396"/>
                    <a:pt x="444993" y="11396"/>
                    <a:pt x="445097" y="11396"/>
                  </a:cubicBezTo>
                  <a:cubicBezTo>
                    <a:pt x="462242" y="11396"/>
                    <a:pt x="477574" y="15902"/>
                    <a:pt x="490679" y="24759"/>
                  </a:cubicBezTo>
                  <a:cubicBezTo>
                    <a:pt x="502592" y="32788"/>
                    <a:pt x="511864" y="43251"/>
                    <a:pt x="520928" y="53403"/>
                  </a:cubicBezTo>
                  <a:cubicBezTo>
                    <a:pt x="525487" y="58480"/>
                    <a:pt x="530200" y="63711"/>
                    <a:pt x="535069" y="68528"/>
                  </a:cubicBezTo>
                  <a:cubicBezTo>
                    <a:pt x="548692" y="81840"/>
                    <a:pt x="565215" y="94168"/>
                    <a:pt x="593031" y="94272"/>
                  </a:cubicBezTo>
                  <a:cubicBezTo>
                    <a:pt x="609243" y="94220"/>
                    <a:pt x="622244" y="90387"/>
                    <a:pt x="635246" y="81788"/>
                  </a:cubicBezTo>
                  <a:cubicBezTo>
                    <a:pt x="646538" y="74278"/>
                    <a:pt x="655654" y="64177"/>
                    <a:pt x="665236" y="53455"/>
                  </a:cubicBezTo>
                  <a:cubicBezTo>
                    <a:pt x="669846" y="48327"/>
                    <a:pt x="674560" y="43096"/>
                    <a:pt x="679533" y="38123"/>
                  </a:cubicBezTo>
                  <a:cubicBezTo>
                    <a:pt x="692016" y="25692"/>
                    <a:pt x="710352" y="11447"/>
                    <a:pt x="741275" y="11447"/>
                  </a:cubicBezTo>
                  <a:cubicBezTo>
                    <a:pt x="741379" y="11447"/>
                    <a:pt x="741534" y="11447"/>
                    <a:pt x="741638" y="11447"/>
                  </a:cubicBezTo>
                  <a:cubicBezTo>
                    <a:pt x="758783" y="11447"/>
                    <a:pt x="774167" y="15954"/>
                    <a:pt x="787272" y="24811"/>
                  </a:cubicBezTo>
                  <a:cubicBezTo>
                    <a:pt x="799185" y="32840"/>
                    <a:pt x="808509" y="43355"/>
                    <a:pt x="817573" y="53455"/>
                  </a:cubicBezTo>
                  <a:cubicBezTo>
                    <a:pt x="822131" y="58531"/>
                    <a:pt x="826845" y="63763"/>
                    <a:pt x="831714" y="68580"/>
                  </a:cubicBezTo>
                  <a:cubicBezTo>
                    <a:pt x="845389" y="81892"/>
                    <a:pt x="861912" y="94220"/>
                    <a:pt x="889779" y="94324"/>
                  </a:cubicBezTo>
                  <a:cubicBezTo>
                    <a:pt x="905991" y="94272"/>
                    <a:pt x="918993" y="90439"/>
                    <a:pt x="931994" y="81840"/>
                  </a:cubicBezTo>
                  <a:cubicBezTo>
                    <a:pt x="943338" y="74330"/>
                    <a:pt x="952454" y="64177"/>
                    <a:pt x="962089" y="53455"/>
                  </a:cubicBezTo>
                  <a:cubicBezTo>
                    <a:pt x="966699" y="48379"/>
                    <a:pt x="971412" y="43096"/>
                    <a:pt x="976385" y="38175"/>
                  </a:cubicBezTo>
                  <a:cubicBezTo>
                    <a:pt x="988868" y="25743"/>
                    <a:pt x="1007204" y="11499"/>
                    <a:pt x="1038179" y="11499"/>
                  </a:cubicBezTo>
                  <a:cubicBezTo>
                    <a:pt x="1038283" y="11499"/>
                    <a:pt x="1038438" y="11499"/>
                    <a:pt x="1038542" y="11499"/>
                  </a:cubicBezTo>
                  <a:cubicBezTo>
                    <a:pt x="1055687" y="11499"/>
                    <a:pt x="1071018" y="16005"/>
                    <a:pt x="1084123" y="24863"/>
                  </a:cubicBezTo>
                  <a:cubicBezTo>
                    <a:pt x="1096037" y="32891"/>
                    <a:pt x="1105309" y="43355"/>
                    <a:pt x="1114374" y="53403"/>
                  </a:cubicBezTo>
                  <a:cubicBezTo>
                    <a:pt x="1118931" y="58480"/>
                    <a:pt x="1123645" y="63763"/>
                    <a:pt x="1128514" y="68580"/>
                  </a:cubicBezTo>
                  <a:cubicBezTo>
                    <a:pt x="1142137" y="81892"/>
                    <a:pt x="1158660" y="94220"/>
                    <a:pt x="1186475" y="94324"/>
                  </a:cubicBezTo>
                  <a:cubicBezTo>
                    <a:pt x="1202688" y="94272"/>
                    <a:pt x="1215689" y="90439"/>
                    <a:pt x="1228639" y="81840"/>
                  </a:cubicBezTo>
                  <a:cubicBezTo>
                    <a:pt x="1239931" y="74330"/>
                    <a:pt x="1249047" y="64229"/>
                    <a:pt x="1258682" y="53507"/>
                  </a:cubicBezTo>
                  <a:cubicBezTo>
                    <a:pt x="1263292" y="48379"/>
                    <a:pt x="1268005" y="43147"/>
                    <a:pt x="1272978" y="38175"/>
                  </a:cubicBezTo>
                  <a:cubicBezTo>
                    <a:pt x="1285461" y="25743"/>
                    <a:pt x="1303693" y="11499"/>
                    <a:pt x="1334720" y="11499"/>
                  </a:cubicBezTo>
                  <a:cubicBezTo>
                    <a:pt x="1334824" y="11499"/>
                    <a:pt x="1334979" y="11499"/>
                    <a:pt x="1335083" y="11499"/>
                  </a:cubicBezTo>
                  <a:cubicBezTo>
                    <a:pt x="1352228" y="11499"/>
                    <a:pt x="1367560" y="16005"/>
                    <a:pt x="1380665" y="24863"/>
                  </a:cubicBezTo>
                  <a:cubicBezTo>
                    <a:pt x="1392578" y="32891"/>
                    <a:pt x="1401850" y="43355"/>
                    <a:pt x="1410915" y="53507"/>
                  </a:cubicBezTo>
                  <a:cubicBezTo>
                    <a:pt x="1415472" y="58583"/>
                    <a:pt x="1420186" y="63867"/>
                    <a:pt x="1425055" y="68684"/>
                  </a:cubicBezTo>
                  <a:cubicBezTo>
                    <a:pt x="1438678" y="81996"/>
                    <a:pt x="1455201" y="94324"/>
                    <a:pt x="1483017" y="94427"/>
                  </a:cubicBezTo>
                  <a:lnTo>
                    <a:pt x="1483017" y="83291"/>
                  </a:lnTo>
                  <a:cubicBezTo>
                    <a:pt x="1460329" y="83239"/>
                    <a:pt x="1446448" y="74174"/>
                    <a:pt x="1432618" y="60707"/>
                  </a:cubicBezTo>
                  <a:cubicBezTo>
                    <a:pt x="1427800" y="55734"/>
                    <a:pt x="1423449" y="50865"/>
                    <a:pt x="1418788" y="45634"/>
                  </a:cubicBezTo>
                  <a:close/>
                </a:path>
              </a:pathLst>
            </a:custGeom>
            <a:grpFill/>
            <a:ln w="5175"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282828"/>
                </a:solidFill>
                <a:effectLst/>
                <a:uLnTx/>
                <a:uFillTx/>
                <a:latin typeface="CiscoSansTT ExtraLight"/>
                <a:ea typeface="+mn-ea"/>
                <a:cs typeface="+mn-cs"/>
              </a:endParaRPr>
            </a:p>
          </p:txBody>
        </p:sp>
      </p:grpSp>
      <p:grpSp>
        <p:nvGrpSpPr>
          <p:cNvPr id="100" name="Group 99">
            <a:extLst>
              <a:ext uri="{FF2B5EF4-FFF2-40B4-BE49-F238E27FC236}">
                <a16:creationId xmlns:a16="http://schemas.microsoft.com/office/drawing/2014/main" id="{7022B8CA-FCB3-FE48-BF8C-DD3600C8A27E}"/>
              </a:ext>
            </a:extLst>
          </p:cNvPr>
          <p:cNvGrpSpPr/>
          <p:nvPr/>
        </p:nvGrpSpPr>
        <p:grpSpPr>
          <a:xfrm rot="16200000">
            <a:off x="2305873" y="2535658"/>
            <a:ext cx="843663" cy="728597"/>
            <a:chOff x="1053161" y="1978797"/>
            <a:chExt cx="221890" cy="176278"/>
          </a:xfrm>
        </p:grpSpPr>
        <p:sp>
          <p:nvSpPr>
            <p:cNvPr id="101" name="Isosceles Triangle 49">
              <a:extLst>
                <a:ext uri="{FF2B5EF4-FFF2-40B4-BE49-F238E27FC236}">
                  <a16:creationId xmlns:a16="http://schemas.microsoft.com/office/drawing/2014/main" id="{5E16259E-E1CD-6A49-8342-364298D9F35A}"/>
                </a:ext>
              </a:extLst>
            </p:cNvPr>
            <p:cNvSpPr/>
            <p:nvPr/>
          </p:nvSpPr>
          <p:spPr>
            <a:xfrm rot="10800000">
              <a:off x="1072937" y="1978797"/>
              <a:ext cx="202114" cy="17627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solidFill>
            <a:ln w="635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2" name="Isosceles Triangle 49">
              <a:extLst>
                <a:ext uri="{FF2B5EF4-FFF2-40B4-BE49-F238E27FC236}">
                  <a16:creationId xmlns:a16="http://schemas.microsoft.com/office/drawing/2014/main" id="{6A08B2F5-F36F-E247-BF11-72ED683AB24E}"/>
                </a:ext>
              </a:extLst>
            </p:cNvPr>
            <p:cNvSpPr/>
            <p:nvPr/>
          </p:nvSpPr>
          <p:spPr>
            <a:xfrm rot="10800000">
              <a:off x="1053161" y="2052260"/>
              <a:ext cx="109155" cy="95205"/>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6350" cap="flat" cmpd="sng" algn="ctr">
              <a:solidFill>
                <a:srgbClr val="6EBE4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3" name="Isosceles Triangle 49">
              <a:extLst>
                <a:ext uri="{FF2B5EF4-FFF2-40B4-BE49-F238E27FC236}">
                  <a16:creationId xmlns:a16="http://schemas.microsoft.com/office/drawing/2014/main" id="{8BBFF2BC-C614-1E43-9EFE-92284F70FD08}"/>
                </a:ext>
              </a:extLst>
            </p:cNvPr>
            <p:cNvSpPr/>
            <p:nvPr/>
          </p:nvSpPr>
          <p:spPr>
            <a:xfrm rot="10800000">
              <a:off x="1172406" y="2100574"/>
              <a:ext cx="61490" cy="53633"/>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solidFill>
            <a:ln w="6350" cap="flat" cmpd="sng" algn="ctr">
              <a:solidFill>
                <a:srgbClr val="00BCEB"/>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spTree>
    <p:extLst>
      <p:ext uri="{BB962C8B-B14F-4D97-AF65-F5344CB8AC3E}">
        <p14:creationId xmlns:p14="http://schemas.microsoft.com/office/powerpoint/2010/main" val="1717653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AC1C1-AB3F-9147-8229-53AD7A7F96E4}"/>
              </a:ext>
            </a:extLst>
          </p:cNvPr>
          <p:cNvSpPr>
            <a:spLocks noGrp="1"/>
          </p:cNvSpPr>
          <p:nvPr>
            <p:ph type="title"/>
          </p:nvPr>
        </p:nvSpPr>
        <p:spPr/>
        <p:txBody>
          <a:bodyPr/>
          <a:lstStyle/>
          <a:p>
            <a:pPr marL="687388"/>
            <a:r>
              <a:rPr lang="en-US" dirty="0"/>
              <a:t>How true </a:t>
            </a:r>
            <a:r>
              <a:rPr lang="en-US" dirty="0">
                <a:solidFill>
                  <a:schemeClr val="tx2"/>
                </a:solidFill>
                <a:latin typeface="CiscoSansTT" panose="020B0503020201020303" pitchFamily="34" charset="0"/>
                <a:cs typeface="CiscoSansTT" panose="020B0503020201020303" pitchFamily="34" charset="0"/>
              </a:rPr>
              <a:t>simplicity</a:t>
            </a:r>
            <a:r>
              <a:rPr lang="en-US" dirty="0"/>
              <a:t> is experienced</a:t>
            </a:r>
          </a:p>
        </p:txBody>
      </p:sp>
      <p:grpSp>
        <p:nvGrpSpPr>
          <p:cNvPr id="66" name="Group 65">
            <a:extLst>
              <a:ext uri="{FF2B5EF4-FFF2-40B4-BE49-F238E27FC236}">
                <a16:creationId xmlns:a16="http://schemas.microsoft.com/office/drawing/2014/main" id="{26B9569C-D900-2940-9CDA-03C852833B91}"/>
              </a:ext>
            </a:extLst>
          </p:cNvPr>
          <p:cNvGrpSpPr>
            <a:grpSpLocks noChangeAspect="1"/>
          </p:cNvGrpSpPr>
          <p:nvPr/>
        </p:nvGrpSpPr>
        <p:grpSpPr>
          <a:xfrm>
            <a:off x="372585" y="177226"/>
            <a:ext cx="831584" cy="904034"/>
            <a:chOff x="5022011" y="399610"/>
            <a:chExt cx="3996120" cy="4344279"/>
          </a:xfrm>
        </p:grpSpPr>
        <p:sp>
          <p:nvSpPr>
            <p:cNvPr id="67" name="Oval 83">
              <a:extLst>
                <a:ext uri="{FF2B5EF4-FFF2-40B4-BE49-F238E27FC236}">
                  <a16:creationId xmlns:a16="http://schemas.microsoft.com/office/drawing/2014/main" id="{20B4EE85-9AC4-2447-BCAE-94AEEE9616F6}"/>
                </a:ext>
              </a:extLst>
            </p:cNvPr>
            <p:cNvSpPr>
              <a:spLocks/>
            </p:cNvSpPr>
            <p:nvPr/>
          </p:nvSpPr>
          <p:spPr>
            <a:xfrm>
              <a:off x="7439634" y="661835"/>
              <a:ext cx="859470" cy="862494"/>
            </a:xfrm>
            <a:prstGeom prst="ellipse">
              <a:avLst/>
            </a:prstGeom>
            <a:solidFill>
              <a:srgbClr val="FFFFFF"/>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68" name="Picture 596" descr="A picture containing sitting, black, dark, table&#10;&#10;Description automatically generated">
              <a:extLst>
                <a:ext uri="{FF2B5EF4-FFF2-40B4-BE49-F238E27FC236}">
                  <a16:creationId xmlns:a16="http://schemas.microsoft.com/office/drawing/2014/main" id="{6117CB11-3AFF-2F40-9090-2C6EC30B4BD1}"/>
                </a:ext>
              </a:extLst>
            </p:cNvPr>
            <p:cNvPicPr>
              <a:picLocks noChangeAspect="1"/>
            </p:cNvPicPr>
            <p:nvPr/>
          </p:nvPicPr>
          <p:blipFill rotWithShape="1">
            <a:blip r:embed="rId3"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sp>
          <p:nvSpPr>
            <p:cNvPr id="69" name="Freeform: Shape 99">
              <a:extLst>
                <a:ext uri="{FF2B5EF4-FFF2-40B4-BE49-F238E27FC236}">
                  <a16:creationId xmlns:a16="http://schemas.microsoft.com/office/drawing/2014/main" id="{4180415D-DDE7-8F46-8035-8AFDF2A17432}"/>
                </a:ext>
              </a:extLst>
            </p:cNvPr>
            <p:cNvSpPr/>
            <p:nvPr/>
          </p:nvSpPr>
          <p:spPr>
            <a:xfrm rot="7495001">
              <a:off x="6016695" y="1476789"/>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70" name="Isosceles Triangle 49">
              <a:extLst>
                <a:ext uri="{FF2B5EF4-FFF2-40B4-BE49-F238E27FC236}">
                  <a16:creationId xmlns:a16="http://schemas.microsoft.com/office/drawing/2014/main" id="{158DE3D0-3235-8A44-85F9-7C23A6B11EA1}"/>
                </a:ext>
              </a:extLst>
            </p:cNvPr>
            <p:cNvSpPr/>
            <p:nvPr/>
          </p:nvSpPr>
          <p:spPr>
            <a:xfrm rot="10800000">
              <a:off x="5702955" y="2634004"/>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71" name="Rectangle: Rounded Corners 622">
              <a:extLst>
                <a:ext uri="{FF2B5EF4-FFF2-40B4-BE49-F238E27FC236}">
                  <a16:creationId xmlns:a16="http://schemas.microsoft.com/office/drawing/2014/main" id="{9FA7D328-C4AE-C742-937D-85FC07F435EF}"/>
                </a:ext>
              </a:extLst>
            </p:cNvPr>
            <p:cNvSpPr/>
            <p:nvPr/>
          </p:nvSpPr>
          <p:spPr>
            <a:xfrm>
              <a:off x="5574499" y="3117309"/>
              <a:ext cx="1308345" cy="294686"/>
            </a:xfrm>
            <a:prstGeom prst="roundRect">
              <a:avLst/>
            </a:prstGeom>
            <a:solidFill>
              <a:srgbClr val="0D274D"/>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pic>
          <p:nvPicPr>
            <p:cNvPr id="72" name="Picture 661" descr="A close up of a mountain&#10;&#10;Description automatically generated">
              <a:extLst>
                <a:ext uri="{FF2B5EF4-FFF2-40B4-BE49-F238E27FC236}">
                  <a16:creationId xmlns:a16="http://schemas.microsoft.com/office/drawing/2014/main" id="{8665D51C-8DAE-C447-9123-2744B5C8A5A4}"/>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936991" y="3093380"/>
              <a:ext cx="2081140" cy="1036944"/>
            </a:xfrm>
            <a:prstGeom prst="rect">
              <a:avLst/>
            </a:prstGeom>
          </p:spPr>
        </p:pic>
        <p:pic>
          <p:nvPicPr>
            <p:cNvPr id="73" name="Picture 654" descr="A close up of a mountain&#10;&#10;Description automatically generated">
              <a:extLst>
                <a:ext uri="{FF2B5EF4-FFF2-40B4-BE49-F238E27FC236}">
                  <a16:creationId xmlns:a16="http://schemas.microsoft.com/office/drawing/2014/main" id="{2FD9FE86-6950-564E-BEA9-DCDCDC0429D2}"/>
                </a:ext>
              </a:extLst>
            </p:cNvPr>
            <p:cNvPicPr>
              <a:picLocks noChangeAspect="1"/>
            </p:cNvPicPr>
            <p:nvPr/>
          </p:nvPicPr>
          <p:blipFill>
            <a:blip r:embed="rId5" cstate="screen">
              <a:duotone>
                <a:prstClr val="black"/>
                <a:srgbClr val="9E9EA2">
                  <a:tint val="45000"/>
                  <a:satMod val="400000"/>
                </a:srgbClr>
              </a:duotone>
              <a:extLst>
                <a:ext uri="{BEBA8EAE-BF5A-486C-A8C5-ECC9F3942E4B}">
                  <a14:imgProps xmlns:a14="http://schemas.microsoft.com/office/drawing/2010/main">
                    <a14:imgLayer r:embed="rId6">
                      <a14:imgEffect>
                        <a14:brightnessContrast bright="-12000"/>
                      </a14:imgEffect>
                    </a14:imgLayer>
                  </a14:imgProps>
                </a:ext>
                <a:ext uri="{28A0092B-C50C-407E-A947-70E740481C1C}">
                  <a14:useLocalDpi xmlns:a14="http://schemas.microsoft.com/office/drawing/2010/main"/>
                </a:ext>
              </a:extLst>
            </a:blip>
            <a:stretch>
              <a:fillRect/>
            </a:stretch>
          </p:blipFill>
          <p:spPr>
            <a:xfrm>
              <a:off x="5428845" y="2799167"/>
              <a:ext cx="2066449" cy="1029624"/>
            </a:xfrm>
            <a:prstGeom prst="rect">
              <a:avLst/>
            </a:prstGeom>
          </p:spPr>
        </p:pic>
        <p:pic>
          <p:nvPicPr>
            <p:cNvPr id="76" name="Picture 656" descr="A close up of a mountain&#10;&#10;Description automatically generated">
              <a:extLst>
                <a:ext uri="{FF2B5EF4-FFF2-40B4-BE49-F238E27FC236}">
                  <a16:creationId xmlns:a16="http://schemas.microsoft.com/office/drawing/2014/main" id="{F54D02C7-8A2C-2142-85F7-FE3684E77508}"/>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022011" y="3051945"/>
              <a:ext cx="2081140" cy="1036944"/>
            </a:xfrm>
            <a:prstGeom prst="rect">
              <a:avLst/>
            </a:prstGeom>
          </p:spPr>
        </p:pic>
        <p:pic>
          <p:nvPicPr>
            <p:cNvPr id="77" name="Picture 108" descr="A close up of a mountain&#10;&#10;Description automatically generated">
              <a:extLst>
                <a:ext uri="{FF2B5EF4-FFF2-40B4-BE49-F238E27FC236}">
                  <a16:creationId xmlns:a16="http://schemas.microsoft.com/office/drawing/2014/main" id="{209819C7-ED43-4C4B-8E4C-15257F49D36F}"/>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781454" y="2797676"/>
              <a:ext cx="2081140" cy="1036944"/>
            </a:xfrm>
            <a:prstGeom prst="rect">
              <a:avLst/>
            </a:prstGeom>
          </p:spPr>
        </p:pic>
        <p:pic>
          <p:nvPicPr>
            <p:cNvPr id="78" name="Picture 7" descr="A close up of a mountain&#10;&#10;Description automatically generated">
              <a:extLst>
                <a:ext uri="{FF2B5EF4-FFF2-40B4-BE49-F238E27FC236}">
                  <a16:creationId xmlns:a16="http://schemas.microsoft.com/office/drawing/2014/main" id="{ADFA39DD-5B60-9F4D-A2ED-B3B6B8BF61A6}"/>
                </a:ext>
              </a:extLst>
            </p:cNvPr>
            <p:cNvPicPr>
              <a:picLocks noChangeAspect="1"/>
            </p:cNvPicPr>
            <p:nvPr/>
          </p:nvPicPr>
          <p:blipFill>
            <a:blip r:embed="rId7"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243141" y="3187103"/>
              <a:ext cx="2331539" cy="1161707"/>
            </a:xfrm>
            <a:prstGeom prst="rect">
              <a:avLst/>
            </a:prstGeom>
          </p:spPr>
        </p:pic>
        <p:pic>
          <p:nvPicPr>
            <p:cNvPr id="79" name="Picture 668" descr="A close up of a mountain&#10;&#10;Description automatically generated">
              <a:extLst>
                <a:ext uri="{FF2B5EF4-FFF2-40B4-BE49-F238E27FC236}">
                  <a16:creationId xmlns:a16="http://schemas.microsoft.com/office/drawing/2014/main" id="{7B55E597-B65C-534D-AF0F-2F91E0BE8A20}"/>
                </a:ext>
              </a:extLst>
            </p:cNvPr>
            <p:cNvPicPr>
              <a:picLocks noChangeAspect="1"/>
            </p:cNvPicPr>
            <p:nvPr/>
          </p:nvPicPr>
          <p:blipFill>
            <a:blip r:embed="rId8" cstate="screen">
              <a:duotone>
                <a:prstClr val="black"/>
                <a:srgbClr val="9E9EA2">
                  <a:tint val="45000"/>
                  <a:satMod val="400000"/>
                </a:srgbClr>
              </a:duotone>
              <a:extLst>
                <a:ext uri="{BEBA8EAE-BF5A-486C-A8C5-ECC9F3942E4B}">
                  <a14:imgProps xmlns:a14="http://schemas.microsoft.com/office/drawing/2010/main">
                    <a14:imgLayer r:embed="rId9">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266028" y="2789445"/>
              <a:ext cx="1723254" cy="858624"/>
            </a:xfrm>
            <a:prstGeom prst="rect">
              <a:avLst/>
            </a:prstGeom>
          </p:spPr>
        </p:pic>
        <p:sp>
          <p:nvSpPr>
            <p:cNvPr id="80" name="Freeform: Shape 100">
              <a:extLst>
                <a:ext uri="{FF2B5EF4-FFF2-40B4-BE49-F238E27FC236}">
                  <a16:creationId xmlns:a16="http://schemas.microsoft.com/office/drawing/2014/main" id="{618B24CC-DB5C-CF4F-B208-0EEA5E14AFC7}"/>
                </a:ext>
              </a:extLst>
            </p:cNvPr>
            <p:cNvSpPr/>
            <p:nvPr/>
          </p:nvSpPr>
          <p:spPr>
            <a:xfrm rot="14974915">
              <a:off x="7072221" y="2565312"/>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81" name="Picture 6" descr="A close up of a mountain&#10;&#10;Description automatically generated">
              <a:extLst>
                <a:ext uri="{FF2B5EF4-FFF2-40B4-BE49-F238E27FC236}">
                  <a16:creationId xmlns:a16="http://schemas.microsoft.com/office/drawing/2014/main" id="{AE50588C-4FE5-E045-BB31-41C0D406FC79}"/>
                </a:ext>
              </a:extLst>
            </p:cNvPr>
            <p:cNvPicPr>
              <a:picLocks noChangeAspect="1"/>
            </p:cNvPicPr>
            <p:nvPr/>
          </p:nvPicPr>
          <p:blipFill>
            <a:blip r:embed="rId7"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5358005" y="3189191"/>
              <a:ext cx="2331539" cy="1161707"/>
            </a:xfrm>
            <a:prstGeom prst="rect">
              <a:avLst/>
            </a:prstGeom>
          </p:spPr>
        </p:pic>
        <p:sp>
          <p:nvSpPr>
            <p:cNvPr id="82" name="Freeform: Shape 86">
              <a:extLst>
                <a:ext uri="{FF2B5EF4-FFF2-40B4-BE49-F238E27FC236}">
                  <a16:creationId xmlns:a16="http://schemas.microsoft.com/office/drawing/2014/main" id="{2FD72AD9-6003-904B-833F-CE23D7F988A9}"/>
                </a:ext>
              </a:extLst>
            </p:cNvPr>
            <p:cNvSpPr>
              <a:spLocks noChangeAspect="1"/>
            </p:cNvSpPr>
            <p:nvPr/>
          </p:nvSpPr>
          <p:spPr>
            <a:xfrm rot="16200000">
              <a:off x="6147270" y="3399089"/>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pic>
          <p:nvPicPr>
            <p:cNvPr id="83" name="Picture 105" descr="A close up of a mountain&#10;&#10;Description automatically generated">
              <a:extLst>
                <a:ext uri="{FF2B5EF4-FFF2-40B4-BE49-F238E27FC236}">
                  <a16:creationId xmlns:a16="http://schemas.microsoft.com/office/drawing/2014/main" id="{23A84C9E-3C7E-5F4B-972B-43AC51495EDD}"/>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045884" y="3243453"/>
              <a:ext cx="1790804" cy="892282"/>
            </a:xfrm>
            <a:prstGeom prst="rect">
              <a:avLst/>
            </a:prstGeom>
          </p:spPr>
        </p:pic>
        <p:sp>
          <p:nvSpPr>
            <p:cNvPr id="84" name="Isosceles Triangle 49">
              <a:extLst>
                <a:ext uri="{FF2B5EF4-FFF2-40B4-BE49-F238E27FC236}">
                  <a16:creationId xmlns:a16="http://schemas.microsoft.com/office/drawing/2014/main" id="{EB91EAFB-E65F-794C-91D7-5DEBC08FD1C7}"/>
                </a:ext>
              </a:extLst>
            </p:cNvPr>
            <p:cNvSpPr/>
            <p:nvPr/>
          </p:nvSpPr>
          <p:spPr>
            <a:xfrm>
              <a:off x="6481784" y="2480006"/>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5" name="Rectangle: Rounded Corners 666">
              <a:extLst>
                <a:ext uri="{FF2B5EF4-FFF2-40B4-BE49-F238E27FC236}">
                  <a16:creationId xmlns:a16="http://schemas.microsoft.com/office/drawing/2014/main" id="{F9E2F680-26C1-F44C-AF09-589231B10143}"/>
                </a:ext>
              </a:extLst>
            </p:cNvPr>
            <p:cNvSpPr/>
            <p:nvPr/>
          </p:nvSpPr>
          <p:spPr>
            <a:xfrm>
              <a:off x="6194678" y="2106147"/>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6" name="AutoShape 3">
              <a:extLst>
                <a:ext uri="{FF2B5EF4-FFF2-40B4-BE49-F238E27FC236}">
                  <a16:creationId xmlns:a16="http://schemas.microsoft.com/office/drawing/2014/main" id="{7D9B6E3E-6FC4-564B-8A3E-B82DF07194F4}"/>
                </a:ext>
              </a:extLst>
            </p:cNvPr>
            <p:cNvSpPr>
              <a:spLocks noChangeAspect="1" noChangeArrowheads="1" noTextEdit="1"/>
            </p:cNvSpPr>
            <p:nvPr/>
          </p:nvSpPr>
          <p:spPr bwMode="auto">
            <a:xfrm rot="15056671">
              <a:off x="7384256" y="615156"/>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87" name="Freeform 5">
              <a:extLst>
                <a:ext uri="{FF2B5EF4-FFF2-40B4-BE49-F238E27FC236}">
                  <a16:creationId xmlns:a16="http://schemas.microsoft.com/office/drawing/2014/main" id="{C5BA656C-8FAE-1146-ADDE-D1F6FFF7E180}"/>
                </a:ext>
              </a:extLst>
            </p:cNvPr>
            <p:cNvSpPr>
              <a:spLocks/>
            </p:cNvSpPr>
            <p:nvPr/>
          </p:nvSpPr>
          <p:spPr bwMode="auto">
            <a:xfrm rot="21386774">
              <a:off x="7308733" y="587389"/>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88" name="Freeform 6">
              <a:extLst>
                <a:ext uri="{FF2B5EF4-FFF2-40B4-BE49-F238E27FC236}">
                  <a16:creationId xmlns:a16="http://schemas.microsoft.com/office/drawing/2014/main" id="{5BD859B1-C627-CD46-8DCF-2B513FC6259F}"/>
                </a:ext>
              </a:extLst>
            </p:cNvPr>
            <p:cNvSpPr>
              <a:spLocks/>
            </p:cNvSpPr>
            <p:nvPr/>
          </p:nvSpPr>
          <p:spPr bwMode="auto">
            <a:xfrm rot="15056671">
              <a:off x="7972413" y="1399965"/>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pic>
          <p:nvPicPr>
            <p:cNvPr id="89" name="Picture 578" descr="A close up of a persons hand&#10;&#10;Description automatically generated">
              <a:extLst>
                <a:ext uri="{FF2B5EF4-FFF2-40B4-BE49-F238E27FC236}">
                  <a16:creationId xmlns:a16="http://schemas.microsoft.com/office/drawing/2014/main" id="{E4F9BACA-0377-E043-BB67-201608D8EBE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065948" y="399610"/>
              <a:ext cx="2070387" cy="3307335"/>
            </a:xfrm>
            <a:prstGeom prst="rect">
              <a:avLst/>
            </a:prstGeom>
          </p:spPr>
        </p:pic>
        <p:cxnSp>
          <p:nvCxnSpPr>
            <p:cNvPr id="90" name="Straight Connector 68">
              <a:extLst>
                <a:ext uri="{FF2B5EF4-FFF2-40B4-BE49-F238E27FC236}">
                  <a16:creationId xmlns:a16="http://schemas.microsoft.com/office/drawing/2014/main" id="{AFF562BF-70DC-E040-B16A-D8E023E3EB13}"/>
                </a:ext>
              </a:extLst>
            </p:cNvPr>
            <p:cNvCxnSpPr>
              <a:cxnSpLocks/>
            </p:cNvCxnSpPr>
            <p:nvPr/>
          </p:nvCxnSpPr>
          <p:spPr>
            <a:xfrm flipV="1">
              <a:off x="8053454" y="547273"/>
              <a:ext cx="258188" cy="286562"/>
            </a:xfrm>
            <a:prstGeom prst="line">
              <a:avLst/>
            </a:prstGeom>
            <a:noFill/>
            <a:ln w="25400" cap="flat" cmpd="sng" algn="ctr">
              <a:solidFill>
                <a:srgbClr val="6EBE4A"/>
              </a:solidFill>
              <a:prstDash val="solid"/>
              <a:miter lim="800000"/>
            </a:ln>
            <a:effectLst/>
          </p:spPr>
        </p:cxnSp>
        <p:cxnSp>
          <p:nvCxnSpPr>
            <p:cNvPr id="91" name="Straight Connector 69">
              <a:extLst>
                <a:ext uri="{FF2B5EF4-FFF2-40B4-BE49-F238E27FC236}">
                  <a16:creationId xmlns:a16="http://schemas.microsoft.com/office/drawing/2014/main" id="{0FB55303-3BE1-5B4B-8A85-10297963BD41}"/>
                </a:ext>
              </a:extLst>
            </p:cNvPr>
            <p:cNvCxnSpPr>
              <a:cxnSpLocks/>
            </p:cNvCxnSpPr>
            <p:nvPr/>
          </p:nvCxnSpPr>
          <p:spPr>
            <a:xfrm flipV="1">
              <a:off x="8106909" y="892488"/>
              <a:ext cx="365895" cy="111469"/>
            </a:xfrm>
            <a:prstGeom prst="line">
              <a:avLst/>
            </a:prstGeom>
            <a:noFill/>
            <a:ln w="25400" cap="flat" cmpd="sng" algn="ctr">
              <a:solidFill>
                <a:srgbClr val="6EBE4A"/>
              </a:solidFill>
              <a:prstDash val="solid"/>
              <a:miter lim="800000"/>
            </a:ln>
            <a:effectLst/>
          </p:spPr>
        </p:cxnSp>
        <p:cxnSp>
          <p:nvCxnSpPr>
            <p:cNvPr id="92" name="Straight Connector 70">
              <a:extLst>
                <a:ext uri="{FF2B5EF4-FFF2-40B4-BE49-F238E27FC236}">
                  <a16:creationId xmlns:a16="http://schemas.microsoft.com/office/drawing/2014/main" id="{D223D418-6F11-5F40-A779-579F53EAB149}"/>
                </a:ext>
              </a:extLst>
            </p:cNvPr>
            <p:cNvCxnSpPr>
              <a:cxnSpLocks/>
            </p:cNvCxnSpPr>
            <p:nvPr/>
          </p:nvCxnSpPr>
          <p:spPr>
            <a:xfrm>
              <a:off x="8107268" y="1192221"/>
              <a:ext cx="377947" cy="83227"/>
            </a:xfrm>
            <a:prstGeom prst="line">
              <a:avLst/>
            </a:prstGeom>
            <a:noFill/>
            <a:ln w="25400" cap="flat" cmpd="sng" algn="ctr">
              <a:solidFill>
                <a:srgbClr val="6EBE4A"/>
              </a:solidFill>
              <a:prstDash val="solid"/>
              <a:miter lim="800000"/>
            </a:ln>
            <a:effectLst/>
          </p:spPr>
        </p:cxnSp>
        <p:sp>
          <p:nvSpPr>
            <p:cNvPr id="93" name="Freeform: Shape 725">
              <a:extLst>
                <a:ext uri="{FF2B5EF4-FFF2-40B4-BE49-F238E27FC236}">
                  <a16:creationId xmlns:a16="http://schemas.microsoft.com/office/drawing/2014/main" id="{3BE40394-8B7B-E24A-9780-88F935710890}"/>
                </a:ext>
              </a:extLst>
            </p:cNvPr>
            <p:cNvSpPr/>
            <p:nvPr/>
          </p:nvSpPr>
          <p:spPr>
            <a:xfrm>
              <a:off x="6364504" y="651554"/>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94" name="Freeform: Shape 726">
              <a:extLst>
                <a:ext uri="{FF2B5EF4-FFF2-40B4-BE49-F238E27FC236}">
                  <a16:creationId xmlns:a16="http://schemas.microsoft.com/office/drawing/2014/main" id="{4324BF5F-A5E7-6240-8168-6D75E297589D}"/>
                </a:ext>
              </a:extLst>
            </p:cNvPr>
            <p:cNvSpPr/>
            <p:nvPr/>
          </p:nvSpPr>
          <p:spPr>
            <a:xfrm>
              <a:off x="6349495" y="678498"/>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95" name="Freeform: Shape 727">
              <a:extLst>
                <a:ext uri="{FF2B5EF4-FFF2-40B4-BE49-F238E27FC236}">
                  <a16:creationId xmlns:a16="http://schemas.microsoft.com/office/drawing/2014/main" id="{A708037E-7D8F-4C49-A064-6943B5279055}"/>
                </a:ext>
              </a:extLst>
            </p:cNvPr>
            <p:cNvSpPr/>
            <p:nvPr/>
          </p:nvSpPr>
          <p:spPr>
            <a:xfrm>
              <a:off x="6344685" y="705459"/>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17" name="Picture 650" descr="A close up of a mountain&#10;&#10;Description automatically generated">
              <a:extLst>
                <a:ext uri="{FF2B5EF4-FFF2-40B4-BE49-F238E27FC236}">
                  <a16:creationId xmlns:a16="http://schemas.microsoft.com/office/drawing/2014/main" id="{6DF9A2A6-3946-1348-8196-792E6DC53890}"/>
                </a:ext>
              </a:extLst>
            </p:cNvPr>
            <p:cNvPicPr>
              <a:picLocks noChangeAspect="1"/>
            </p:cNvPicPr>
            <p:nvPr/>
          </p:nvPicPr>
          <p:blipFill>
            <a:blip r:embed="rId7"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19647" y="3396261"/>
              <a:ext cx="2331539" cy="1161707"/>
            </a:xfrm>
            <a:prstGeom prst="rect">
              <a:avLst/>
            </a:prstGeom>
          </p:spPr>
        </p:pic>
        <p:pic>
          <p:nvPicPr>
            <p:cNvPr id="118" name="Picture 11" descr="A close up of a mountain&#10;&#10;Description automatically generated">
              <a:extLst>
                <a:ext uri="{FF2B5EF4-FFF2-40B4-BE49-F238E27FC236}">
                  <a16:creationId xmlns:a16="http://schemas.microsoft.com/office/drawing/2014/main" id="{695F1A1F-400A-9F4F-9C87-C9B58B5148EE}"/>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791559" y="3408734"/>
              <a:ext cx="2081140" cy="1036944"/>
            </a:xfrm>
            <a:prstGeom prst="rect">
              <a:avLst/>
            </a:prstGeom>
          </p:spPr>
        </p:pic>
        <p:pic>
          <p:nvPicPr>
            <p:cNvPr id="119" name="Picture 651" descr="A close up of a mountain&#10;&#10;Description automatically generated">
              <a:extLst>
                <a:ext uri="{FF2B5EF4-FFF2-40B4-BE49-F238E27FC236}">
                  <a16:creationId xmlns:a16="http://schemas.microsoft.com/office/drawing/2014/main" id="{995965F0-3B74-BA45-A0E6-5772CE13EA7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flipH="1">
              <a:off x="6530862" y="3536367"/>
              <a:ext cx="2453510" cy="1161707"/>
            </a:xfrm>
            <a:prstGeom prst="rect">
              <a:avLst/>
            </a:prstGeom>
          </p:spPr>
        </p:pic>
        <p:pic>
          <p:nvPicPr>
            <p:cNvPr id="120" name="Picture 652" descr="A close up of a mountain&#10;&#10;Description automatically generated">
              <a:extLst>
                <a:ext uri="{FF2B5EF4-FFF2-40B4-BE49-F238E27FC236}">
                  <a16:creationId xmlns:a16="http://schemas.microsoft.com/office/drawing/2014/main" id="{6FBE121D-3D81-9440-96C8-AFE042233F11}"/>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490681" y="3706945"/>
              <a:ext cx="2081140" cy="1036944"/>
            </a:xfrm>
            <a:prstGeom prst="rect">
              <a:avLst/>
            </a:prstGeom>
          </p:spPr>
        </p:pic>
        <p:pic>
          <p:nvPicPr>
            <p:cNvPr id="121" name="Picture 653" descr="A close up of a mountain&#10;&#10;Description automatically generated">
              <a:extLst>
                <a:ext uri="{FF2B5EF4-FFF2-40B4-BE49-F238E27FC236}">
                  <a16:creationId xmlns:a16="http://schemas.microsoft.com/office/drawing/2014/main" id="{175AE0D0-5558-CF44-AAD9-722F9E7289F0}"/>
                </a:ext>
              </a:extLst>
            </p:cNvPr>
            <p:cNvPicPr>
              <a:picLocks noChangeAspect="1"/>
            </p:cNvPicPr>
            <p:nvPr/>
          </p:nvPicPr>
          <p:blipFill>
            <a:blip r:embed="rId12"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029946" y="3399660"/>
              <a:ext cx="2453510" cy="1161707"/>
            </a:xfrm>
            <a:prstGeom prst="rect">
              <a:avLst/>
            </a:prstGeom>
          </p:spPr>
        </p:pic>
        <p:pic>
          <p:nvPicPr>
            <p:cNvPr id="122" name="Picture 671" descr="A close up of a mountain&#10;&#10;Description automatically generated">
              <a:extLst>
                <a:ext uri="{FF2B5EF4-FFF2-40B4-BE49-F238E27FC236}">
                  <a16:creationId xmlns:a16="http://schemas.microsoft.com/office/drawing/2014/main" id="{7CCB8E6D-72A6-0643-9650-F5D4F6634E04}"/>
                </a:ext>
              </a:extLst>
            </p:cNvPr>
            <p:cNvPicPr>
              <a:picLocks noChangeAspect="1"/>
            </p:cNvPicPr>
            <p:nvPr/>
          </p:nvPicPr>
          <p:blipFill>
            <a:blip r:embed="rId13"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635063" y="3439796"/>
              <a:ext cx="1521937" cy="758317"/>
            </a:xfrm>
            <a:prstGeom prst="rect">
              <a:avLst/>
            </a:prstGeom>
          </p:spPr>
        </p:pic>
        <p:sp>
          <p:nvSpPr>
            <p:cNvPr id="123" name="Freeform: Shape 98">
              <a:extLst>
                <a:ext uri="{FF2B5EF4-FFF2-40B4-BE49-F238E27FC236}">
                  <a16:creationId xmlns:a16="http://schemas.microsoft.com/office/drawing/2014/main" id="{49460CB6-D821-7442-B5A7-FBB3502D8605}"/>
                </a:ext>
              </a:extLst>
            </p:cNvPr>
            <p:cNvSpPr/>
            <p:nvPr/>
          </p:nvSpPr>
          <p:spPr>
            <a:xfrm>
              <a:off x="5587711" y="2779505"/>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24" name="Picture 188" descr="A picture containing sitting, black, dark, table&#10;&#10;Description automatically generated">
              <a:extLst>
                <a:ext uri="{FF2B5EF4-FFF2-40B4-BE49-F238E27FC236}">
                  <a16:creationId xmlns:a16="http://schemas.microsoft.com/office/drawing/2014/main" id="{FBED1B22-0545-A649-8C9E-BF4038BCFDBF}"/>
                </a:ext>
              </a:extLst>
            </p:cNvPr>
            <p:cNvPicPr>
              <a:picLocks noChangeAspect="1"/>
            </p:cNvPicPr>
            <p:nvPr/>
          </p:nvPicPr>
          <p:blipFill rotWithShape="1">
            <a:blip r:embed="rId3"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grpSp>
      <p:sp>
        <p:nvSpPr>
          <p:cNvPr id="616" name="Rectangle 615">
            <a:extLst>
              <a:ext uri="{FF2B5EF4-FFF2-40B4-BE49-F238E27FC236}">
                <a16:creationId xmlns:a16="http://schemas.microsoft.com/office/drawing/2014/main" id="{AB9F9335-519B-B54A-A661-27FFFD0F1309}"/>
              </a:ext>
            </a:extLst>
          </p:cNvPr>
          <p:cNvSpPr/>
          <p:nvPr/>
        </p:nvSpPr>
        <p:spPr>
          <a:xfrm rot="5400000">
            <a:off x="-82029" y="2385231"/>
            <a:ext cx="3250472" cy="1517425"/>
          </a:xfrm>
          <a:prstGeom prst="rect">
            <a:avLst/>
          </a:prstGeom>
          <a:gradFill>
            <a:gsLst>
              <a:gs pos="0">
                <a:schemeClr val="bg1">
                  <a:alpha val="50000"/>
                </a:schemeClr>
              </a:gs>
              <a:gs pos="100000">
                <a:schemeClr val="bg2">
                  <a:lumMod val="8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Rounded Rectangle 616">
            <a:extLst>
              <a:ext uri="{FF2B5EF4-FFF2-40B4-BE49-F238E27FC236}">
                <a16:creationId xmlns:a16="http://schemas.microsoft.com/office/drawing/2014/main" id="{83C34B82-EE1F-2C40-BDDA-4367E855E5D2}"/>
              </a:ext>
            </a:extLst>
          </p:cNvPr>
          <p:cNvSpPr/>
          <p:nvPr/>
        </p:nvSpPr>
        <p:spPr>
          <a:xfrm>
            <a:off x="549290" y="1500273"/>
            <a:ext cx="386302" cy="3268906"/>
          </a:xfrm>
          <a:prstGeom prst="roundRect">
            <a:avLst>
              <a:gd name="adj" fmla="val 50000"/>
            </a:avLst>
          </a:prstGeom>
          <a:solidFill>
            <a:srgbClr val="676767"/>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ndParaRPr>
          </a:p>
        </p:txBody>
      </p:sp>
      <p:grpSp>
        <p:nvGrpSpPr>
          <p:cNvPr id="618" name="Group 144">
            <a:extLst>
              <a:ext uri="{FF2B5EF4-FFF2-40B4-BE49-F238E27FC236}">
                <a16:creationId xmlns:a16="http://schemas.microsoft.com/office/drawing/2014/main" id="{DA2E6F4A-9658-1346-8B0E-11E576DE6877}"/>
              </a:ext>
            </a:extLst>
          </p:cNvPr>
          <p:cNvGrpSpPr>
            <a:grpSpLocks noChangeAspect="1"/>
          </p:cNvGrpSpPr>
          <p:nvPr/>
        </p:nvGrpSpPr>
        <p:grpSpPr bwMode="auto">
          <a:xfrm>
            <a:off x="1100105" y="1859043"/>
            <a:ext cx="528639" cy="446958"/>
            <a:chOff x="1261" y="240"/>
            <a:chExt cx="3236" cy="2736"/>
          </a:xfrm>
        </p:grpSpPr>
        <p:sp>
          <p:nvSpPr>
            <p:cNvPr id="619" name="Freeform 145">
              <a:extLst>
                <a:ext uri="{FF2B5EF4-FFF2-40B4-BE49-F238E27FC236}">
                  <a16:creationId xmlns:a16="http://schemas.microsoft.com/office/drawing/2014/main" id="{696D843E-2BCC-764D-AF51-61D52A1A5EF8}"/>
                </a:ext>
              </a:extLst>
            </p:cNvPr>
            <p:cNvSpPr>
              <a:spLocks/>
            </p:cNvSpPr>
            <p:nvPr/>
          </p:nvSpPr>
          <p:spPr bwMode="auto">
            <a:xfrm>
              <a:off x="1261" y="240"/>
              <a:ext cx="3236" cy="2736"/>
            </a:xfrm>
            <a:custGeom>
              <a:avLst/>
              <a:gdLst>
                <a:gd name="T0" fmla="*/ 1205 w 2644"/>
                <a:gd name="T1" fmla="*/ 90 h 2290"/>
                <a:gd name="T2" fmla="*/ 52 w 2644"/>
                <a:gd name="T3" fmla="*/ 2087 h 2290"/>
                <a:gd name="T4" fmla="*/ 169 w 2644"/>
                <a:gd name="T5" fmla="*/ 2290 h 2290"/>
                <a:gd name="T6" fmla="*/ 2475 w 2644"/>
                <a:gd name="T7" fmla="*/ 2290 h 2290"/>
                <a:gd name="T8" fmla="*/ 2592 w 2644"/>
                <a:gd name="T9" fmla="*/ 2087 h 2290"/>
                <a:gd name="T10" fmla="*/ 1439 w 2644"/>
                <a:gd name="T11" fmla="*/ 90 h 2290"/>
                <a:gd name="T12" fmla="*/ 1205 w 2644"/>
                <a:gd name="T13" fmla="*/ 90 h 2290"/>
              </a:gdLst>
              <a:ahLst/>
              <a:cxnLst>
                <a:cxn ang="0">
                  <a:pos x="T0" y="T1"/>
                </a:cxn>
                <a:cxn ang="0">
                  <a:pos x="T2" y="T3"/>
                </a:cxn>
                <a:cxn ang="0">
                  <a:pos x="T4" y="T5"/>
                </a:cxn>
                <a:cxn ang="0">
                  <a:pos x="T6" y="T7"/>
                </a:cxn>
                <a:cxn ang="0">
                  <a:pos x="T8" y="T9"/>
                </a:cxn>
                <a:cxn ang="0">
                  <a:pos x="T10" y="T11"/>
                </a:cxn>
                <a:cxn ang="0">
                  <a:pos x="T12" y="T13"/>
                </a:cxn>
              </a:cxnLst>
              <a:rect l="0" t="0" r="r" b="b"/>
              <a:pathLst>
                <a:path w="2644" h="2290">
                  <a:moveTo>
                    <a:pt x="1205" y="90"/>
                  </a:moveTo>
                  <a:cubicBezTo>
                    <a:pt x="52" y="2087"/>
                    <a:pt x="52" y="2087"/>
                    <a:pt x="52" y="2087"/>
                  </a:cubicBezTo>
                  <a:cubicBezTo>
                    <a:pt x="0" y="2177"/>
                    <a:pt x="65" y="2290"/>
                    <a:pt x="169" y="2290"/>
                  </a:cubicBezTo>
                  <a:cubicBezTo>
                    <a:pt x="2475" y="2290"/>
                    <a:pt x="2475" y="2290"/>
                    <a:pt x="2475" y="2290"/>
                  </a:cubicBezTo>
                  <a:cubicBezTo>
                    <a:pt x="2579" y="2290"/>
                    <a:pt x="2644" y="2177"/>
                    <a:pt x="2592" y="2087"/>
                  </a:cubicBezTo>
                  <a:cubicBezTo>
                    <a:pt x="1439" y="90"/>
                    <a:pt x="1439" y="90"/>
                    <a:pt x="1439" y="90"/>
                  </a:cubicBezTo>
                  <a:cubicBezTo>
                    <a:pt x="1387" y="0"/>
                    <a:pt x="1257" y="0"/>
                    <a:pt x="1205" y="9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sp>
          <p:nvSpPr>
            <p:cNvPr id="620" name="Oval 146">
              <a:extLst>
                <a:ext uri="{FF2B5EF4-FFF2-40B4-BE49-F238E27FC236}">
                  <a16:creationId xmlns:a16="http://schemas.microsoft.com/office/drawing/2014/main" id="{5C1BF937-8C93-3543-BFD0-77ED7C7A14B2}"/>
                </a:ext>
              </a:extLst>
            </p:cNvPr>
            <p:cNvSpPr>
              <a:spLocks noChangeArrowheads="1"/>
            </p:cNvSpPr>
            <p:nvPr/>
          </p:nvSpPr>
          <p:spPr bwMode="auto">
            <a:xfrm>
              <a:off x="2696" y="2323"/>
              <a:ext cx="367" cy="35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sp>
          <p:nvSpPr>
            <p:cNvPr id="621" name="Freeform 147">
              <a:extLst>
                <a:ext uri="{FF2B5EF4-FFF2-40B4-BE49-F238E27FC236}">
                  <a16:creationId xmlns:a16="http://schemas.microsoft.com/office/drawing/2014/main" id="{0FDDA59A-E649-604C-8A11-795D2086460F}"/>
                </a:ext>
              </a:extLst>
            </p:cNvPr>
            <p:cNvSpPr>
              <a:spLocks/>
            </p:cNvSpPr>
            <p:nvPr/>
          </p:nvSpPr>
          <p:spPr bwMode="auto">
            <a:xfrm>
              <a:off x="2717" y="904"/>
              <a:ext cx="325" cy="1177"/>
            </a:xfrm>
            <a:custGeom>
              <a:avLst/>
              <a:gdLst>
                <a:gd name="T0" fmla="*/ 133 w 266"/>
                <a:gd name="T1" fmla="*/ 0 h 985"/>
                <a:gd name="T2" fmla="*/ 133 w 266"/>
                <a:gd name="T3" fmla="*/ 0 h 985"/>
                <a:gd name="T4" fmla="*/ 0 w 266"/>
                <a:gd name="T5" fmla="*/ 133 h 985"/>
                <a:gd name="T6" fmla="*/ 0 w 266"/>
                <a:gd name="T7" fmla="*/ 853 h 985"/>
                <a:gd name="T8" fmla="*/ 133 w 266"/>
                <a:gd name="T9" fmla="*/ 985 h 985"/>
                <a:gd name="T10" fmla="*/ 133 w 266"/>
                <a:gd name="T11" fmla="*/ 985 h 985"/>
                <a:gd name="T12" fmla="*/ 266 w 266"/>
                <a:gd name="T13" fmla="*/ 853 h 985"/>
                <a:gd name="T14" fmla="*/ 266 w 266"/>
                <a:gd name="T15" fmla="*/ 133 h 985"/>
                <a:gd name="T16" fmla="*/ 133 w 26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985">
                  <a:moveTo>
                    <a:pt x="133" y="0"/>
                  </a:moveTo>
                  <a:cubicBezTo>
                    <a:pt x="133" y="0"/>
                    <a:pt x="133" y="0"/>
                    <a:pt x="133" y="0"/>
                  </a:cubicBezTo>
                  <a:cubicBezTo>
                    <a:pt x="60" y="0"/>
                    <a:pt x="0" y="59"/>
                    <a:pt x="0" y="133"/>
                  </a:cubicBezTo>
                  <a:cubicBezTo>
                    <a:pt x="0" y="853"/>
                    <a:pt x="0" y="853"/>
                    <a:pt x="0" y="853"/>
                  </a:cubicBezTo>
                  <a:cubicBezTo>
                    <a:pt x="0" y="926"/>
                    <a:pt x="60" y="985"/>
                    <a:pt x="133" y="985"/>
                  </a:cubicBezTo>
                  <a:cubicBezTo>
                    <a:pt x="133" y="985"/>
                    <a:pt x="133" y="985"/>
                    <a:pt x="133" y="985"/>
                  </a:cubicBezTo>
                  <a:cubicBezTo>
                    <a:pt x="206" y="985"/>
                    <a:pt x="266" y="926"/>
                    <a:pt x="266" y="853"/>
                  </a:cubicBezTo>
                  <a:cubicBezTo>
                    <a:pt x="266" y="133"/>
                    <a:pt x="266" y="133"/>
                    <a:pt x="266" y="133"/>
                  </a:cubicBezTo>
                  <a:cubicBezTo>
                    <a:pt x="266" y="59"/>
                    <a:pt x="206" y="0"/>
                    <a:pt x="13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grpSp>
      <p:sp>
        <p:nvSpPr>
          <p:cNvPr id="622" name="Text Placeholder 2">
            <a:extLst>
              <a:ext uri="{FF2B5EF4-FFF2-40B4-BE49-F238E27FC236}">
                <a16:creationId xmlns:a16="http://schemas.microsoft.com/office/drawing/2014/main" id="{953F55A3-AB7B-9E4C-8C89-B01C66D5285B}"/>
              </a:ext>
            </a:extLst>
          </p:cNvPr>
          <p:cNvSpPr txBox="1">
            <a:spLocks/>
          </p:cNvSpPr>
          <p:nvPr/>
        </p:nvSpPr>
        <p:spPr>
          <a:xfrm>
            <a:off x="1112040" y="2363619"/>
            <a:ext cx="3136174" cy="340746"/>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34950" marR="0" lvl="0" indent="-228600" algn="l" defTabSz="684213" rtl="0" eaLnBrk="1" fontAlgn="base" latinLnBrk="0" hangingPunct="1">
              <a:lnSpc>
                <a:spcPct val="100000"/>
              </a:lnSpc>
              <a:spcBef>
                <a:spcPts val="0"/>
              </a:spcBef>
              <a:spcAft>
                <a:spcPts val="600"/>
              </a:spcAft>
              <a:buClr>
                <a:srgbClr val="282828"/>
              </a:buClr>
              <a:buSzPct val="100000"/>
              <a:buFont typeface="+mj-lt"/>
              <a:buAutoNum type="arabicPeriod" startAt="2"/>
              <a:tabLst/>
              <a:defRPr/>
            </a:pPr>
            <a:r>
              <a:rPr kumimoji="0" lang="en-US" sz="1200" b="1" i="0" u="none" strike="noStrike" kern="1200" cap="none" spc="0" normalizeH="0" baseline="0" noProof="0">
                <a:ln>
                  <a:noFill/>
                </a:ln>
                <a:solidFill>
                  <a:srgbClr val="FBAB18"/>
                </a:solidFill>
                <a:effectLst/>
                <a:uLnTx/>
                <a:uFillTx/>
                <a:latin typeface="CiscoSansTT ExtraLight"/>
                <a:ea typeface="ＭＳ Ｐゴシック" charset="0"/>
              </a:rPr>
              <a:t>Investigate incidents in multiple consoles</a:t>
            </a:r>
          </a:p>
        </p:txBody>
      </p:sp>
      <p:grpSp>
        <p:nvGrpSpPr>
          <p:cNvPr id="623" name="Group 622">
            <a:extLst>
              <a:ext uri="{FF2B5EF4-FFF2-40B4-BE49-F238E27FC236}">
                <a16:creationId xmlns:a16="http://schemas.microsoft.com/office/drawing/2014/main" id="{72121691-4C97-2241-A787-E10F4C0935C5}"/>
              </a:ext>
            </a:extLst>
          </p:cNvPr>
          <p:cNvGrpSpPr/>
          <p:nvPr/>
        </p:nvGrpSpPr>
        <p:grpSpPr>
          <a:xfrm>
            <a:off x="1057064" y="2767790"/>
            <a:ext cx="3333528" cy="750028"/>
            <a:chOff x="1781095" y="1538175"/>
            <a:chExt cx="3333528" cy="750028"/>
          </a:xfrm>
        </p:grpSpPr>
        <p:grpSp>
          <p:nvGrpSpPr>
            <p:cNvPr id="624" name="Group 623">
              <a:extLst>
                <a:ext uri="{FF2B5EF4-FFF2-40B4-BE49-F238E27FC236}">
                  <a16:creationId xmlns:a16="http://schemas.microsoft.com/office/drawing/2014/main" id="{9DCC91E7-209B-5046-BF36-CCB0D4C0FAA3}"/>
                </a:ext>
              </a:extLst>
            </p:cNvPr>
            <p:cNvGrpSpPr/>
            <p:nvPr/>
          </p:nvGrpSpPr>
          <p:grpSpPr>
            <a:xfrm>
              <a:off x="1781095" y="1831933"/>
              <a:ext cx="3333527" cy="456270"/>
              <a:chOff x="1245517" y="1370508"/>
              <a:chExt cx="6704716" cy="917695"/>
            </a:xfrm>
          </p:grpSpPr>
          <p:grpSp>
            <p:nvGrpSpPr>
              <p:cNvPr id="629" name="Group 628">
                <a:extLst>
                  <a:ext uri="{FF2B5EF4-FFF2-40B4-BE49-F238E27FC236}">
                    <a16:creationId xmlns:a16="http://schemas.microsoft.com/office/drawing/2014/main" id="{3BA7ED64-03F7-A648-A51E-2CBAEBB0EA4F}"/>
                  </a:ext>
                </a:extLst>
              </p:cNvPr>
              <p:cNvGrpSpPr/>
              <p:nvPr/>
            </p:nvGrpSpPr>
            <p:grpSpPr>
              <a:xfrm>
                <a:off x="1245517" y="1370508"/>
                <a:ext cx="1617232" cy="917695"/>
                <a:chOff x="1386547" y="1370508"/>
                <a:chExt cx="1617232" cy="917695"/>
              </a:xfrm>
            </p:grpSpPr>
            <p:grpSp>
              <p:nvGrpSpPr>
                <p:cNvPr id="654" name="Group 653">
                  <a:extLst>
                    <a:ext uri="{FF2B5EF4-FFF2-40B4-BE49-F238E27FC236}">
                      <a16:creationId xmlns:a16="http://schemas.microsoft.com/office/drawing/2014/main" id="{E5BCBAB9-60E3-B14C-A4EC-6D4048E13840}"/>
                    </a:ext>
                  </a:extLst>
                </p:cNvPr>
                <p:cNvGrpSpPr/>
                <p:nvPr/>
              </p:nvGrpSpPr>
              <p:grpSpPr>
                <a:xfrm>
                  <a:off x="1386547" y="1370508"/>
                  <a:ext cx="1617232" cy="917695"/>
                  <a:chOff x="4831007" y="3572441"/>
                  <a:chExt cx="1082675" cy="614362"/>
                </a:xfrm>
              </p:grpSpPr>
              <p:sp>
                <p:nvSpPr>
                  <p:cNvPr id="659" name="Freeform 29">
                    <a:extLst>
                      <a:ext uri="{FF2B5EF4-FFF2-40B4-BE49-F238E27FC236}">
                        <a16:creationId xmlns:a16="http://schemas.microsoft.com/office/drawing/2014/main" id="{7248DC85-060B-BF46-9471-9282FEB9214F}"/>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60" name="Freeform 30">
                    <a:extLst>
                      <a:ext uri="{FF2B5EF4-FFF2-40B4-BE49-F238E27FC236}">
                        <a16:creationId xmlns:a16="http://schemas.microsoft.com/office/drawing/2014/main" id="{5D463724-8BB7-BE4F-BD88-673E2E4D7384}"/>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55" name="Rectangle 654">
                  <a:extLst>
                    <a:ext uri="{FF2B5EF4-FFF2-40B4-BE49-F238E27FC236}">
                      <a16:creationId xmlns:a16="http://schemas.microsoft.com/office/drawing/2014/main" id="{498104BB-1DB5-4843-84CA-BF74380A14F6}"/>
                    </a:ext>
                  </a:extLst>
                </p:cNvPr>
                <p:cNvSpPr/>
                <p:nvPr/>
              </p:nvSpPr>
              <p:spPr>
                <a:xfrm>
                  <a:off x="1769120"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56" name="Rectangle 655">
                  <a:extLst>
                    <a:ext uri="{FF2B5EF4-FFF2-40B4-BE49-F238E27FC236}">
                      <a16:creationId xmlns:a16="http://schemas.microsoft.com/office/drawing/2014/main" id="{F3B8CF7E-2B90-F74F-80C6-947AD9A5AE0B}"/>
                    </a:ext>
                  </a:extLst>
                </p:cNvPr>
                <p:cNvSpPr/>
                <p:nvPr/>
              </p:nvSpPr>
              <p:spPr>
                <a:xfrm>
                  <a:off x="1769120" y="1515694"/>
                  <a:ext cx="432769" cy="243559"/>
                </a:xfrm>
                <a:prstGeom prst="rect">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57" name="Rectangle 656">
                  <a:extLst>
                    <a:ext uri="{FF2B5EF4-FFF2-40B4-BE49-F238E27FC236}">
                      <a16:creationId xmlns:a16="http://schemas.microsoft.com/office/drawing/2014/main" id="{25AA0361-D57A-A04F-BA08-A38305F51656}"/>
                    </a:ext>
                  </a:extLst>
                </p:cNvPr>
                <p:cNvSpPr/>
                <p:nvPr/>
              </p:nvSpPr>
              <p:spPr>
                <a:xfrm>
                  <a:off x="2227289"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58" name="Rectangle 657">
                  <a:extLst>
                    <a:ext uri="{FF2B5EF4-FFF2-40B4-BE49-F238E27FC236}">
                      <a16:creationId xmlns:a16="http://schemas.microsoft.com/office/drawing/2014/main" id="{12C9FAE8-8BBE-4F40-8001-CFC5BF7AF93E}"/>
                    </a:ext>
                  </a:extLst>
                </p:cNvPr>
                <p:cNvSpPr/>
                <p:nvPr/>
              </p:nvSpPr>
              <p:spPr>
                <a:xfrm>
                  <a:off x="2227289"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30" name="Group 629">
                <a:extLst>
                  <a:ext uri="{FF2B5EF4-FFF2-40B4-BE49-F238E27FC236}">
                    <a16:creationId xmlns:a16="http://schemas.microsoft.com/office/drawing/2014/main" id="{A18F0FD5-4D61-4C43-ACE9-467632A4F934}"/>
                  </a:ext>
                </a:extLst>
              </p:cNvPr>
              <p:cNvGrpSpPr/>
              <p:nvPr/>
            </p:nvGrpSpPr>
            <p:grpSpPr>
              <a:xfrm>
                <a:off x="2941345" y="1370508"/>
                <a:ext cx="1617232" cy="917695"/>
                <a:chOff x="2936141" y="1370508"/>
                <a:chExt cx="1617232" cy="917695"/>
              </a:xfrm>
            </p:grpSpPr>
            <p:grpSp>
              <p:nvGrpSpPr>
                <p:cNvPr id="647" name="Group 646">
                  <a:extLst>
                    <a:ext uri="{FF2B5EF4-FFF2-40B4-BE49-F238E27FC236}">
                      <a16:creationId xmlns:a16="http://schemas.microsoft.com/office/drawing/2014/main" id="{D8501721-2DEB-4D43-8EBB-92F9D71F3C5F}"/>
                    </a:ext>
                  </a:extLst>
                </p:cNvPr>
                <p:cNvGrpSpPr/>
                <p:nvPr/>
              </p:nvGrpSpPr>
              <p:grpSpPr>
                <a:xfrm>
                  <a:off x="2936141" y="1370508"/>
                  <a:ext cx="1617232" cy="917695"/>
                  <a:chOff x="4831007" y="3572441"/>
                  <a:chExt cx="1082675" cy="614362"/>
                </a:xfrm>
              </p:grpSpPr>
              <p:sp>
                <p:nvSpPr>
                  <p:cNvPr id="652" name="Freeform 29">
                    <a:extLst>
                      <a:ext uri="{FF2B5EF4-FFF2-40B4-BE49-F238E27FC236}">
                        <a16:creationId xmlns:a16="http://schemas.microsoft.com/office/drawing/2014/main" id="{DF44BA65-2E72-D045-A9B3-78EE511B6617}"/>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53" name="Freeform 30">
                    <a:extLst>
                      <a:ext uri="{FF2B5EF4-FFF2-40B4-BE49-F238E27FC236}">
                        <a16:creationId xmlns:a16="http://schemas.microsoft.com/office/drawing/2014/main" id="{48AF4C1E-6821-CC42-9E5D-32F77D046783}"/>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48" name="Rectangle 647">
                  <a:extLst>
                    <a:ext uri="{FF2B5EF4-FFF2-40B4-BE49-F238E27FC236}">
                      <a16:creationId xmlns:a16="http://schemas.microsoft.com/office/drawing/2014/main" id="{01C3D861-ABA2-344A-88B4-62335BDE8D27}"/>
                    </a:ext>
                  </a:extLst>
                </p:cNvPr>
                <p:cNvSpPr/>
                <p:nvPr/>
              </p:nvSpPr>
              <p:spPr>
                <a:xfrm>
                  <a:off x="3318714"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49" name="Rectangle 648">
                  <a:extLst>
                    <a:ext uri="{FF2B5EF4-FFF2-40B4-BE49-F238E27FC236}">
                      <a16:creationId xmlns:a16="http://schemas.microsoft.com/office/drawing/2014/main" id="{F3A7FD15-BEDD-A04B-9E5D-EBFCD77C6DAA}"/>
                    </a:ext>
                  </a:extLst>
                </p:cNvPr>
                <p:cNvSpPr/>
                <p:nvPr/>
              </p:nvSpPr>
              <p:spPr>
                <a:xfrm>
                  <a:off x="3318714"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50" name="Rectangle 649">
                  <a:extLst>
                    <a:ext uri="{FF2B5EF4-FFF2-40B4-BE49-F238E27FC236}">
                      <a16:creationId xmlns:a16="http://schemas.microsoft.com/office/drawing/2014/main" id="{2056A74D-A122-924E-85CF-2206EB7C2B51}"/>
                    </a:ext>
                  </a:extLst>
                </p:cNvPr>
                <p:cNvSpPr/>
                <p:nvPr/>
              </p:nvSpPr>
              <p:spPr>
                <a:xfrm>
                  <a:off x="3776883" y="1515694"/>
                  <a:ext cx="432769" cy="243559"/>
                </a:xfrm>
                <a:prstGeom prst="rect">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51" name="Rectangle 650">
                  <a:extLst>
                    <a:ext uri="{FF2B5EF4-FFF2-40B4-BE49-F238E27FC236}">
                      <a16:creationId xmlns:a16="http://schemas.microsoft.com/office/drawing/2014/main" id="{D109EDA5-BA51-B642-B55A-9F87F8BCC9E7}"/>
                    </a:ext>
                  </a:extLst>
                </p:cNvPr>
                <p:cNvSpPr/>
                <p:nvPr/>
              </p:nvSpPr>
              <p:spPr>
                <a:xfrm>
                  <a:off x="3776883"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31" name="Group 630">
                <a:extLst>
                  <a:ext uri="{FF2B5EF4-FFF2-40B4-BE49-F238E27FC236}">
                    <a16:creationId xmlns:a16="http://schemas.microsoft.com/office/drawing/2014/main" id="{8A9A0587-2456-1C45-8D12-4DEB21ECB960}"/>
                  </a:ext>
                </a:extLst>
              </p:cNvPr>
              <p:cNvGrpSpPr/>
              <p:nvPr/>
            </p:nvGrpSpPr>
            <p:grpSpPr>
              <a:xfrm>
                <a:off x="4637173" y="1370508"/>
                <a:ext cx="1617232" cy="917695"/>
                <a:chOff x="4620900" y="1370508"/>
                <a:chExt cx="1617232" cy="917695"/>
              </a:xfrm>
            </p:grpSpPr>
            <p:grpSp>
              <p:nvGrpSpPr>
                <p:cNvPr id="640" name="Group 639">
                  <a:extLst>
                    <a:ext uri="{FF2B5EF4-FFF2-40B4-BE49-F238E27FC236}">
                      <a16:creationId xmlns:a16="http://schemas.microsoft.com/office/drawing/2014/main" id="{0BACF1D8-FF92-0E48-BF30-DE315468CDC9}"/>
                    </a:ext>
                  </a:extLst>
                </p:cNvPr>
                <p:cNvGrpSpPr/>
                <p:nvPr/>
              </p:nvGrpSpPr>
              <p:grpSpPr>
                <a:xfrm>
                  <a:off x="4620900" y="1370508"/>
                  <a:ext cx="1617232" cy="917695"/>
                  <a:chOff x="4831007" y="3572441"/>
                  <a:chExt cx="1082675" cy="614362"/>
                </a:xfrm>
              </p:grpSpPr>
              <p:sp>
                <p:nvSpPr>
                  <p:cNvPr id="645" name="Freeform 29">
                    <a:extLst>
                      <a:ext uri="{FF2B5EF4-FFF2-40B4-BE49-F238E27FC236}">
                        <a16:creationId xmlns:a16="http://schemas.microsoft.com/office/drawing/2014/main" id="{18502F51-C2C2-6943-85D4-1014308FFF13}"/>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46" name="Freeform 30">
                    <a:extLst>
                      <a:ext uri="{FF2B5EF4-FFF2-40B4-BE49-F238E27FC236}">
                        <a16:creationId xmlns:a16="http://schemas.microsoft.com/office/drawing/2014/main" id="{C9EDDD86-2107-5341-8A4F-ABD6B2FD8EFB}"/>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41" name="Rectangle 640">
                  <a:extLst>
                    <a:ext uri="{FF2B5EF4-FFF2-40B4-BE49-F238E27FC236}">
                      <a16:creationId xmlns:a16="http://schemas.microsoft.com/office/drawing/2014/main" id="{3F858B55-76AC-8A45-98ED-33AD84DE92B4}"/>
                    </a:ext>
                  </a:extLst>
                </p:cNvPr>
                <p:cNvSpPr/>
                <p:nvPr/>
              </p:nvSpPr>
              <p:spPr>
                <a:xfrm>
                  <a:off x="5003473"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42" name="Rectangle 641">
                  <a:extLst>
                    <a:ext uri="{FF2B5EF4-FFF2-40B4-BE49-F238E27FC236}">
                      <a16:creationId xmlns:a16="http://schemas.microsoft.com/office/drawing/2014/main" id="{CBFD40B2-9FAE-A44F-A50D-400BD6C1BF1B}"/>
                    </a:ext>
                  </a:extLst>
                </p:cNvPr>
                <p:cNvSpPr/>
                <p:nvPr/>
              </p:nvSpPr>
              <p:spPr>
                <a:xfrm>
                  <a:off x="5003473"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43" name="Rectangle 642">
                  <a:extLst>
                    <a:ext uri="{FF2B5EF4-FFF2-40B4-BE49-F238E27FC236}">
                      <a16:creationId xmlns:a16="http://schemas.microsoft.com/office/drawing/2014/main" id="{400E0D13-194A-1E4F-BA42-003D41EDA638}"/>
                    </a:ext>
                  </a:extLst>
                </p:cNvPr>
                <p:cNvSpPr/>
                <p:nvPr/>
              </p:nvSpPr>
              <p:spPr>
                <a:xfrm>
                  <a:off x="5461642"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44" name="Rectangle 643">
                  <a:extLst>
                    <a:ext uri="{FF2B5EF4-FFF2-40B4-BE49-F238E27FC236}">
                      <a16:creationId xmlns:a16="http://schemas.microsoft.com/office/drawing/2014/main" id="{ECD1D15F-BA66-844C-89D2-217ED0E1343D}"/>
                    </a:ext>
                  </a:extLst>
                </p:cNvPr>
                <p:cNvSpPr/>
                <p:nvPr/>
              </p:nvSpPr>
              <p:spPr>
                <a:xfrm>
                  <a:off x="5461642" y="1785144"/>
                  <a:ext cx="432769" cy="243559"/>
                </a:xfrm>
                <a:prstGeom prst="rect">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32" name="Group 631">
                <a:extLst>
                  <a:ext uri="{FF2B5EF4-FFF2-40B4-BE49-F238E27FC236}">
                    <a16:creationId xmlns:a16="http://schemas.microsoft.com/office/drawing/2014/main" id="{C30F7451-9C8D-0C45-B455-3EE68BD9AF40}"/>
                  </a:ext>
                </a:extLst>
              </p:cNvPr>
              <p:cNvGrpSpPr/>
              <p:nvPr/>
            </p:nvGrpSpPr>
            <p:grpSpPr>
              <a:xfrm>
                <a:off x="6333001" y="1370508"/>
                <a:ext cx="1617232" cy="917695"/>
                <a:chOff x="6354984" y="1370508"/>
                <a:chExt cx="1617232" cy="917695"/>
              </a:xfrm>
            </p:grpSpPr>
            <p:grpSp>
              <p:nvGrpSpPr>
                <p:cNvPr id="633" name="Group 632">
                  <a:extLst>
                    <a:ext uri="{FF2B5EF4-FFF2-40B4-BE49-F238E27FC236}">
                      <a16:creationId xmlns:a16="http://schemas.microsoft.com/office/drawing/2014/main" id="{023AF7E9-D2D6-2D46-9252-B5C39679D108}"/>
                    </a:ext>
                  </a:extLst>
                </p:cNvPr>
                <p:cNvGrpSpPr/>
                <p:nvPr/>
              </p:nvGrpSpPr>
              <p:grpSpPr>
                <a:xfrm>
                  <a:off x="6354984" y="1370508"/>
                  <a:ext cx="1617232" cy="917695"/>
                  <a:chOff x="4831007" y="3572441"/>
                  <a:chExt cx="1082675" cy="614362"/>
                </a:xfrm>
              </p:grpSpPr>
              <p:sp>
                <p:nvSpPr>
                  <p:cNvPr id="638" name="Freeform 29">
                    <a:extLst>
                      <a:ext uri="{FF2B5EF4-FFF2-40B4-BE49-F238E27FC236}">
                        <a16:creationId xmlns:a16="http://schemas.microsoft.com/office/drawing/2014/main" id="{AC0AEE10-297F-5140-AED4-E8DE13B1CAB3}"/>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39" name="Freeform 30">
                    <a:extLst>
                      <a:ext uri="{FF2B5EF4-FFF2-40B4-BE49-F238E27FC236}">
                        <a16:creationId xmlns:a16="http://schemas.microsoft.com/office/drawing/2014/main" id="{C6527E76-7F3B-9143-AF22-B8809C01507E}"/>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34" name="Rectangle 633">
                  <a:extLst>
                    <a:ext uri="{FF2B5EF4-FFF2-40B4-BE49-F238E27FC236}">
                      <a16:creationId xmlns:a16="http://schemas.microsoft.com/office/drawing/2014/main" id="{5AC59367-4D03-1744-8814-3200A383EC04}"/>
                    </a:ext>
                  </a:extLst>
                </p:cNvPr>
                <p:cNvSpPr/>
                <p:nvPr/>
              </p:nvSpPr>
              <p:spPr>
                <a:xfrm>
                  <a:off x="6737557" y="1785144"/>
                  <a:ext cx="432769" cy="243559"/>
                </a:xfrm>
                <a:prstGeom prst="rect">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35" name="Rectangle 634">
                  <a:extLst>
                    <a:ext uri="{FF2B5EF4-FFF2-40B4-BE49-F238E27FC236}">
                      <a16:creationId xmlns:a16="http://schemas.microsoft.com/office/drawing/2014/main" id="{80CC012E-4907-1B48-8E65-DF4436F94FF4}"/>
                    </a:ext>
                  </a:extLst>
                </p:cNvPr>
                <p:cNvSpPr/>
                <p:nvPr/>
              </p:nvSpPr>
              <p:spPr>
                <a:xfrm>
                  <a:off x="6737557"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36" name="Rectangle 635">
                  <a:extLst>
                    <a:ext uri="{FF2B5EF4-FFF2-40B4-BE49-F238E27FC236}">
                      <a16:creationId xmlns:a16="http://schemas.microsoft.com/office/drawing/2014/main" id="{3D410EF1-432C-7B4B-8609-C5ED5DBECC5E}"/>
                    </a:ext>
                  </a:extLst>
                </p:cNvPr>
                <p:cNvSpPr/>
                <p:nvPr/>
              </p:nvSpPr>
              <p:spPr>
                <a:xfrm>
                  <a:off x="7195726"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37" name="Rectangle 636">
                  <a:extLst>
                    <a:ext uri="{FF2B5EF4-FFF2-40B4-BE49-F238E27FC236}">
                      <a16:creationId xmlns:a16="http://schemas.microsoft.com/office/drawing/2014/main" id="{1640BA76-D231-BB44-8B8E-8D1AE009E6CE}"/>
                    </a:ext>
                  </a:extLst>
                </p:cNvPr>
                <p:cNvSpPr/>
                <p:nvPr/>
              </p:nvSpPr>
              <p:spPr>
                <a:xfrm>
                  <a:off x="7195726"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sp>
          <p:nvSpPr>
            <p:cNvPr id="625" name="Text Placeholder 2">
              <a:extLst>
                <a:ext uri="{FF2B5EF4-FFF2-40B4-BE49-F238E27FC236}">
                  <a16:creationId xmlns:a16="http://schemas.microsoft.com/office/drawing/2014/main" id="{E129CA2C-D516-0341-9309-A9E8F881F401}"/>
                </a:ext>
              </a:extLst>
            </p:cNvPr>
            <p:cNvSpPr txBox="1">
              <a:spLocks/>
            </p:cNvSpPr>
            <p:nvPr/>
          </p:nvSpPr>
          <p:spPr>
            <a:xfrm>
              <a:off x="1828800"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1</a:t>
              </a:r>
            </a:p>
          </p:txBody>
        </p:sp>
        <p:sp>
          <p:nvSpPr>
            <p:cNvPr id="626" name="Text Placeholder 2">
              <a:extLst>
                <a:ext uri="{FF2B5EF4-FFF2-40B4-BE49-F238E27FC236}">
                  <a16:creationId xmlns:a16="http://schemas.microsoft.com/office/drawing/2014/main" id="{4C076C1E-103D-C940-A6D5-9B350C9EF700}"/>
                </a:ext>
              </a:extLst>
            </p:cNvPr>
            <p:cNvSpPr txBox="1">
              <a:spLocks/>
            </p:cNvSpPr>
            <p:nvPr/>
          </p:nvSpPr>
          <p:spPr>
            <a:xfrm>
              <a:off x="2694339"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2</a:t>
              </a:r>
            </a:p>
          </p:txBody>
        </p:sp>
        <p:sp>
          <p:nvSpPr>
            <p:cNvPr id="627" name="Text Placeholder 2">
              <a:extLst>
                <a:ext uri="{FF2B5EF4-FFF2-40B4-BE49-F238E27FC236}">
                  <a16:creationId xmlns:a16="http://schemas.microsoft.com/office/drawing/2014/main" id="{4F2712A3-AB47-1646-B4BE-77722E32FFAA}"/>
                </a:ext>
              </a:extLst>
            </p:cNvPr>
            <p:cNvSpPr txBox="1">
              <a:spLocks/>
            </p:cNvSpPr>
            <p:nvPr/>
          </p:nvSpPr>
          <p:spPr>
            <a:xfrm>
              <a:off x="3517997" y="1538175"/>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3</a:t>
              </a:r>
            </a:p>
          </p:txBody>
        </p:sp>
        <p:sp>
          <p:nvSpPr>
            <p:cNvPr id="628" name="Text Placeholder 2">
              <a:extLst>
                <a:ext uri="{FF2B5EF4-FFF2-40B4-BE49-F238E27FC236}">
                  <a16:creationId xmlns:a16="http://schemas.microsoft.com/office/drawing/2014/main" id="{45728D04-8D31-2640-B79B-D9952129D44E}"/>
                </a:ext>
              </a:extLst>
            </p:cNvPr>
            <p:cNvSpPr txBox="1">
              <a:spLocks/>
            </p:cNvSpPr>
            <p:nvPr/>
          </p:nvSpPr>
          <p:spPr>
            <a:xfrm>
              <a:off x="4369577" y="1538175"/>
              <a:ext cx="745046"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4</a:t>
              </a:r>
            </a:p>
          </p:txBody>
        </p:sp>
      </p:grpSp>
      <p:sp>
        <p:nvSpPr>
          <p:cNvPr id="661" name="Text Placeholder 2">
            <a:extLst>
              <a:ext uri="{FF2B5EF4-FFF2-40B4-BE49-F238E27FC236}">
                <a16:creationId xmlns:a16="http://schemas.microsoft.com/office/drawing/2014/main" id="{5C433C0B-4630-2441-A080-E4D115757BE8}"/>
              </a:ext>
            </a:extLst>
          </p:cNvPr>
          <p:cNvSpPr txBox="1">
            <a:spLocks/>
          </p:cNvSpPr>
          <p:nvPr/>
        </p:nvSpPr>
        <p:spPr>
          <a:xfrm>
            <a:off x="1091491" y="3579591"/>
            <a:ext cx="3267805" cy="340746"/>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8600" lvl="0" indent="-228600">
              <a:lnSpc>
                <a:spcPct val="100000"/>
              </a:lnSpc>
              <a:spcBef>
                <a:spcPts val="0"/>
              </a:spcBef>
              <a:spcAft>
                <a:spcPts val="600"/>
              </a:spcAft>
              <a:buClr>
                <a:srgbClr val="282828"/>
              </a:buClr>
              <a:buSzPct val="100000"/>
              <a:buFont typeface="+mj-lt"/>
              <a:buAutoNum type="arabicPeriod" startAt="3"/>
            </a:pPr>
            <a:r>
              <a:rPr lang="en-US" sz="1200" b="1">
                <a:solidFill>
                  <a:srgbClr val="FBAB18"/>
                </a:solidFill>
              </a:rPr>
              <a:t>Remediate by coordinating multiple teams</a:t>
            </a:r>
          </a:p>
        </p:txBody>
      </p:sp>
      <p:grpSp>
        <p:nvGrpSpPr>
          <p:cNvPr id="662" name="Group 661">
            <a:extLst>
              <a:ext uri="{FF2B5EF4-FFF2-40B4-BE49-F238E27FC236}">
                <a16:creationId xmlns:a16="http://schemas.microsoft.com/office/drawing/2014/main" id="{52FEB1F2-F36D-CC46-B5A0-714E3DF151B0}"/>
              </a:ext>
            </a:extLst>
          </p:cNvPr>
          <p:cNvGrpSpPr/>
          <p:nvPr/>
        </p:nvGrpSpPr>
        <p:grpSpPr>
          <a:xfrm>
            <a:off x="1032902" y="3912131"/>
            <a:ext cx="3333528" cy="750028"/>
            <a:chOff x="5315172" y="1913354"/>
            <a:chExt cx="3333528" cy="750028"/>
          </a:xfrm>
        </p:grpSpPr>
        <p:grpSp>
          <p:nvGrpSpPr>
            <p:cNvPr id="663" name="Group 662">
              <a:extLst>
                <a:ext uri="{FF2B5EF4-FFF2-40B4-BE49-F238E27FC236}">
                  <a16:creationId xmlns:a16="http://schemas.microsoft.com/office/drawing/2014/main" id="{80DBA7C5-C52A-3A4C-A9AB-6D823AFA3F38}"/>
                </a:ext>
              </a:extLst>
            </p:cNvPr>
            <p:cNvGrpSpPr/>
            <p:nvPr/>
          </p:nvGrpSpPr>
          <p:grpSpPr>
            <a:xfrm>
              <a:off x="5315172" y="2207112"/>
              <a:ext cx="804074" cy="456270"/>
              <a:chOff x="1386547" y="1370508"/>
              <a:chExt cx="1617232" cy="917695"/>
            </a:xfrm>
          </p:grpSpPr>
          <p:grpSp>
            <p:nvGrpSpPr>
              <p:cNvPr id="692" name="Group 691">
                <a:extLst>
                  <a:ext uri="{FF2B5EF4-FFF2-40B4-BE49-F238E27FC236}">
                    <a16:creationId xmlns:a16="http://schemas.microsoft.com/office/drawing/2014/main" id="{CD1934BF-F242-A448-BB6F-FDFD9F02777B}"/>
                  </a:ext>
                </a:extLst>
              </p:cNvPr>
              <p:cNvGrpSpPr/>
              <p:nvPr/>
            </p:nvGrpSpPr>
            <p:grpSpPr>
              <a:xfrm>
                <a:off x="1386547" y="1370508"/>
                <a:ext cx="1617232" cy="917695"/>
                <a:chOff x="4831007" y="3572441"/>
                <a:chExt cx="1082675" cy="614362"/>
              </a:xfrm>
            </p:grpSpPr>
            <p:sp>
              <p:nvSpPr>
                <p:cNvPr id="697" name="Freeform 29">
                  <a:extLst>
                    <a:ext uri="{FF2B5EF4-FFF2-40B4-BE49-F238E27FC236}">
                      <a16:creationId xmlns:a16="http://schemas.microsoft.com/office/drawing/2014/main" id="{ED74D62E-1A80-F541-80A1-DEEBB02E7847}"/>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98" name="Freeform 30">
                  <a:extLst>
                    <a:ext uri="{FF2B5EF4-FFF2-40B4-BE49-F238E27FC236}">
                      <a16:creationId xmlns:a16="http://schemas.microsoft.com/office/drawing/2014/main" id="{2805279C-7123-FE4B-9CAF-B547787D4D59}"/>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93" name="Rectangle 692">
                <a:extLst>
                  <a:ext uri="{FF2B5EF4-FFF2-40B4-BE49-F238E27FC236}">
                    <a16:creationId xmlns:a16="http://schemas.microsoft.com/office/drawing/2014/main" id="{D914F25F-1D74-6E49-9850-2E0F5440FC3F}"/>
                  </a:ext>
                </a:extLst>
              </p:cNvPr>
              <p:cNvSpPr/>
              <p:nvPr/>
            </p:nvSpPr>
            <p:spPr>
              <a:xfrm>
                <a:off x="1769120"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94" name="Rectangle 693">
                <a:extLst>
                  <a:ext uri="{FF2B5EF4-FFF2-40B4-BE49-F238E27FC236}">
                    <a16:creationId xmlns:a16="http://schemas.microsoft.com/office/drawing/2014/main" id="{5EA37DAD-1694-4243-B011-542A42B07725}"/>
                  </a:ext>
                </a:extLst>
              </p:cNvPr>
              <p:cNvSpPr/>
              <p:nvPr/>
            </p:nvSpPr>
            <p:spPr>
              <a:xfrm>
                <a:off x="1769120" y="1515694"/>
                <a:ext cx="432769" cy="243559"/>
              </a:xfrm>
              <a:prstGeom prst="rect">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95" name="Rectangle 694">
                <a:extLst>
                  <a:ext uri="{FF2B5EF4-FFF2-40B4-BE49-F238E27FC236}">
                    <a16:creationId xmlns:a16="http://schemas.microsoft.com/office/drawing/2014/main" id="{73F2B1F3-D588-3847-BA9D-4FE34F2C822F}"/>
                  </a:ext>
                </a:extLst>
              </p:cNvPr>
              <p:cNvSpPr/>
              <p:nvPr/>
            </p:nvSpPr>
            <p:spPr>
              <a:xfrm>
                <a:off x="2227289"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96" name="Rectangle 695">
                <a:extLst>
                  <a:ext uri="{FF2B5EF4-FFF2-40B4-BE49-F238E27FC236}">
                    <a16:creationId xmlns:a16="http://schemas.microsoft.com/office/drawing/2014/main" id="{3C1BE152-5AA4-4C4D-8FDA-75A8E6159FB7}"/>
                  </a:ext>
                </a:extLst>
              </p:cNvPr>
              <p:cNvSpPr/>
              <p:nvPr/>
            </p:nvSpPr>
            <p:spPr>
              <a:xfrm>
                <a:off x="2227289"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64" name="Group 663">
              <a:extLst>
                <a:ext uri="{FF2B5EF4-FFF2-40B4-BE49-F238E27FC236}">
                  <a16:creationId xmlns:a16="http://schemas.microsoft.com/office/drawing/2014/main" id="{1ECE3C3C-28AC-984B-8FDB-7A02DA7517D8}"/>
                </a:ext>
              </a:extLst>
            </p:cNvPr>
            <p:cNvGrpSpPr/>
            <p:nvPr/>
          </p:nvGrpSpPr>
          <p:grpSpPr>
            <a:xfrm>
              <a:off x="6158323" y="2207112"/>
              <a:ext cx="804074" cy="456270"/>
              <a:chOff x="2936141" y="1370508"/>
              <a:chExt cx="1617232" cy="917695"/>
            </a:xfrm>
          </p:grpSpPr>
          <p:grpSp>
            <p:nvGrpSpPr>
              <p:cNvPr id="685" name="Group 684">
                <a:extLst>
                  <a:ext uri="{FF2B5EF4-FFF2-40B4-BE49-F238E27FC236}">
                    <a16:creationId xmlns:a16="http://schemas.microsoft.com/office/drawing/2014/main" id="{CB5C1D4E-E4DB-4843-8020-976722F03290}"/>
                  </a:ext>
                </a:extLst>
              </p:cNvPr>
              <p:cNvGrpSpPr/>
              <p:nvPr/>
            </p:nvGrpSpPr>
            <p:grpSpPr>
              <a:xfrm>
                <a:off x="2936141" y="1370508"/>
                <a:ext cx="1617232" cy="917695"/>
                <a:chOff x="4831007" y="3572441"/>
                <a:chExt cx="1082675" cy="614362"/>
              </a:xfrm>
            </p:grpSpPr>
            <p:sp>
              <p:nvSpPr>
                <p:cNvPr id="690" name="Freeform 29">
                  <a:extLst>
                    <a:ext uri="{FF2B5EF4-FFF2-40B4-BE49-F238E27FC236}">
                      <a16:creationId xmlns:a16="http://schemas.microsoft.com/office/drawing/2014/main" id="{E7927439-7C7B-624C-8FF7-048ED57439F8}"/>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91" name="Freeform 30">
                  <a:extLst>
                    <a:ext uri="{FF2B5EF4-FFF2-40B4-BE49-F238E27FC236}">
                      <a16:creationId xmlns:a16="http://schemas.microsoft.com/office/drawing/2014/main" id="{CB77302A-165B-4949-9895-2E6B53892453}"/>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86" name="Rectangle 685">
                <a:extLst>
                  <a:ext uri="{FF2B5EF4-FFF2-40B4-BE49-F238E27FC236}">
                    <a16:creationId xmlns:a16="http://schemas.microsoft.com/office/drawing/2014/main" id="{42AB3892-50F7-5C4F-B31A-4CA2F039F333}"/>
                  </a:ext>
                </a:extLst>
              </p:cNvPr>
              <p:cNvSpPr/>
              <p:nvPr/>
            </p:nvSpPr>
            <p:spPr>
              <a:xfrm>
                <a:off x="3318714"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7" name="Rectangle 686">
                <a:extLst>
                  <a:ext uri="{FF2B5EF4-FFF2-40B4-BE49-F238E27FC236}">
                    <a16:creationId xmlns:a16="http://schemas.microsoft.com/office/drawing/2014/main" id="{6B525624-CF9F-EC4A-B346-1258DB394B6D}"/>
                  </a:ext>
                </a:extLst>
              </p:cNvPr>
              <p:cNvSpPr/>
              <p:nvPr/>
            </p:nvSpPr>
            <p:spPr>
              <a:xfrm>
                <a:off x="3318714"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8" name="Rectangle 687">
                <a:extLst>
                  <a:ext uri="{FF2B5EF4-FFF2-40B4-BE49-F238E27FC236}">
                    <a16:creationId xmlns:a16="http://schemas.microsoft.com/office/drawing/2014/main" id="{5B8264F7-BD38-1848-B626-AEAF9A1A3F92}"/>
                  </a:ext>
                </a:extLst>
              </p:cNvPr>
              <p:cNvSpPr/>
              <p:nvPr/>
            </p:nvSpPr>
            <p:spPr>
              <a:xfrm>
                <a:off x="3776883" y="1515694"/>
                <a:ext cx="432769" cy="243559"/>
              </a:xfrm>
              <a:prstGeom prst="rect">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9" name="Rectangle 688">
                <a:extLst>
                  <a:ext uri="{FF2B5EF4-FFF2-40B4-BE49-F238E27FC236}">
                    <a16:creationId xmlns:a16="http://schemas.microsoft.com/office/drawing/2014/main" id="{EA52CBFC-0558-7E45-BD14-82FBC017C594}"/>
                  </a:ext>
                </a:extLst>
              </p:cNvPr>
              <p:cNvSpPr/>
              <p:nvPr/>
            </p:nvSpPr>
            <p:spPr>
              <a:xfrm>
                <a:off x="3776883"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65" name="Group 664">
              <a:extLst>
                <a:ext uri="{FF2B5EF4-FFF2-40B4-BE49-F238E27FC236}">
                  <a16:creationId xmlns:a16="http://schemas.microsoft.com/office/drawing/2014/main" id="{C6DAD749-AACD-264E-B472-1BDFFFA5CFBE}"/>
                </a:ext>
              </a:extLst>
            </p:cNvPr>
            <p:cNvGrpSpPr/>
            <p:nvPr/>
          </p:nvGrpSpPr>
          <p:grpSpPr>
            <a:xfrm>
              <a:off x="7001474" y="2207112"/>
              <a:ext cx="804074" cy="456270"/>
              <a:chOff x="4620900" y="1370508"/>
              <a:chExt cx="1617232" cy="917695"/>
            </a:xfrm>
          </p:grpSpPr>
          <p:grpSp>
            <p:nvGrpSpPr>
              <p:cNvPr id="678" name="Group 677">
                <a:extLst>
                  <a:ext uri="{FF2B5EF4-FFF2-40B4-BE49-F238E27FC236}">
                    <a16:creationId xmlns:a16="http://schemas.microsoft.com/office/drawing/2014/main" id="{3B51B4FA-DDB7-C045-BE46-A0F4EF3CA241}"/>
                  </a:ext>
                </a:extLst>
              </p:cNvPr>
              <p:cNvGrpSpPr/>
              <p:nvPr/>
            </p:nvGrpSpPr>
            <p:grpSpPr>
              <a:xfrm>
                <a:off x="4620900" y="1370508"/>
                <a:ext cx="1617232" cy="917695"/>
                <a:chOff x="4831007" y="3572441"/>
                <a:chExt cx="1082675" cy="614362"/>
              </a:xfrm>
            </p:grpSpPr>
            <p:sp>
              <p:nvSpPr>
                <p:cNvPr id="683" name="Freeform 29">
                  <a:extLst>
                    <a:ext uri="{FF2B5EF4-FFF2-40B4-BE49-F238E27FC236}">
                      <a16:creationId xmlns:a16="http://schemas.microsoft.com/office/drawing/2014/main" id="{7EEB7C65-2C6E-B448-8DAA-C7CEA21982DA}"/>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84" name="Freeform 30">
                  <a:extLst>
                    <a:ext uri="{FF2B5EF4-FFF2-40B4-BE49-F238E27FC236}">
                      <a16:creationId xmlns:a16="http://schemas.microsoft.com/office/drawing/2014/main" id="{DE6FFC82-DA83-B44A-BBC1-D442D80D0094}"/>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79" name="Rectangle 678">
                <a:extLst>
                  <a:ext uri="{FF2B5EF4-FFF2-40B4-BE49-F238E27FC236}">
                    <a16:creationId xmlns:a16="http://schemas.microsoft.com/office/drawing/2014/main" id="{58175A90-6295-7D4D-8F80-FFE49CBB64A3}"/>
                  </a:ext>
                </a:extLst>
              </p:cNvPr>
              <p:cNvSpPr/>
              <p:nvPr/>
            </p:nvSpPr>
            <p:spPr>
              <a:xfrm>
                <a:off x="5003473"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0" name="Rectangle 679">
                <a:extLst>
                  <a:ext uri="{FF2B5EF4-FFF2-40B4-BE49-F238E27FC236}">
                    <a16:creationId xmlns:a16="http://schemas.microsoft.com/office/drawing/2014/main" id="{44623F6A-701C-174E-9ADB-049E18BC712C}"/>
                  </a:ext>
                </a:extLst>
              </p:cNvPr>
              <p:cNvSpPr/>
              <p:nvPr/>
            </p:nvSpPr>
            <p:spPr>
              <a:xfrm>
                <a:off x="5003473"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1" name="Rectangle 680">
                <a:extLst>
                  <a:ext uri="{FF2B5EF4-FFF2-40B4-BE49-F238E27FC236}">
                    <a16:creationId xmlns:a16="http://schemas.microsoft.com/office/drawing/2014/main" id="{6AEE149D-B944-4B43-9BC3-4147B938AFCB}"/>
                  </a:ext>
                </a:extLst>
              </p:cNvPr>
              <p:cNvSpPr/>
              <p:nvPr/>
            </p:nvSpPr>
            <p:spPr>
              <a:xfrm>
                <a:off x="5461642"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82" name="Rectangle 681">
                <a:extLst>
                  <a:ext uri="{FF2B5EF4-FFF2-40B4-BE49-F238E27FC236}">
                    <a16:creationId xmlns:a16="http://schemas.microsoft.com/office/drawing/2014/main" id="{96C8A385-EA25-0F47-907A-B74E90A4FBA1}"/>
                  </a:ext>
                </a:extLst>
              </p:cNvPr>
              <p:cNvSpPr/>
              <p:nvPr/>
            </p:nvSpPr>
            <p:spPr>
              <a:xfrm>
                <a:off x="5461642" y="1785144"/>
                <a:ext cx="432769" cy="243559"/>
              </a:xfrm>
              <a:prstGeom prst="rect">
                <a:avLst/>
              </a:prstGeom>
              <a:solidFill>
                <a:srgbClr val="FBAB18"/>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grpSp>
          <p:nvGrpSpPr>
            <p:cNvPr id="666" name="Group 665">
              <a:extLst>
                <a:ext uri="{FF2B5EF4-FFF2-40B4-BE49-F238E27FC236}">
                  <a16:creationId xmlns:a16="http://schemas.microsoft.com/office/drawing/2014/main" id="{E07AF896-07E4-0E48-972B-B42B8C2AB42C}"/>
                </a:ext>
              </a:extLst>
            </p:cNvPr>
            <p:cNvGrpSpPr/>
            <p:nvPr/>
          </p:nvGrpSpPr>
          <p:grpSpPr>
            <a:xfrm>
              <a:off x="7844625" y="2207112"/>
              <a:ext cx="804074" cy="456270"/>
              <a:chOff x="6354984" y="1370508"/>
              <a:chExt cx="1617232" cy="917695"/>
            </a:xfrm>
          </p:grpSpPr>
          <p:grpSp>
            <p:nvGrpSpPr>
              <p:cNvPr id="671" name="Group 670">
                <a:extLst>
                  <a:ext uri="{FF2B5EF4-FFF2-40B4-BE49-F238E27FC236}">
                    <a16:creationId xmlns:a16="http://schemas.microsoft.com/office/drawing/2014/main" id="{3092D798-63A2-9B44-B435-1F3FB913490F}"/>
                  </a:ext>
                </a:extLst>
              </p:cNvPr>
              <p:cNvGrpSpPr/>
              <p:nvPr/>
            </p:nvGrpSpPr>
            <p:grpSpPr>
              <a:xfrm>
                <a:off x="6354984" y="1370508"/>
                <a:ext cx="1617232" cy="917695"/>
                <a:chOff x="4831007" y="3572441"/>
                <a:chExt cx="1082675" cy="614362"/>
              </a:xfrm>
            </p:grpSpPr>
            <p:sp>
              <p:nvSpPr>
                <p:cNvPr id="676" name="Freeform 29">
                  <a:extLst>
                    <a:ext uri="{FF2B5EF4-FFF2-40B4-BE49-F238E27FC236}">
                      <a16:creationId xmlns:a16="http://schemas.microsoft.com/office/drawing/2014/main" id="{46F493F2-573E-9D4F-8BEA-BC2D88930674}"/>
                    </a:ext>
                  </a:extLst>
                </p:cNvPr>
                <p:cNvSpPr>
                  <a:spLocks/>
                </p:cNvSpPr>
                <p:nvPr/>
              </p:nvSpPr>
              <p:spPr bwMode="auto">
                <a:xfrm>
                  <a:off x="4831007" y="4143941"/>
                  <a:ext cx="1082675" cy="4286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677" name="Freeform 30">
                  <a:extLst>
                    <a:ext uri="{FF2B5EF4-FFF2-40B4-BE49-F238E27FC236}">
                      <a16:creationId xmlns:a16="http://schemas.microsoft.com/office/drawing/2014/main" id="{CCF1AE0E-9B93-D040-A473-FC3A1DB42F81}"/>
                    </a:ext>
                  </a:extLst>
                </p:cNvPr>
                <p:cNvSpPr>
                  <a:spLocks noEditPoints="1"/>
                </p:cNvSpPr>
                <p:nvPr/>
              </p:nvSpPr>
              <p:spPr bwMode="auto">
                <a:xfrm>
                  <a:off x="4921495" y="3572441"/>
                  <a:ext cx="901700" cy="528637"/>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grpSp>
          <p:sp>
            <p:nvSpPr>
              <p:cNvPr id="672" name="Rectangle 671">
                <a:extLst>
                  <a:ext uri="{FF2B5EF4-FFF2-40B4-BE49-F238E27FC236}">
                    <a16:creationId xmlns:a16="http://schemas.microsoft.com/office/drawing/2014/main" id="{7ECA9BCC-C63C-EE48-A308-C17046791C2C}"/>
                  </a:ext>
                </a:extLst>
              </p:cNvPr>
              <p:cNvSpPr/>
              <p:nvPr/>
            </p:nvSpPr>
            <p:spPr>
              <a:xfrm>
                <a:off x="6737557" y="1785144"/>
                <a:ext cx="432769" cy="243559"/>
              </a:xfrm>
              <a:prstGeom prst="rect">
                <a:avLst/>
              </a:prstGeom>
              <a:solidFill>
                <a:srgbClr val="E3241B"/>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73" name="Rectangle 672">
                <a:extLst>
                  <a:ext uri="{FF2B5EF4-FFF2-40B4-BE49-F238E27FC236}">
                    <a16:creationId xmlns:a16="http://schemas.microsoft.com/office/drawing/2014/main" id="{1F06B416-E597-574B-A5F1-7DECF2288399}"/>
                  </a:ext>
                </a:extLst>
              </p:cNvPr>
              <p:cNvSpPr/>
              <p:nvPr/>
            </p:nvSpPr>
            <p:spPr>
              <a:xfrm>
                <a:off x="6737557"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74" name="Rectangle 673">
                <a:extLst>
                  <a:ext uri="{FF2B5EF4-FFF2-40B4-BE49-F238E27FC236}">
                    <a16:creationId xmlns:a16="http://schemas.microsoft.com/office/drawing/2014/main" id="{1BC03DFA-7B99-6B43-8144-F2473F9FEDAC}"/>
                  </a:ext>
                </a:extLst>
              </p:cNvPr>
              <p:cNvSpPr/>
              <p:nvPr/>
            </p:nvSpPr>
            <p:spPr>
              <a:xfrm>
                <a:off x="7195726" y="151569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675" name="Rectangle 674">
                <a:extLst>
                  <a:ext uri="{FF2B5EF4-FFF2-40B4-BE49-F238E27FC236}">
                    <a16:creationId xmlns:a16="http://schemas.microsoft.com/office/drawing/2014/main" id="{F4E12A7C-2392-0C4A-8BBA-3805E5A216D7}"/>
                  </a:ext>
                </a:extLst>
              </p:cNvPr>
              <p:cNvSpPr/>
              <p:nvPr/>
            </p:nvSpPr>
            <p:spPr>
              <a:xfrm>
                <a:off x="7195726" y="1785144"/>
                <a:ext cx="432769" cy="243559"/>
              </a:xfrm>
              <a:prstGeom prst="rect">
                <a:avLst/>
              </a:prstGeom>
              <a:solidFill>
                <a:srgbClr val="282828">
                  <a:lumMod val="25000"/>
                  <a:lumOff val="75000"/>
                </a:srgbClr>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sp>
          <p:nvSpPr>
            <p:cNvPr id="667" name="Text Placeholder 2">
              <a:extLst>
                <a:ext uri="{FF2B5EF4-FFF2-40B4-BE49-F238E27FC236}">
                  <a16:creationId xmlns:a16="http://schemas.microsoft.com/office/drawing/2014/main" id="{CC60B9BF-EF61-C947-94A3-7C7E65F25BAE}"/>
                </a:ext>
              </a:extLst>
            </p:cNvPr>
            <p:cNvSpPr txBox="1">
              <a:spLocks/>
            </p:cNvSpPr>
            <p:nvPr/>
          </p:nvSpPr>
          <p:spPr>
            <a:xfrm>
              <a:off x="5374717" y="1913354"/>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1</a:t>
              </a:r>
            </a:p>
          </p:txBody>
        </p:sp>
        <p:sp>
          <p:nvSpPr>
            <p:cNvPr id="668" name="Text Placeholder 2">
              <a:extLst>
                <a:ext uri="{FF2B5EF4-FFF2-40B4-BE49-F238E27FC236}">
                  <a16:creationId xmlns:a16="http://schemas.microsoft.com/office/drawing/2014/main" id="{52E1C25A-6388-6042-A62F-566E01BC6E7C}"/>
                </a:ext>
              </a:extLst>
            </p:cNvPr>
            <p:cNvSpPr txBox="1">
              <a:spLocks/>
            </p:cNvSpPr>
            <p:nvPr/>
          </p:nvSpPr>
          <p:spPr>
            <a:xfrm>
              <a:off x="6240256" y="1913354"/>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2</a:t>
              </a:r>
            </a:p>
          </p:txBody>
        </p:sp>
        <p:sp>
          <p:nvSpPr>
            <p:cNvPr id="669" name="Text Placeholder 2">
              <a:extLst>
                <a:ext uri="{FF2B5EF4-FFF2-40B4-BE49-F238E27FC236}">
                  <a16:creationId xmlns:a16="http://schemas.microsoft.com/office/drawing/2014/main" id="{63D6EEFD-4C8E-1E41-9C41-014EEE8F2D76}"/>
                </a:ext>
              </a:extLst>
            </p:cNvPr>
            <p:cNvSpPr txBox="1">
              <a:spLocks/>
            </p:cNvSpPr>
            <p:nvPr/>
          </p:nvSpPr>
          <p:spPr>
            <a:xfrm>
              <a:off x="7063914" y="1913354"/>
              <a:ext cx="1188345"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3</a:t>
              </a:r>
            </a:p>
          </p:txBody>
        </p:sp>
        <p:sp>
          <p:nvSpPr>
            <p:cNvPr id="670" name="Text Placeholder 2">
              <a:extLst>
                <a:ext uri="{FF2B5EF4-FFF2-40B4-BE49-F238E27FC236}">
                  <a16:creationId xmlns:a16="http://schemas.microsoft.com/office/drawing/2014/main" id="{63618AD3-7965-B940-B331-77A8E56E1D89}"/>
                </a:ext>
              </a:extLst>
            </p:cNvPr>
            <p:cNvSpPr txBox="1">
              <a:spLocks/>
            </p:cNvSpPr>
            <p:nvPr/>
          </p:nvSpPr>
          <p:spPr>
            <a:xfrm>
              <a:off x="7915493" y="1913354"/>
              <a:ext cx="733207" cy="30251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1" indent="0" algn="l" defTabSz="684213" rtl="0" eaLnBrk="1" fontAlgn="base" latinLnBrk="0" hangingPunct="1">
                <a:lnSpc>
                  <a:spcPct val="100000"/>
                </a:lnSpc>
                <a:spcBef>
                  <a:spcPts val="0"/>
                </a:spcBef>
                <a:spcAft>
                  <a:spcPts val="0"/>
                </a:spcAft>
                <a:buClr>
                  <a:srgbClr val="282828"/>
                </a:buClr>
                <a:buSzPct val="100000"/>
                <a:buFont typeface="Arial"/>
                <a:buNone/>
                <a:tabLst/>
                <a:defRPr/>
              </a:pP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Product </a:t>
              </a:r>
              <a:b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br>
              <a:r>
                <a:rPr kumimoji="0" lang="en-US" sz="800" b="1" i="0" u="none" strike="noStrike" kern="1200" cap="none" spc="0" normalizeH="0" baseline="0" noProof="0">
                  <a:ln>
                    <a:noFill/>
                  </a:ln>
                  <a:solidFill>
                    <a:srgbClr val="282828">
                      <a:lumMod val="50000"/>
                      <a:lumOff val="50000"/>
                    </a:srgbClr>
                  </a:solidFill>
                  <a:effectLst/>
                  <a:uLnTx/>
                  <a:uFillTx/>
                  <a:latin typeface="CiscoSansTT ExtraLight"/>
                  <a:ea typeface="ＭＳ Ｐゴシック" charset="0"/>
                </a:rPr>
                <a:t>dashboard 4</a:t>
              </a:r>
            </a:p>
          </p:txBody>
        </p:sp>
      </p:grpSp>
      <p:sp>
        <p:nvSpPr>
          <p:cNvPr id="699" name="Rectangle 698">
            <a:extLst>
              <a:ext uri="{FF2B5EF4-FFF2-40B4-BE49-F238E27FC236}">
                <a16:creationId xmlns:a16="http://schemas.microsoft.com/office/drawing/2014/main" id="{631B6FFB-F9F3-5642-8B6C-E03A90AAC2E7}"/>
              </a:ext>
            </a:extLst>
          </p:cNvPr>
          <p:cNvSpPr/>
          <p:nvPr/>
        </p:nvSpPr>
        <p:spPr>
          <a:xfrm>
            <a:off x="1037849" y="1559548"/>
            <a:ext cx="1089081" cy="276999"/>
          </a:xfrm>
          <a:prstGeom prst="rect">
            <a:avLst/>
          </a:prstGeom>
        </p:spPr>
        <p:txBody>
          <a:bodyPr wrap="none">
            <a:spAutoFit/>
          </a:bodyPr>
          <a:lstStyle/>
          <a:p>
            <a:pPr marL="173038" indent="-166688" defTabSz="684213" fontAlgn="base">
              <a:spcAft>
                <a:spcPts val="600"/>
              </a:spcAft>
              <a:buClr>
                <a:srgbClr val="282828"/>
              </a:buClr>
              <a:buSzPct val="100000"/>
              <a:buFont typeface="+mj-lt"/>
              <a:buAutoNum type="arabicPeriod"/>
              <a:defRPr/>
            </a:pPr>
            <a:r>
              <a:rPr lang="en-US" sz="1200" b="1">
                <a:solidFill>
                  <a:srgbClr val="FBAB18"/>
                </a:solidFill>
                <a:ea typeface="ＭＳ Ｐゴシック" charset="0"/>
              </a:rPr>
              <a:t>IOC / alert</a:t>
            </a:r>
          </a:p>
        </p:txBody>
      </p:sp>
      <p:sp>
        <p:nvSpPr>
          <p:cNvPr id="700" name="Text Placeholder 2">
            <a:extLst>
              <a:ext uri="{FF2B5EF4-FFF2-40B4-BE49-F238E27FC236}">
                <a16:creationId xmlns:a16="http://schemas.microsoft.com/office/drawing/2014/main" id="{6ACF3BFD-81A0-4443-955B-642E004EE509}"/>
              </a:ext>
            </a:extLst>
          </p:cNvPr>
          <p:cNvSpPr txBox="1">
            <a:spLocks/>
          </p:cNvSpPr>
          <p:nvPr/>
        </p:nvSpPr>
        <p:spPr>
          <a:xfrm>
            <a:off x="549289" y="1151553"/>
            <a:ext cx="1856475" cy="340639"/>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0" indent="0" algn="l" defTabSz="684213" rtl="0" eaLnBrk="1" fontAlgn="base" latinLnBrk="0" hangingPunct="1">
              <a:lnSpc>
                <a:spcPct val="100000"/>
              </a:lnSpc>
              <a:spcBef>
                <a:spcPts val="0"/>
              </a:spcBef>
              <a:spcAft>
                <a:spcPts val="600"/>
              </a:spcAft>
              <a:buClr>
                <a:srgbClr val="282828"/>
              </a:buClr>
              <a:buSzPct val="60000"/>
              <a:buFont typeface="Arial"/>
              <a:buNone/>
              <a:tabLst/>
              <a:defRPr/>
            </a:pPr>
            <a:r>
              <a:rPr kumimoji="0" lang="en-US" sz="1400" u="none" strike="noStrike" kern="1200" cap="none" spc="0" normalizeH="0" baseline="0" noProof="0">
                <a:ln>
                  <a:noFill/>
                </a:ln>
                <a:solidFill>
                  <a:schemeClr val="bg2">
                    <a:lumMod val="50000"/>
                  </a:schemeClr>
                </a:solidFill>
                <a:effectLst/>
                <a:uLnTx/>
                <a:uFillTx/>
                <a:latin typeface="CiscoSansTT Medium" panose="020B0503020201020303" pitchFamily="34" charset="0"/>
                <a:cs typeface="CiscoSansTT Medium" panose="020B0503020201020303" pitchFamily="34" charset="0"/>
              </a:rPr>
              <a:t>BEFORE: 32 minutes</a:t>
            </a:r>
          </a:p>
        </p:txBody>
      </p:sp>
      <p:grpSp>
        <p:nvGrpSpPr>
          <p:cNvPr id="701" name="Group 700">
            <a:extLst>
              <a:ext uri="{FF2B5EF4-FFF2-40B4-BE49-F238E27FC236}">
                <a16:creationId xmlns:a16="http://schemas.microsoft.com/office/drawing/2014/main" id="{CCA87C93-CD55-8846-8F21-EF6E1545260B}"/>
              </a:ext>
            </a:extLst>
          </p:cNvPr>
          <p:cNvGrpSpPr>
            <a:grpSpLocks noChangeAspect="1"/>
          </p:cNvGrpSpPr>
          <p:nvPr/>
        </p:nvGrpSpPr>
        <p:grpSpPr>
          <a:xfrm>
            <a:off x="1273924" y="3177428"/>
            <a:ext cx="296574" cy="172461"/>
            <a:chOff x="2411784" y="981846"/>
            <a:chExt cx="1644740" cy="956436"/>
          </a:xfrm>
        </p:grpSpPr>
        <p:sp>
          <p:nvSpPr>
            <p:cNvPr id="702" name="Oval 3">
              <a:extLst>
                <a:ext uri="{FF2B5EF4-FFF2-40B4-BE49-F238E27FC236}">
                  <a16:creationId xmlns:a16="http://schemas.microsoft.com/office/drawing/2014/main" id="{01ECD26C-43CB-AA48-8748-B225637C8A29}"/>
                </a:ext>
              </a:extLst>
            </p:cNvPr>
            <p:cNvSpPr/>
            <p:nvPr/>
          </p:nvSpPr>
          <p:spPr>
            <a:xfrm>
              <a:off x="2411784" y="981846"/>
              <a:ext cx="1640900" cy="953174"/>
            </a:xfrm>
            <a:custGeom>
              <a:avLst/>
              <a:gdLst>
                <a:gd name="connsiteX0" fmla="*/ 0 w 1640899"/>
                <a:gd name="connsiteY0" fmla="*/ 476587 h 953173"/>
                <a:gd name="connsiteX1" fmla="*/ 820450 w 1640899"/>
                <a:gd name="connsiteY1" fmla="*/ 0 h 953173"/>
                <a:gd name="connsiteX2" fmla="*/ 1640900 w 1640899"/>
                <a:gd name="connsiteY2" fmla="*/ 476587 h 953173"/>
                <a:gd name="connsiteX3" fmla="*/ 820450 w 1640899"/>
                <a:gd name="connsiteY3" fmla="*/ 953174 h 953173"/>
                <a:gd name="connsiteX4" fmla="*/ 0 w 1640899"/>
                <a:gd name="connsiteY4" fmla="*/ 476587 h 953173"/>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35451 w 1676351"/>
                <a:gd name="connsiteY0" fmla="*/ 476587 h 953174"/>
                <a:gd name="connsiteX1" fmla="*/ 855901 w 1676351"/>
                <a:gd name="connsiteY1" fmla="*/ 0 h 953174"/>
                <a:gd name="connsiteX2" fmla="*/ 1676351 w 1676351"/>
                <a:gd name="connsiteY2" fmla="*/ 476587 h 953174"/>
                <a:gd name="connsiteX3" fmla="*/ 855901 w 1676351"/>
                <a:gd name="connsiteY3" fmla="*/ 953174 h 953174"/>
                <a:gd name="connsiteX4" fmla="*/ 35451 w 1676351"/>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00" h="953174">
                  <a:moveTo>
                    <a:pt x="0" y="476587"/>
                  </a:moveTo>
                  <a:cubicBezTo>
                    <a:pt x="149225" y="314975"/>
                    <a:pt x="373678" y="66675"/>
                    <a:pt x="820450" y="0"/>
                  </a:cubicBezTo>
                  <a:cubicBezTo>
                    <a:pt x="1257697" y="66675"/>
                    <a:pt x="1409125" y="203850"/>
                    <a:pt x="1640900" y="476587"/>
                  </a:cubicBezTo>
                  <a:cubicBezTo>
                    <a:pt x="1491675" y="650899"/>
                    <a:pt x="1264047" y="921424"/>
                    <a:pt x="820450" y="953174"/>
                  </a:cubicBezTo>
                  <a:cubicBezTo>
                    <a:pt x="348278" y="905549"/>
                    <a:pt x="152400" y="641374"/>
                    <a:pt x="0" y="47658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3" name="Freeform 702">
              <a:extLst>
                <a:ext uri="{FF2B5EF4-FFF2-40B4-BE49-F238E27FC236}">
                  <a16:creationId xmlns:a16="http://schemas.microsoft.com/office/drawing/2014/main" id="{C9222A79-CCCC-A042-95CF-FD393F8421BF}"/>
                </a:ext>
              </a:extLst>
            </p:cNvPr>
            <p:cNvSpPr>
              <a:spLocks noChangeArrowheads="1"/>
            </p:cNvSpPr>
            <p:nvPr/>
          </p:nvSpPr>
          <p:spPr bwMode="auto">
            <a:xfrm>
              <a:off x="2415625" y="985109"/>
              <a:ext cx="1640899" cy="953173"/>
            </a:xfrm>
            <a:custGeom>
              <a:avLst/>
              <a:gdLst>
                <a:gd name="T0" fmla="*/ 107998 w 215087"/>
                <a:gd name="T1" fmla="*/ 39802 h 125054"/>
                <a:gd name="T2" fmla="*/ 130128 w 215087"/>
                <a:gd name="T3" fmla="*/ 61912 h 125054"/>
                <a:gd name="T4" fmla="*/ 107998 w 215087"/>
                <a:gd name="T5" fmla="*/ 84023 h 125054"/>
                <a:gd name="T6" fmla="*/ 85867 w 215087"/>
                <a:gd name="T7" fmla="*/ 61912 h 125054"/>
                <a:gd name="T8" fmla="*/ 90150 w 215087"/>
                <a:gd name="T9" fmla="*/ 57633 h 125054"/>
                <a:gd name="T10" fmla="*/ 94791 w 215087"/>
                <a:gd name="T11" fmla="*/ 61912 h 125054"/>
                <a:gd name="T12" fmla="*/ 107998 w 215087"/>
                <a:gd name="T13" fmla="*/ 75107 h 125054"/>
                <a:gd name="T14" fmla="*/ 121562 w 215087"/>
                <a:gd name="T15" fmla="*/ 61912 h 125054"/>
                <a:gd name="T16" fmla="*/ 107998 w 215087"/>
                <a:gd name="T17" fmla="*/ 48717 h 125054"/>
                <a:gd name="T18" fmla="*/ 103715 w 215087"/>
                <a:gd name="T19" fmla="*/ 44081 h 125054"/>
                <a:gd name="T20" fmla="*/ 107998 w 215087"/>
                <a:gd name="T21" fmla="*/ 39802 h 125054"/>
                <a:gd name="T22" fmla="*/ 107200 w 215087"/>
                <a:gd name="T23" fmla="*/ 31311 h 125054"/>
                <a:gd name="T24" fmla="*/ 75775 w 215087"/>
                <a:gd name="T25" fmla="*/ 62707 h 125054"/>
                <a:gd name="T26" fmla="*/ 107200 w 215087"/>
                <a:gd name="T27" fmla="*/ 94101 h 125054"/>
                <a:gd name="T28" fmla="*/ 138623 w 215087"/>
                <a:gd name="T29" fmla="*/ 62707 h 125054"/>
                <a:gd name="T30" fmla="*/ 107200 w 215087"/>
                <a:gd name="T31" fmla="*/ 31311 h 125054"/>
                <a:gd name="T32" fmla="*/ 107200 w 215087"/>
                <a:gd name="T33" fmla="*/ 22289 h 125054"/>
                <a:gd name="T34" fmla="*/ 147653 w 215087"/>
                <a:gd name="T35" fmla="*/ 62707 h 125054"/>
                <a:gd name="T36" fmla="*/ 107200 w 215087"/>
                <a:gd name="T37" fmla="*/ 103123 h 125054"/>
                <a:gd name="T38" fmla="*/ 66745 w 215087"/>
                <a:gd name="T39" fmla="*/ 62707 h 125054"/>
                <a:gd name="T40" fmla="*/ 107200 w 215087"/>
                <a:gd name="T41" fmla="*/ 22289 h 125054"/>
                <a:gd name="T42" fmla="*/ 107814 w 215087"/>
                <a:gd name="T43" fmla="*/ 9010 h 125054"/>
                <a:gd name="T44" fmla="*/ 10690 w 215087"/>
                <a:gd name="T45" fmla="*/ 62707 h 125054"/>
                <a:gd name="T46" fmla="*/ 107814 w 215087"/>
                <a:gd name="T47" fmla="*/ 116403 h 125054"/>
                <a:gd name="T48" fmla="*/ 205300 w 215087"/>
                <a:gd name="T49" fmla="*/ 62707 h 125054"/>
                <a:gd name="T50" fmla="*/ 107814 w 215087"/>
                <a:gd name="T51" fmla="*/ 9010 h 125054"/>
                <a:gd name="T52" fmla="*/ 107814 w 215087"/>
                <a:gd name="T53" fmla="*/ 0 h 125054"/>
                <a:gd name="T54" fmla="*/ 215085 w 215087"/>
                <a:gd name="T55" fmla="*/ 60183 h 125054"/>
                <a:gd name="T56" fmla="*/ 215085 w 215087"/>
                <a:gd name="T57" fmla="*/ 65229 h 125054"/>
                <a:gd name="T58" fmla="*/ 107814 w 215087"/>
                <a:gd name="T59" fmla="*/ 125413 h 125054"/>
                <a:gd name="T60" fmla="*/ 543 w 215087"/>
                <a:gd name="T61" fmla="*/ 65229 h 125054"/>
                <a:gd name="T62" fmla="*/ 543 w 215087"/>
                <a:gd name="T63" fmla="*/ 60183 h 125054"/>
                <a:gd name="T64" fmla="*/ 107814 w 215087"/>
                <a:gd name="T65" fmla="*/ 0 h 1250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5087" h="125054">
                  <a:moveTo>
                    <a:pt x="107591" y="39688"/>
                  </a:moveTo>
                  <a:cubicBezTo>
                    <a:pt x="120037" y="39688"/>
                    <a:pt x="129638" y="49289"/>
                    <a:pt x="129638" y="61735"/>
                  </a:cubicBezTo>
                  <a:cubicBezTo>
                    <a:pt x="129638" y="74181"/>
                    <a:pt x="120037" y="83782"/>
                    <a:pt x="107591" y="83782"/>
                  </a:cubicBezTo>
                  <a:cubicBezTo>
                    <a:pt x="95145" y="83782"/>
                    <a:pt x="85544" y="74181"/>
                    <a:pt x="85544" y="61735"/>
                  </a:cubicBezTo>
                  <a:cubicBezTo>
                    <a:pt x="85544" y="59246"/>
                    <a:pt x="86966" y="57468"/>
                    <a:pt x="89811" y="57468"/>
                  </a:cubicBezTo>
                  <a:cubicBezTo>
                    <a:pt x="92300" y="57468"/>
                    <a:pt x="94434" y="59246"/>
                    <a:pt x="94434" y="61735"/>
                  </a:cubicBezTo>
                  <a:cubicBezTo>
                    <a:pt x="94434" y="68847"/>
                    <a:pt x="100479" y="74892"/>
                    <a:pt x="107591" y="74892"/>
                  </a:cubicBezTo>
                  <a:cubicBezTo>
                    <a:pt x="114703" y="74892"/>
                    <a:pt x="121104" y="68847"/>
                    <a:pt x="121104" y="61735"/>
                  </a:cubicBezTo>
                  <a:cubicBezTo>
                    <a:pt x="121104" y="54623"/>
                    <a:pt x="114703" y="48578"/>
                    <a:pt x="107591" y="48578"/>
                  </a:cubicBezTo>
                  <a:cubicBezTo>
                    <a:pt x="105102" y="48578"/>
                    <a:pt x="103324" y="46800"/>
                    <a:pt x="103324" y="43955"/>
                  </a:cubicBezTo>
                  <a:cubicBezTo>
                    <a:pt x="103324" y="41466"/>
                    <a:pt x="105102" y="39688"/>
                    <a:pt x="107591" y="39688"/>
                  </a:cubicBezTo>
                  <a:close/>
                  <a:moveTo>
                    <a:pt x="106796" y="31221"/>
                  </a:moveTo>
                  <a:cubicBezTo>
                    <a:pt x="89883" y="31221"/>
                    <a:pt x="75490" y="45614"/>
                    <a:pt x="75490" y="62527"/>
                  </a:cubicBezTo>
                  <a:cubicBezTo>
                    <a:pt x="75490" y="79439"/>
                    <a:pt x="89883" y="93832"/>
                    <a:pt x="106796" y="93832"/>
                  </a:cubicBezTo>
                  <a:cubicBezTo>
                    <a:pt x="123708" y="93832"/>
                    <a:pt x="138101" y="79439"/>
                    <a:pt x="138101" y="62527"/>
                  </a:cubicBezTo>
                  <a:cubicBezTo>
                    <a:pt x="138101" y="45614"/>
                    <a:pt x="123708" y="31221"/>
                    <a:pt x="106796" y="31221"/>
                  </a:cubicBezTo>
                  <a:close/>
                  <a:moveTo>
                    <a:pt x="106796" y="22225"/>
                  </a:moveTo>
                  <a:cubicBezTo>
                    <a:pt x="129105" y="22225"/>
                    <a:pt x="147097" y="40217"/>
                    <a:pt x="147097" y="62527"/>
                  </a:cubicBezTo>
                  <a:cubicBezTo>
                    <a:pt x="147097" y="84836"/>
                    <a:pt x="129105" y="102828"/>
                    <a:pt x="106796" y="102828"/>
                  </a:cubicBezTo>
                  <a:cubicBezTo>
                    <a:pt x="84486" y="102828"/>
                    <a:pt x="66494" y="84836"/>
                    <a:pt x="66494" y="62527"/>
                  </a:cubicBezTo>
                  <a:cubicBezTo>
                    <a:pt x="66494" y="40217"/>
                    <a:pt x="84486" y="22225"/>
                    <a:pt x="106796" y="22225"/>
                  </a:cubicBezTo>
                  <a:close/>
                  <a:moveTo>
                    <a:pt x="107408" y="8984"/>
                  </a:moveTo>
                  <a:cubicBezTo>
                    <a:pt x="59751" y="8984"/>
                    <a:pt x="19676" y="51028"/>
                    <a:pt x="10650" y="62527"/>
                  </a:cubicBezTo>
                  <a:cubicBezTo>
                    <a:pt x="20398" y="74026"/>
                    <a:pt x="60834" y="116070"/>
                    <a:pt x="107408" y="116070"/>
                  </a:cubicBezTo>
                  <a:cubicBezTo>
                    <a:pt x="155065" y="116070"/>
                    <a:pt x="194418" y="74026"/>
                    <a:pt x="204527" y="62527"/>
                  </a:cubicBezTo>
                  <a:cubicBezTo>
                    <a:pt x="194418" y="51028"/>
                    <a:pt x="154343" y="8984"/>
                    <a:pt x="107408" y="8984"/>
                  </a:cubicBezTo>
                  <a:close/>
                  <a:moveTo>
                    <a:pt x="107408" y="0"/>
                  </a:moveTo>
                  <a:cubicBezTo>
                    <a:pt x="165896" y="0"/>
                    <a:pt x="212470" y="57137"/>
                    <a:pt x="214275" y="60011"/>
                  </a:cubicBezTo>
                  <a:cubicBezTo>
                    <a:pt x="215358" y="61449"/>
                    <a:pt x="215358" y="63246"/>
                    <a:pt x="214275" y="65042"/>
                  </a:cubicBezTo>
                  <a:cubicBezTo>
                    <a:pt x="212470" y="67917"/>
                    <a:pt x="166618" y="125054"/>
                    <a:pt x="107408" y="125054"/>
                  </a:cubicBezTo>
                  <a:cubicBezTo>
                    <a:pt x="48198" y="125054"/>
                    <a:pt x="2346" y="67917"/>
                    <a:pt x="541" y="65042"/>
                  </a:cubicBezTo>
                  <a:cubicBezTo>
                    <a:pt x="-181" y="63246"/>
                    <a:pt x="-181" y="61449"/>
                    <a:pt x="541" y="60011"/>
                  </a:cubicBezTo>
                  <a:cubicBezTo>
                    <a:pt x="2346" y="57137"/>
                    <a:pt x="48198" y="0"/>
                    <a:pt x="107408" y="0"/>
                  </a:cubicBezTo>
                  <a:close/>
                </a:path>
              </a:pathLst>
            </a:custGeom>
            <a:solidFill>
              <a:schemeClr val="bg1">
                <a:lumMod val="50000"/>
              </a:schemeClr>
            </a:solidFill>
            <a:ln>
              <a:noFill/>
            </a:ln>
            <a:effectLst/>
          </p:spPr>
          <p:txBody>
            <a:bodyPr anchor="ctr"/>
            <a:lstStyle/>
            <a:p>
              <a:endParaRPr lang="en-US"/>
            </a:p>
          </p:txBody>
        </p:sp>
      </p:grpSp>
      <p:grpSp>
        <p:nvGrpSpPr>
          <p:cNvPr id="704" name="Group 703">
            <a:extLst>
              <a:ext uri="{FF2B5EF4-FFF2-40B4-BE49-F238E27FC236}">
                <a16:creationId xmlns:a16="http://schemas.microsoft.com/office/drawing/2014/main" id="{BED51E31-ADB0-564D-A58B-A325BCEB5F6A}"/>
              </a:ext>
            </a:extLst>
          </p:cNvPr>
          <p:cNvGrpSpPr>
            <a:grpSpLocks noChangeAspect="1"/>
          </p:cNvGrpSpPr>
          <p:nvPr/>
        </p:nvGrpSpPr>
        <p:grpSpPr>
          <a:xfrm>
            <a:off x="3764977" y="4421271"/>
            <a:ext cx="215067" cy="347559"/>
            <a:chOff x="4835940" y="1998433"/>
            <a:chExt cx="1212606" cy="1959632"/>
          </a:xfrm>
        </p:grpSpPr>
        <p:sp>
          <p:nvSpPr>
            <p:cNvPr id="705" name="Freeform 704">
              <a:extLst>
                <a:ext uri="{FF2B5EF4-FFF2-40B4-BE49-F238E27FC236}">
                  <a16:creationId xmlns:a16="http://schemas.microsoft.com/office/drawing/2014/main" id="{89CB32F0-2D37-5240-8022-4864CE24B86B}"/>
                </a:ext>
              </a:extLst>
            </p:cNvPr>
            <p:cNvSpPr/>
            <p:nvPr/>
          </p:nvSpPr>
          <p:spPr>
            <a:xfrm rot="19569474">
              <a:off x="4985628" y="2559704"/>
              <a:ext cx="984399" cy="1398361"/>
            </a:xfrm>
            <a:custGeom>
              <a:avLst/>
              <a:gdLst>
                <a:gd name="connsiteX0" fmla="*/ 882408 w 984399"/>
                <a:gd name="connsiteY0" fmla="*/ 18838 h 1398361"/>
                <a:gd name="connsiteX1" fmla="*/ 935149 w 984399"/>
                <a:gd name="connsiteY1" fmla="*/ 54202 h 1398361"/>
                <a:gd name="connsiteX2" fmla="*/ 965561 w 984399"/>
                <a:gd name="connsiteY2" fmla="*/ 208386 h 1398361"/>
                <a:gd name="connsiteX3" fmla="*/ 670861 w 984399"/>
                <a:gd name="connsiteY3" fmla="*/ 647904 h 1398361"/>
                <a:gd name="connsiteX4" fmla="*/ 914518 w 984399"/>
                <a:gd name="connsiteY4" fmla="*/ 939893 h 1398361"/>
                <a:gd name="connsiteX5" fmla="*/ 553595 w 984399"/>
                <a:gd name="connsiteY5" fmla="*/ 1398361 h 1398361"/>
                <a:gd name="connsiteX6" fmla="*/ 252009 w 984399"/>
                <a:gd name="connsiteY6" fmla="*/ 1226726 h 1398361"/>
                <a:gd name="connsiteX7" fmla="*/ 256927 w 984399"/>
                <a:gd name="connsiteY7" fmla="*/ 1219390 h 1398361"/>
                <a:gd name="connsiteX8" fmla="*/ 40802 w 984399"/>
                <a:gd name="connsiteY8" fmla="*/ 1074477 h 1398361"/>
                <a:gd name="connsiteX9" fmla="*/ 63942 w 984399"/>
                <a:gd name="connsiteY9" fmla="*/ 1039967 h 1398361"/>
                <a:gd name="connsiteX10" fmla="*/ 0 w 984399"/>
                <a:gd name="connsiteY10" fmla="*/ 1039967 h 1398361"/>
                <a:gd name="connsiteX11" fmla="*/ 0 w 984399"/>
                <a:gd name="connsiteY11" fmla="*/ 523560 h 1398361"/>
                <a:gd name="connsiteX12" fmla="*/ 142875 w 984399"/>
                <a:gd name="connsiteY12" fmla="*/ 380685 h 1398361"/>
                <a:gd name="connsiteX13" fmla="*/ 198489 w 984399"/>
                <a:gd name="connsiteY13" fmla="*/ 391913 h 1398361"/>
                <a:gd name="connsiteX14" fmla="*/ 285750 w 984399"/>
                <a:gd name="connsiteY14" fmla="*/ 523560 h 1398361"/>
                <a:gd name="connsiteX15" fmla="*/ 285750 w 984399"/>
                <a:gd name="connsiteY15" fmla="*/ 709160 h 1398361"/>
                <a:gd name="connsiteX16" fmla="*/ 728224 w 984399"/>
                <a:gd name="connsiteY16" fmla="*/ 49250 h 1398361"/>
                <a:gd name="connsiteX17" fmla="*/ 882408 w 984399"/>
                <a:gd name="connsiteY17" fmla="*/ 18838 h 139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4399" h="1398361">
                  <a:moveTo>
                    <a:pt x="882408" y="18838"/>
                  </a:moveTo>
                  <a:lnTo>
                    <a:pt x="935149" y="54202"/>
                  </a:lnTo>
                  <a:cubicBezTo>
                    <a:pt x="986124" y="88381"/>
                    <a:pt x="999740" y="157411"/>
                    <a:pt x="965561" y="208386"/>
                  </a:cubicBezTo>
                  <a:lnTo>
                    <a:pt x="670861" y="647904"/>
                  </a:lnTo>
                  <a:lnTo>
                    <a:pt x="914518" y="939893"/>
                  </a:lnTo>
                  <a:lnTo>
                    <a:pt x="553595" y="1398361"/>
                  </a:lnTo>
                  <a:lnTo>
                    <a:pt x="252009" y="1226726"/>
                  </a:lnTo>
                  <a:lnTo>
                    <a:pt x="256927" y="1219390"/>
                  </a:lnTo>
                  <a:lnTo>
                    <a:pt x="40802" y="1074477"/>
                  </a:lnTo>
                  <a:lnTo>
                    <a:pt x="63942" y="1039967"/>
                  </a:lnTo>
                  <a:lnTo>
                    <a:pt x="0" y="1039967"/>
                  </a:lnTo>
                  <a:lnTo>
                    <a:pt x="0" y="523560"/>
                  </a:lnTo>
                  <a:cubicBezTo>
                    <a:pt x="0" y="444652"/>
                    <a:pt x="63967" y="380685"/>
                    <a:pt x="142875" y="380685"/>
                  </a:cubicBezTo>
                  <a:cubicBezTo>
                    <a:pt x="162602" y="380685"/>
                    <a:pt x="181395" y="384683"/>
                    <a:pt x="198489" y="391913"/>
                  </a:cubicBezTo>
                  <a:cubicBezTo>
                    <a:pt x="249769" y="413602"/>
                    <a:pt x="285750" y="464379"/>
                    <a:pt x="285750" y="523560"/>
                  </a:cubicBezTo>
                  <a:lnTo>
                    <a:pt x="285750" y="709160"/>
                  </a:lnTo>
                  <a:lnTo>
                    <a:pt x="728224" y="49250"/>
                  </a:lnTo>
                  <a:cubicBezTo>
                    <a:pt x="762403" y="-1725"/>
                    <a:pt x="831433" y="-15341"/>
                    <a:pt x="882408" y="1883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6" name="Freeform 705">
              <a:extLst>
                <a:ext uri="{FF2B5EF4-FFF2-40B4-BE49-F238E27FC236}">
                  <a16:creationId xmlns:a16="http://schemas.microsoft.com/office/drawing/2014/main" id="{4D846DD0-AD6A-9845-BE6C-6667863F5F58}"/>
                </a:ext>
              </a:extLst>
            </p:cNvPr>
            <p:cNvSpPr>
              <a:spLocks noChangeAspect="1" noChangeArrowheads="1"/>
            </p:cNvSpPr>
            <p:nvPr/>
          </p:nvSpPr>
          <p:spPr bwMode="auto">
            <a:xfrm>
              <a:off x="4835940" y="1998433"/>
              <a:ext cx="1212606" cy="1832382"/>
            </a:xfrm>
            <a:custGeom>
              <a:avLst/>
              <a:gdLst/>
              <a:ahLst/>
              <a:cxnLst/>
              <a:rect l="0" t="0" r="r" b="b"/>
              <a:pathLst>
                <a:path w="142510" h="215539">
                  <a:moveTo>
                    <a:pt x="110744" y="63500"/>
                  </a:moveTo>
                  <a:lnTo>
                    <a:pt x="138129" y="63500"/>
                  </a:lnTo>
                  <a:cubicBezTo>
                    <a:pt x="141050" y="63500"/>
                    <a:pt x="142510" y="65405"/>
                    <a:pt x="142510" y="68072"/>
                  </a:cubicBezTo>
                  <a:cubicBezTo>
                    <a:pt x="142510" y="70739"/>
                    <a:pt x="141050" y="72644"/>
                    <a:pt x="138129" y="72644"/>
                  </a:cubicBezTo>
                  <a:lnTo>
                    <a:pt x="110744" y="72644"/>
                  </a:lnTo>
                  <a:cubicBezTo>
                    <a:pt x="108188" y="72644"/>
                    <a:pt x="106362" y="70739"/>
                    <a:pt x="106362" y="68072"/>
                  </a:cubicBezTo>
                  <a:cubicBezTo>
                    <a:pt x="106362" y="65405"/>
                    <a:pt x="108188" y="63500"/>
                    <a:pt x="110744" y="63500"/>
                  </a:cubicBezTo>
                  <a:close/>
                  <a:moveTo>
                    <a:pt x="4382" y="63500"/>
                  </a:moveTo>
                  <a:lnTo>
                    <a:pt x="31766" y="63500"/>
                  </a:lnTo>
                  <a:cubicBezTo>
                    <a:pt x="34322" y="63500"/>
                    <a:pt x="36147" y="65405"/>
                    <a:pt x="36147" y="68072"/>
                  </a:cubicBezTo>
                  <a:cubicBezTo>
                    <a:pt x="36147" y="70739"/>
                    <a:pt x="34322" y="72644"/>
                    <a:pt x="31766" y="72644"/>
                  </a:cubicBezTo>
                  <a:lnTo>
                    <a:pt x="4382" y="72644"/>
                  </a:lnTo>
                  <a:cubicBezTo>
                    <a:pt x="1826" y="72644"/>
                    <a:pt x="0" y="70739"/>
                    <a:pt x="0" y="68072"/>
                  </a:cubicBezTo>
                  <a:cubicBezTo>
                    <a:pt x="0" y="65405"/>
                    <a:pt x="1826" y="63500"/>
                    <a:pt x="4382" y="63500"/>
                  </a:cubicBezTo>
                  <a:close/>
                  <a:moveTo>
                    <a:pt x="71683" y="63011"/>
                  </a:moveTo>
                  <a:cubicBezTo>
                    <a:pt x="66985" y="63011"/>
                    <a:pt x="62648" y="67349"/>
                    <a:pt x="62648" y="71686"/>
                  </a:cubicBezTo>
                  <a:lnTo>
                    <a:pt x="62648" y="170720"/>
                  </a:lnTo>
                  <a:cubicBezTo>
                    <a:pt x="62648" y="172527"/>
                    <a:pt x="61564" y="174335"/>
                    <a:pt x="59035" y="175058"/>
                  </a:cubicBezTo>
                  <a:cubicBezTo>
                    <a:pt x="57228" y="176142"/>
                    <a:pt x="55421" y="175058"/>
                    <a:pt x="53614" y="173250"/>
                  </a:cubicBezTo>
                  <a:cubicBezTo>
                    <a:pt x="36629" y="146504"/>
                    <a:pt x="28317" y="143612"/>
                    <a:pt x="21089" y="143612"/>
                  </a:cubicBezTo>
                  <a:cubicBezTo>
                    <a:pt x="19283" y="143612"/>
                    <a:pt x="19283" y="144697"/>
                    <a:pt x="18560" y="144697"/>
                  </a:cubicBezTo>
                  <a:cubicBezTo>
                    <a:pt x="17476" y="147227"/>
                    <a:pt x="17476" y="151925"/>
                    <a:pt x="20367" y="154455"/>
                  </a:cubicBezTo>
                  <a:lnTo>
                    <a:pt x="56144" y="206503"/>
                  </a:lnTo>
                  <a:lnTo>
                    <a:pt x="121915" y="206503"/>
                  </a:lnTo>
                  <a:lnTo>
                    <a:pt x="129865" y="160961"/>
                  </a:lnTo>
                  <a:cubicBezTo>
                    <a:pt x="131672" y="153733"/>
                    <a:pt x="129143" y="145419"/>
                    <a:pt x="122638" y="143612"/>
                  </a:cubicBezTo>
                  <a:lnTo>
                    <a:pt x="83247" y="130239"/>
                  </a:lnTo>
                  <a:cubicBezTo>
                    <a:pt x="81440" y="129516"/>
                    <a:pt x="80356" y="127709"/>
                    <a:pt x="80356" y="125902"/>
                  </a:cubicBezTo>
                  <a:lnTo>
                    <a:pt x="80356" y="71686"/>
                  </a:lnTo>
                  <a:cubicBezTo>
                    <a:pt x="80356" y="67349"/>
                    <a:pt x="76020" y="63011"/>
                    <a:pt x="71683" y="63011"/>
                  </a:cubicBezTo>
                  <a:close/>
                  <a:moveTo>
                    <a:pt x="72406" y="53975"/>
                  </a:moveTo>
                  <a:cubicBezTo>
                    <a:pt x="82163" y="53975"/>
                    <a:pt x="90475" y="61926"/>
                    <a:pt x="90475" y="71686"/>
                  </a:cubicBezTo>
                  <a:lnTo>
                    <a:pt x="90475" y="122287"/>
                  </a:lnTo>
                  <a:lnTo>
                    <a:pt x="127336" y="134576"/>
                  </a:lnTo>
                  <a:cubicBezTo>
                    <a:pt x="138900" y="138191"/>
                    <a:pt x="142514" y="150841"/>
                    <a:pt x="139984" y="162769"/>
                  </a:cubicBezTo>
                  <a:lnTo>
                    <a:pt x="130950" y="211924"/>
                  </a:lnTo>
                  <a:cubicBezTo>
                    <a:pt x="129143" y="213732"/>
                    <a:pt x="127336" y="215539"/>
                    <a:pt x="125529" y="215539"/>
                  </a:cubicBezTo>
                  <a:lnTo>
                    <a:pt x="53614" y="215539"/>
                  </a:lnTo>
                  <a:cubicBezTo>
                    <a:pt x="51807" y="215539"/>
                    <a:pt x="50723" y="214816"/>
                    <a:pt x="50000" y="213732"/>
                  </a:cubicBezTo>
                  <a:lnTo>
                    <a:pt x="13862" y="159877"/>
                  </a:lnTo>
                  <a:cubicBezTo>
                    <a:pt x="10248" y="154455"/>
                    <a:pt x="9525" y="146504"/>
                    <a:pt x="12055" y="141082"/>
                  </a:cubicBezTo>
                  <a:cubicBezTo>
                    <a:pt x="13862" y="137468"/>
                    <a:pt x="17476" y="134576"/>
                    <a:pt x="22896" y="134576"/>
                  </a:cubicBezTo>
                  <a:cubicBezTo>
                    <a:pt x="33015" y="134576"/>
                    <a:pt x="40965" y="138191"/>
                    <a:pt x="54337" y="156263"/>
                  </a:cubicBezTo>
                  <a:lnTo>
                    <a:pt x="54337" y="71686"/>
                  </a:lnTo>
                  <a:cubicBezTo>
                    <a:pt x="54337" y="61926"/>
                    <a:pt x="62648" y="53975"/>
                    <a:pt x="72406" y="53975"/>
                  </a:cubicBezTo>
                  <a:close/>
                  <a:moveTo>
                    <a:pt x="116620" y="20825"/>
                  </a:moveTo>
                  <a:cubicBezTo>
                    <a:pt x="118452" y="19050"/>
                    <a:pt x="121382" y="19050"/>
                    <a:pt x="123214" y="20825"/>
                  </a:cubicBezTo>
                  <a:cubicBezTo>
                    <a:pt x="125046" y="22601"/>
                    <a:pt x="125046" y="25441"/>
                    <a:pt x="123214" y="27217"/>
                  </a:cubicBezTo>
                  <a:lnTo>
                    <a:pt x="104897" y="44616"/>
                  </a:lnTo>
                  <a:cubicBezTo>
                    <a:pt x="104897" y="45682"/>
                    <a:pt x="103065" y="45682"/>
                    <a:pt x="102332" y="45682"/>
                  </a:cubicBezTo>
                  <a:cubicBezTo>
                    <a:pt x="101233" y="45682"/>
                    <a:pt x="99402" y="45327"/>
                    <a:pt x="98669" y="44616"/>
                  </a:cubicBezTo>
                  <a:cubicBezTo>
                    <a:pt x="96837" y="42486"/>
                    <a:pt x="96837" y="40355"/>
                    <a:pt x="98669" y="38580"/>
                  </a:cubicBezTo>
                  <a:lnTo>
                    <a:pt x="116620" y="20825"/>
                  </a:lnTo>
                  <a:close/>
                  <a:moveTo>
                    <a:pt x="17707" y="20825"/>
                  </a:moveTo>
                  <a:cubicBezTo>
                    <a:pt x="19539" y="19050"/>
                    <a:pt x="22103" y="19050"/>
                    <a:pt x="23935" y="20825"/>
                  </a:cubicBezTo>
                  <a:lnTo>
                    <a:pt x="42252" y="38580"/>
                  </a:lnTo>
                  <a:cubicBezTo>
                    <a:pt x="44084" y="40355"/>
                    <a:pt x="44084" y="42841"/>
                    <a:pt x="42252" y="44616"/>
                  </a:cubicBezTo>
                  <a:cubicBezTo>
                    <a:pt x="42252" y="45682"/>
                    <a:pt x="40420" y="45682"/>
                    <a:pt x="39688" y="45682"/>
                  </a:cubicBezTo>
                  <a:cubicBezTo>
                    <a:pt x="38589" y="45682"/>
                    <a:pt x="36757" y="45682"/>
                    <a:pt x="36024" y="44616"/>
                  </a:cubicBezTo>
                  <a:lnTo>
                    <a:pt x="17707" y="27217"/>
                  </a:lnTo>
                  <a:cubicBezTo>
                    <a:pt x="15875" y="25441"/>
                    <a:pt x="15875" y="22601"/>
                    <a:pt x="17707" y="20825"/>
                  </a:cubicBezTo>
                  <a:close/>
                  <a:moveTo>
                    <a:pt x="76009" y="0"/>
                  </a:moveTo>
                  <a:cubicBezTo>
                    <a:pt x="78676" y="0"/>
                    <a:pt x="80581" y="1807"/>
                    <a:pt x="80581" y="4699"/>
                  </a:cubicBezTo>
                  <a:lnTo>
                    <a:pt x="80581" y="31812"/>
                  </a:lnTo>
                  <a:cubicBezTo>
                    <a:pt x="80581" y="34343"/>
                    <a:pt x="78676" y="36150"/>
                    <a:pt x="76009" y="36150"/>
                  </a:cubicBezTo>
                  <a:cubicBezTo>
                    <a:pt x="73342" y="36150"/>
                    <a:pt x="71437" y="34343"/>
                    <a:pt x="71437" y="31812"/>
                  </a:cubicBezTo>
                  <a:lnTo>
                    <a:pt x="71437" y="4699"/>
                  </a:lnTo>
                  <a:cubicBezTo>
                    <a:pt x="71437" y="1807"/>
                    <a:pt x="73342" y="0"/>
                    <a:pt x="76009" y="0"/>
                  </a:cubicBezTo>
                  <a:close/>
                </a:path>
              </a:pathLst>
            </a:custGeom>
            <a:solidFill>
              <a:schemeClr val="bg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07" name="Group 706">
            <a:extLst>
              <a:ext uri="{FF2B5EF4-FFF2-40B4-BE49-F238E27FC236}">
                <a16:creationId xmlns:a16="http://schemas.microsoft.com/office/drawing/2014/main" id="{2F196012-7ECC-BB42-ADE4-5884EFB81B5D}"/>
              </a:ext>
            </a:extLst>
          </p:cNvPr>
          <p:cNvGrpSpPr>
            <a:grpSpLocks noChangeAspect="1"/>
          </p:cNvGrpSpPr>
          <p:nvPr/>
        </p:nvGrpSpPr>
        <p:grpSpPr>
          <a:xfrm>
            <a:off x="3169583" y="4420055"/>
            <a:ext cx="215067" cy="347559"/>
            <a:chOff x="4835940" y="1998433"/>
            <a:chExt cx="1212606" cy="1959632"/>
          </a:xfrm>
        </p:grpSpPr>
        <p:sp>
          <p:nvSpPr>
            <p:cNvPr id="708" name="Freeform 707">
              <a:extLst>
                <a:ext uri="{FF2B5EF4-FFF2-40B4-BE49-F238E27FC236}">
                  <a16:creationId xmlns:a16="http://schemas.microsoft.com/office/drawing/2014/main" id="{130C08D7-E916-EB4D-A4FC-23A3C724DE4F}"/>
                </a:ext>
              </a:extLst>
            </p:cNvPr>
            <p:cNvSpPr/>
            <p:nvPr/>
          </p:nvSpPr>
          <p:spPr>
            <a:xfrm rot="19569474">
              <a:off x="4985628" y="2559704"/>
              <a:ext cx="984399" cy="1398361"/>
            </a:xfrm>
            <a:custGeom>
              <a:avLst/>
              <a:gdLst>
                <a:gd name="connsiteX0" fmla="*/ 882408 w 984399"/>
                <a:gd name="connsiteY0" fmla="*/ 18838 h 1398361"/>
                <a:gd name="connsiteX1" fmla="*/ 935149 w 984399"/>
                <a:gd name="connsiteY1" fmla="*/ 54202 h 1398361"/>
                <a:gd name="connsiteX2" fmla="*/ 965561 w 984399"/>
                <a:gd name="connsiteY2" fmla="*/ 208386 h 1398361"/>
                <a:gd name="connsiteX3" fmla="*/ 670861 w 984399"/>
                <a:gd name="connsiteY3" fmla="*/ 647904 h 1398361"/>
                <a:gd name="connsiteX4" fmla="*/ 914518 w 984399"/>
                <a:gd name="connsiteY4" fmla="*/ 939893 h 1398361"/>
                <a:gd name="connsiteX5" fmla="*/ 553595 w 984399"/>
                <a:gd name="connsiteY5" fmla="*/ 1398361 h 1398361"/>
                <a:gd name="connsiteX6" fmla="*/ 252009 w 984399"/>
                <a:gd name="connsiteY6" fmla="*/ 1226726 h 1398361"/>
                <a:gd name="connsiteX7" fmla="*/ 256927 w 984399"/>
                <a:gd name="connsiteY7" fmla="*/ 1219390 h 1398361"/>
                <a:gd name="connsiteX8" fmla="*/ 40802 w 984399"/>
                <a:gd name="connsiteY8" fmla="*/ 1074477 h 1398361"/>
                <a:gd name="connsiteX9" fmla="*/ 63942 w 984399"/>
                <a:gd name="connsiteY9" fmla="*/ 1039967 h 1398361"/>
                <a:gd name="connsiteX10" fmla="*/ 0 w 984399"/>
                <a:gd name="connsiteY10" fmla="*/ 1039967 h 1398361"/>
                <a:gd name="connsiteX11" fmla="*/ 0 w 984399"/>
                <a:gd name="connsiteY11" fmla="*/ 523560 h 1398361"/>
                <a:gd name="connsiteX12" fmla="*/ 142875 w 984399"/>
                <a:gd name="connsiteY12" fmla="*/ 380685 h 1398361"/>
                <a:gd name="connsiteX13" fmla="*/ 198489 w 984399"/>
                <a:gd name="connsiteY13" fmla="*/ 391913 h 1398361"/>
                <a:gd name="connsiteX14" fmla="*/ 285750 w 984399"/>
                <a:gd name="connsiteY14" fmla="*/ 523560 h 1398361"/>
                <a:gd name="connsiteX15" fmla="*/ 285750 w 984399"/>
                <a:gd name="connsiteY15" fmla="*/ 709160 h 1398361"/>
                <a:gd name="connsiteX16" fmla="*/ 728224 w 984399"/>
                <a:gd name="connsiteY16" fmla="*/ 49250 h 1398361"/>
                <a:gd name="connsiteX17" fmla="*/ 882408 w 984399"/>
                <a:gd name="connsiteY17" fmla="*/ 18838 h 139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4399" h="1398361">
                  <a:moveTo>
                    <a:pt x="882408" y="18838"/>
                  </a:moveTo>
                  <a:lnTo>
                    <a:pt x="935149" y="54202"/>
                  </a:lnTo>
                  <a:cubicBezTo>
                    <a:pt x="986124" y="88381"/>
                    <a:pt x="999740" y="157411"/>
                    <a:pt x="965561" y="208386"/>
                  </a:cubicBezTo>
                  <a:lnTo>
                    <a:pt x="670861" y="647904"/>
                  </a:lnTo>
                  <a:lnTo>
                    <a:pt x="914518" y="939893"/>
                  </a:lnTo>
                  <a:lnTo>
                    <a:pt x="553595" y="1398361"/>
                  </a:lnTo>
                  <a:lnTo>
                    <a:pt x="252009" y="1226726"/>
                  </a:lnTo>
                  <a:lnTo>
                    <a:pt x="256927" y="1219390"/>
                  </a:lnTo>
                  <a:lnTo>
                    <a:pt x="40802" y="1074477"/>
                  </a:lnTo>
                  <a:lnTo>
                    <a:pt x="63942" y="1039967"/>
                  </a:lnTo>
                  <a:lnTo>
                    <a:pt x="0" y="1039967"/>
                  </a:lnTo>
                  <a:lnTo>
                    <a:pt x="0" y="523560"/>
                  </a:lnTo>
                  <a:cubicBezTo>
                    <a:pt x="0" y="444652"/>
                    <a:pt x="63967" y="380685"/>
                    <a:pt x="142875" y="380685"/>
                  </a:cubicBezTo>
                  <a:cubicBezTo>
                    <a:pt x="162602" y="380685"/>
                    <a:pt x="181395" y="384683"/>
                    <a:pt x="198489" y="391913"/>
                  </a:cubicBezTo>
                  <a:cubicBezTo>
                    <a:pt x="249769" y="413602"/>
                    <a:pt x="285750" y="464379"/>
                    <a:pt x="285750" y="523560"/>
                  </a:cubicBezTo>
                  <a:lnTo>
                    <a:pt x="285750" y="709160"/>
                  </a:lnTo>
                  <a:lnTo>
                    <a:pt x="728224" y="49250"/>
                  </a:lnTo>
                  <a:cubicBezTo>
                    <a:pt x="762403" y="-1725"/>
                    <a:pt x="831433" y="-15341"/>
                    <a:pt x="882408" y="1883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9" name="Freeform 708">
              <a:extLst>
                <a:ext uri="{FF2B5EF4-FFF2-40B4-BE49-F238E27FC236}">
                  <a16:creationId xmlns:a16="http://schemas.microsoft.com/office/drawing/2014/main" id="{CF67400D-8E01-1244-87B6-30C6EC29617C}"/>
                </a:ext>
              </a:extLst>
            </p:cNvPr>
            <p:cNvSpPr>
              <a:spLocks noChangeAspect="1" noChangeArrowheads="1"/>
            </p:cNvSpPr>
            <p:nvPr/>
          </p:nvSpPr>
          <p:spPr bwMode="auto">
            <a:xfrm>
              <a:off x="4835940" y="1998433"/>
              <a:ext cx="1212606" cy="1832382"/>
            </a:xfrm>
            <a:custGeom>
              <a:avLst/>
              <a:gdLst/>
              <a:ahLst/>
              <a:cxnLst/>
              <a:rect l="0" t="0" r="r" b="b"/>
              <a:pathLst>
                <a:path w="142510" h="215539">
                  <a:moveTo>
                    <a:pt x="110744" y="63500"/>
                  </a:moveTo>
                  <a:lnTo>
                    <a:pt x="138129" y="63500"/>
                  </a:lnTo>
                  <a:cubicBezTo>
                    <a:pt x="141050" y="63500"/>
                    <a:pt x="142510" y="65405"/>
                    <a:pt x="142510" y="68072"/>
                  </a:cubicBezTo>
                  <a:cubicBezTo>
                    <a:pt x="142510" y="70739"/>
                    <a:pt x="141050" y="72644"/>
                    <a:pt x="138129" y="72644"/>
                  </a:cubicBezTo>
                  <a:lnTo>
                    <a:pt x="110744" y="72644"/>
                  </a:lnTo>
                  <a:cubicBezTo>
                    <a:pt x="108188" y="72644"/>
                    <a:pt x="106362" y="70739"/>
                    <a:pt x="106362" y="68072"/>
                  </a:cubicBezTo>
                  <a:cubicBezTo>
                    <a:pt x="106362" y="65405"/>
                    <a:pt x="108188" y="63500"/>
                    <a:pt x="110744" y="63500"/>
                  </a:cubicBezTo>
                  <a:close/>
                  <a:moveTo>
                    <a:pt x="4382" y="63500"/>
                  </a:moveTo>
                  <a:lnTo>
                    <a:pt x="31766" y="63500"/>
                  </a:lnTo>
                  <a:cubicBezTo>
                    <a:pt x="34322" y="63500"/>
                    <a:pt x="36147" y="65405"/>
                    <a:pt x="36147" y="68072"/>
                  </a:cubicBezTo>
                  <a:cubicBezTo>
                    <a:pt x="36147" y="70739"/>
                    <a:pt x="34322" y="72644"/>
                    <a:pt x="31766" y="72644"/>
                  </a:cubicBezTo>
                  <a:lnTo>
                    <a:pt x="4382" y="72644"/>
                  </a:lnTo>
                  <a:cubicBezTo>
                    <a:pt x="1826" y="72644"/>
                    <a:pt x="0" y="70739"/>
                    <a:pt x="0" y="68072"/>
                  </a:cubicBezTo>
                  <a:cubicBezTo>
                    <a:pt x="0" y="65405"/>
                    <a:pt x="1826" y="63500"/>
                    <a:pt x="4382" y="63500"/>
                  </a:cubicBezTo>
                  <a:close/>
                  <a:moveTo>
                    <a:pt x="71683" y="63011"/>
                  </a:moveTo>
                  <a:cubicBezTo>
                    <a:pt x="66985" y="63011"/>
                    <a:pt x="62648" y="67349"/>
                    <a:pt x="62648" y="71686"/>
                  </a:cubicBezTo>
                  <a:lnTo>
                    <a:pt x="62648" y="170720"/>
                  </a:lnTo>
                  <a:cubicBezTo>
                    <a:pt x="62648" y="172527"/>
                    <a:pt x="61564" y="174335"/>
                    <a:pt x="59035" y="175058"/>
                  </a:cubicBezTo>
                  <a:cubicBezTo>
                    <a:pt x="57228" y="176142"/>
                    <a:pt x="55421" y="175058"/>
                    <a:pt x="53614" y="173250"/>
                  </a:cubicBezTo>
                  <a:cubicBezTo>
                    <a:pt x="36629" y="146504"/>
                    <a:pt x="28317" y="143612"/>
                    <a:pt x="21089" y="143612"/>
                  </a:cubicBezTo>
                  <a:cubicBezTo>
                    <a:pt x="19283" y="143612"/>
                    <a:pt x="19283" y="144697"/>
                    <a:pt x="18560" y="144697"/>
                  </a:cubicBezTo>
                  <a:cubicBezTo>
                    <a:pt x="17476" y="147227"/>
                    <a:pt x="17476" y="151925"/>
                    <a:pt x="20367" y="154455"/>
                  </a:cubicBezTo>
                  <a:lnTo>
                    <a:pt x="56144" y="206503"/>
                  </a:lnTo>
                  <a:lnTo>
                    <a:pt x="121915" y="206503"/>
                  </a:lnTo>
                  <a:lnTo>
                    <a:pt x="129865" y="160961"/>
                  </a:lnTo>
                  <a:cubicBezTo>
                    <a:pt x="131672" y="153733"/>
                    <a:pt x="129143" y="145419"/>
                    <a:pt x="122638" y="143612"/>
                  </a:cubicBezTo>
                  <a:lnTo>
                    <a:pt x="83247" y="130239"/>
                  </a:lnTo>
                  <a:cubicBezTo>
                    <a:pt x="81440" y="129516"/>
                    <a:pt x="80356" y="127709"/>
                    <a:pt x="80356" y="125902"/>
                  </a:cubicBezTo>
                  <a:lnTo>
                    <a:pt x="80356" y="71686"/>
                  </a:lnTo>
                  <a:cubicBezTo>
                    <a:pt x="80356" y="67349"/>
                    <a:pt x="76020" y="63011"/>
                    <a:pt x="71683" y="63011"/>
                  </a:cubicBezTo>
                  <a:close/>
                  <a:moveTo>
                    <a:pt x="72406" y="53975"/>
                  </a:moveTo>
                  <a:cubicBezTo>
                    <a:pt x="82163" y="53975"/>
                    <a:pt x="90475" y="61926"/>
                    <a:pt x="90475" y="71686"/>
                  </a:cubicBezTo>
                  <a:lnTo>
                    <a:pt x="90475" y="122287"/>
                  </a:lnTo>
                  <a:lnTo>
                    <a:pt x="127336" y="134576"/>
                  </a:lnTo>
                  <a:cubicBezTo>
                    <a:pt x="138900" y="138191"/>
                    <a:pt x="142514" y="150841"/>
                    <a:pt x="139984" y="162769"/>
                  </a:cubicBezTo>
                  <a:lnTo>
                    <a:pt x="130950" y="211924"/>
                  </a:lnTo>
                  <a:cubicBezTo>
                    <a:pt x="129143" y="213732"/>
                    <a:pt x="127336" y="215539"/>
                    <a:pt x="125529" y="215539"/>
                  </a:cubicBezTo>
                  <a:lnTo>
                    <a:pt x="53614" y="215539"/>
                  </a:lnTo>
                  <a:cubicBezTo>
                    <a:pt x="51807" y="215539"/>
                    <a:pt x="50723" y="214816"/>
                    <a:pt x="50000" y="213732"/>
                  </a:cubicBezTo>
                  <a:lnTo>
                    <a:pt x="13862" y="159877"/>
                  </a:lnTo>
                  <a:cubicBezTo>
                    <a:pt x="10248" y="154455"/>
                    <a:pt x="9525" y="146504"/>
                    <a:pt x="12055" y="141082"/>
                  </a:cubicBezTo>
                  <a:cubicBezTo>
                    <a:pt x="13862" y="137468"/>
                    <a:pt x="17476" y="134576"/>
                    <a:pt x="22896" y="134576"/>
                  </a:cubicBezTo>
                  <a:cubicBezTo>
                    <a:pt x="33015" y="134576"/>
                    <a:pt x="40965" y="138191"/>
                    <a:pt x="54337" y="156263"/>
                  </a:cubicBezTo>
                  <a:lnTo>
                    <a:pt x="54337" y="71686"/>
                  </a:lnTo>
                  <a:cubicBezTo>
                    <a:pt x="54337" y="61926"/>
                    <a:pt x="62648" y="53975"/>
                    <a:pt x="72406" y="53975"/>
                  </a:cubicBezTo>
                  <a:close/>
                  <a:moveTo>
                    <a:pt x="116620" y="20825"/>
                  </a:moveTo>
                  <a:cubicBezTo>
                    <a:pt x="118452" y="19050"/>
                    <a:pt x="121382" y="19050"/>
                    <a:pt x="123214" y="20825"/>
                  </a:cubicBezTo>
                  <a:cubicBezTo>
                    <a:pt x="125046" y="22601"/>
                    <a:pt x="125046" y="25441"/>
                    <a:pt x="123214" y="27217"/>
                  </a:cubicBezTo>
                  <a:lnTo>
                    <a:pt x="104897" y="44616"/>
                  </a:lnTo>
                  <a:cubicBezTo>
                    <a:pt x="104897" y="45682"/>
                    <a:pt x="103065" y="45682"/>
                    <a:pt x="102332" y="45682"/>
                  </a:cubicBezTo>
                  <a:cubicBezTo>
                    <a:pt x="101233" y="45682"/>
                    <a:pt x="99402" y="45327"/>
                    <a:pt x="98669" y="44616"/>
                  </a:cubicBezTo>
                  <a:cubicBezTo>
                    <a:pt x="96837" y="42486"/>
                    <a:pt x="96837" y="40355"/>
                    <a:pt x="98669" y="38580"/>
                  </a:cubicBezTo>
                  <a:lnTo>
                    <a:pt x="116620" y="20825"/>
                  </a:lnTo>
                  <a:close/>
                  <a:moveTo>
                    <a:pt x="17707" y="20825"/>
                  </a:moveTo>
                  <a:cubicBezTo>
                    <a:pt x="19539" y="19050"/>
                    <a:pt x="22103" y="19050"/>
                    <a:pt x="23935" y="20825"/>
                  </a:cubicBezTo>
                  <a:lnTo>
                    <a:pt x="42252" y="38580"/>
                  </a:lnTo>
                  <a:cubicBezTo>
                    <a:pt x="44084" y="40355"/>
                    <a:pt x="44084" y="42841"/>
                    <a:pt x="42252" y="44616"/>
                  </a:cubicBezTo>
                  <a:cubicBezTo>
                    <a:pt x="42252" y="45682"/>
                    <a:pt x="40420" y="45682"/>
                    <a:pt x="39688" y="45682"/>
                  </a:cubicBezTo>
                  <a:cubicBezTo>
                    <a:pt x="38589" y="45682"/>
                    <a:pt x="36757" y="45682"/>
                    <a:pt x="36024" y="44616"/>
                  </a:cubicBezTo>
                  <a:lnTo>
                    <a:pt x="17707" y="27217"/>
                  </a:lnTo>
                  <a:cubicBezTo>
                    <a:pt x="15875" y="25441"/>
                    <a:pt x="15875" y="22601"/>
                    <a:pt x="17707" y="20825"/>
                  </a:cubicBezTo>
                  <a:close/>
                  <a:moveTo>
                    <a:pt x="76009" y="0"/>
                  </a:moveTo>
                  <a:cubicBezTo>
                    <a:pt x="78676" y="0"/>
                    <a:pt x="80581" y="1807"/>
                    <a:pt x="80581" y="4699"/>
                  </a:cubicBezTo>
                  <a:lnTo>
                    <a:pt x="80581" y="31812"/>
                  </a:lnTo>
                  <a:cubicBezTo>
                    <a:pt x="80581" y="34343"/>
                    <a:pt x="78676" y="36150"/>
                    <a:pt x="76009" y="36150"/>
                  </a:cubicBezTo>
                  <a:cubicBezTo>
                    <a:pt x="73342" y="36150"/>
                    <a:pt x="71437" y="34343"/>
                    <a:pt x="71437" y="31812"/>
                  </a:cubicBezTo>
                  <a:lnTo>
                    <a:pt x="71437" y="4699"/>
                  </a:lnTo>
                  <a:cubicBezTo>
                    <a:pt x="71437" y="1807"/>
                    <a:pt x="73342" y="0"/>
                    <a:pt x="76009" y="0"/>
                  </a:cubicBezTo>
                  <a:close/>
                </a:path>
              </a:pathLst>
            </a:custGeom>
            <a:solidFill>
              <a:schemeClr val="bg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10" name="Group 709">
            <a:extLst>
              <a:ext uri="{FF2B5EF4-FFF2-40B4-BE49-F238E27FC236}">
                <a16:creationId xmlns:a16="http://schemas.microsoft.com/office/drawing/2014/main" id="{2FEB42AC-8027-E245-A30B-DC0428429FE7}"/>
              </a:ext>
            </a:extLst>
          </p:cNvPr>
          <p:cNvGrpSpPr>
            <a:grpSpLocks noChangeAspect="1"/>
          </p:cNvGrpSpPr>
          <p:nvPr/>
        </p:nvGrpSpPr>
        <p:grpSpPr>
          <a:xfrm>
            <a:off x="2353104" y="4262159"/>
            <a:ext cx="215067" cy="347559"/>
            <a:chOff x="4835940" y="1998433"/>
            <a:chExt cx="1212606" cy="1959632"/>
          </a:xfrm>
        </p:grpSpPr>
        <p:sp>
          <p:nvSpPr>
            <p:cNvPr id="711" name="Freeform 710">
              <a:extLst>
                <a:ext uri="{FF2B5EF4-FFF2-40B4-BE49-F238E27FC236}">
                  <a16:creationId xmlns:a16="http://schemas.microsoft.com/office/drawing/2014/main" id="{FF07D2D9-B5E0-0B43-B0EE-762E1259255B}"/>
                </a:ext>
              </a:extLst>
            </p:cNvPr>
            <p:cNvSpPr/>
            <p:nvPr/>
          </p:nvSpPr>
          <p:spPr>
            <a:xfrm rot="19569474">
              <a:off x="4985628" y="2559704"/>
              <a:ext cx="984399" cy="1398361"/>
            </a:xfrm>
            <a:custGeom>
              <a:avLst/>
              <a:gdLst>
                <a:gd name="connsiteX0" fmla="*/ 882408 w 984399"/>
                <a:gd name="connsiteY0" fmla="*/ 18838 h 1398361"/>
                <a:gd name="connsiteX1" fmla="*/ 935149 w 984399"/>
                <a:gd name="connsiteY1" fmla="*/ 54202 h 1398361"/>
                <a:gd name="connsiteX2" fmla="*/ 965561 w 984399"/>
                <a:gd name="connsiteY2" fmla="*/ 208386 h 1398361"/>
                <a:gd name="connsiteX3" fmla="*/ 670861 w 984399"/>
                <a:gd name="connsiteY3" fmla="*/ 647904 h 1398361"/>
                <a:gd name="connsiteX4" fmla="*/ 914518 w 984399"/>
                <a:gd name="connsiteY4" fmla="*/ 939893 h 1398361"/>
                <a:gd name="connsiteX5" fmla="*/ 553595 w 984399"/>
                <a:gd name="connsiteY5" fmla="*/ 1398361 h 1398361"/>
                <a:gd name="connsiteX6" fmla="*/ 252009 w 984399"/>
                <a:gd name="connsiteY6" fmla="*/ 1226726 h 1398361"/>
                <a:gd name="connsiteX7" fmla="*/ 256927 w 984399"/>
                <a:gd name="connsiteY7" fmla="*/ 1219390 h 1398361"/>
                <a:gd name="connsiteX8" fmla="*/ 40802 w 984399"/>
                <a:gd name="connsiteY8" fmla="*/ 1074477 h 1398361"/>
                <a:gd name="connsiteX9" fmla="*/ 63942 w 984399"/>
                <a:gd name="connsiteY9" fmla="*/ 1039967 h 1398361"/>
                <a:gd name="connsiteX10" fmla="*/ 0 w 984399"/>
                <a:gd name="connsiteY10" fmla="*/ 1039967 h 1398361"/>
                <a:gd name="connsiteX11" fmla="*/ 0 w 984399"/>
                <a:gd name="connsiteY11" fmla="*/ 523560 h 1398361"/>
                <a:gd name="connsiteX12" fmla="*/ 142875 w 984399"/>
                <a:gd name="connsiteY12" fmla="*/ 380685 h 1398361"/>
                <a:gd name="connsiteX13" fmla="*/ 198489 w 984399"/>
                <a:gd name="connsiteY13" fmla="*/ 391913 h 1398361"/>
                <a:gd name="connsiteX14" fmla="*/ 285750 w 984399"/>
                <a:gd name="connsiteY14" fmla="*/ 523560 h 1398361"/>
                <a:gd name="connsiteX15" fmla="*/ 285750 w 984399"/>
                <a:gd name="connsiteY15" fmla="*/ 709160 h 1398361"/>
                <a:gd name="connsiteX16" fmla="*/ 728224 w 984399"/>
                <a:gd name="connsiteY16" fmla="*/ 49250 h 1398361"/>
                <a:gd name="connsiteX17" fmla="*/ 882408 w 984399"/>
                <a:gd name="connsiteY17" fmla="*/ 18838 h 139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4399" h="1398361">
                  <a:moveTo>
                    <a:pt x="882408" y="18838"/>
                  </a:moveTo>
                  <a:lnTo>
                    <a:pt x="935149" y="54202"/>
                  </a:lnTo>
                  <a:cubicBezTo>
                    <a:pt x="986124" y="88381"/>
                    <a:pt x="999740" y="157411"/>
                    <a:pt x="965561" y="208386"/>
                  </a:cubicBezTo>
                  <a:lnTo>
                    <a:pt x="670861" y="647904"/>
                  </a:lnTo>
                  <a:lnTo>
                    <a:pt x="914518" y="939893"/>
                  </a:lnTo>
                  <a:lnTo>
                    <a:pt x="553595" y="1398361"/>
                  </a:lnTo>
                  <a:lnTo>
                    <a:pt x="252009" y="1226726"/>
                  </a:lnTo>
                  <a:lnTo>
                    <a:pt x="256927" y="1219390"/>
                  </a:lnTo>
                  <a:lnTo>
                    <a:pt x="40802" y="1074477"/>
                  </a:lnTo>
                  <a:lnTo>
                    <a:pt x="63942" y="1039967"/>
                  </a:lnTo>
                  <a:lnTo>
                    <a:pt x="0" y="1039967"/>
                  </a:lnTo>
                  <a:lnTo>
                    <a:pt x="0" y="523560"/>
                  </a:lnTo>
                  <a:cubicBezTo>
                    <a:pt x="0" y="444652"/>
                    <a:pt x="63967" y="380685"/>
                    <a:pt x="142875" y="380685"/>
                  </a:cubicBezTo>
                  <a:cubicBezTo>
                    <a:pt x="162602" y="380685"/>
                    <a:pt x="181395" y="384683"/>
                    <a:pt x="198489" y="391913"/>
                  </a:cubicBezTo>
                  <a:cubicBezTo>
                    <a:pt x="249769" y="413602"/>
                    <a:pt x="285750" y="464379"/>
                    <a:pt x="285750" y="523560"/>
                  </a:cubicBezTo>
                  <a:lnTo>
                    <a:pt x="285750" y="709160"/>
                  </a:lnTo>
                  <a:lnTo>
                    <a:pt x="728224" y="49250"/>
                  </a:lnTo>
                  <a:cubicBezTo>
                    <a:pt x="762403" y="-1725"/>
                    <a:pt x="831433" y="-15341"/>
                    <a:pt x="882408" y="1883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2" name="Freeform 711">
              <a:extLst>
                <a:ext uri="{FF2B5EF4-FFF2-40B4-BE49-F238E27FC236}">
                  <a16:creationId xmlns:a16="http://schemas.microsoft.com/office/drawing/2014/main" id="{627A26B4-B38B-7945-9D95-0FED95027E85}"/>
                </a:ext>
              </a:extLst>
            </p:cNvPr>
            <p:cNvSpPr>
              <a:spLocks noChangeAspect="1" noChangeArrowheads="1"/>
            </p:cNvSpPr>
            <p:nvPr/>
          </p:nvSpPr>
          <p:spPr bwMode="auto">
            <a:xfrm>
              <a:off x="4835940" y="1998433"/>
              <a:ext cx="1212606" cy="1832382"/>
            </a:xfrm>
            <a:custGeom>
              <a:avLst/>
              <a:gdLst/>
              <a:ahLst/>
              <a:cxnLst/>
              <a:rect l="0" t="0" r="r" b="b"/>
              <a:pathLst>
                <a:path w="142510" h="215539">
                  <a:moveTo>
                    <a:pt x="110744" y="63500"/>
                  </a:moveTo>
                  <a:lnTo>
                    <a:pt x="138129" y="63500"/>
                  </a:lnTo>
                  <a:cubicBezTo>
                    <a:pt x="141050" y="63500"/>
                    <a:pt x="142510" y="65405"/>
                    <a:pt x="142510" y="68072"/>
                  </a:cubicBezTo>
                  <a:cubicBezTo>
                    <a:pt x="142510" y="70739"/>
                    <a:pt x="141050" y="72644"/>
                    <a:pt x="138129" y="72644"/>
                  </a:cubicBezTo>
                  <a:lnTo>
                    <a:pt x="110744" y="72644"/>
                  </a:lnTo>
                  <a:cubicBezTo>
                    <a:pt x="108188" y="72644"/>
                    <a:pt x="106362" y="70739"/>
                    <a:pt x="106362" y="68072"/>
                  </a:cubicBezTo>
                  <a:cubicBezTo>
                    <a:pt x="106362" y="65405"/>
                    <a:pt x="108188" y="63500"/>
                    <a:pt x="110744" y="63500"/>
                  </a:cubicBezTo>
                  <a:close/>
                  <a:moveTo>
                    <a:pt x="4382" y="63500"/>
                  </a:moveTo>
                  <a:lnTo>
                    <a:pt x="31766" y="63500"/>
                  </a:lnTo>
                  <a:cubicBezTo>
                    <a:pt x="34322" y="63500"/>
                    <a:pt x="36147" y="65405"/>
                    <a:pt x="36147" y="68072"/>
                  </a:cubicBezTo>
                  <a:cubicBezTo>
                    <a:pt x="36147" y="70739"/>
                    <a:pt x="34322" y="72644"/>
                    <a:pt x="31766" y="72644"/>
                  </a:cubicBezTo>
                  <a:lnTo>
                    <a:pt x="4382" y="72644"/>
                  </a:lnTo>
                  <a:cubicBezTo>
                    <a:pt x="1826" y="72644"/>
                    <a:pt x="0" y="70739"/>
                    <a:pt x="0" y="68072"/>
                  </a:cubicBezTo>
                  <a:cubicBezTo>
                    <a:pt x="0" y="65405"/>
                    <a:pt x="1826" y="63500"/>
                    <a:pt x="4382" y="63500"/>
                  </a:cubicBezTo>
                  <a:close/>
                  <a:moveTo>
                    <a:pt x="71683" y="63011"/>
                  </a:moveTo>
                  <a:cubicBezTo>
                    <a:pt x="66985" y="63011"/>
                    <a:pt x="62648" y="67349"/>
                    <a:pt x="62648" y="71686"/>
                  </a:cubicBezTo>
                  <a:lnTo>
                    <a:pt x="62648" y="170720"/>
                  </a:lnTo>
                  <a:cubicBezTo>
                    <a:pt x="62648" y="172527"/>
                    <a:pt x="61564" y="174335"/>
                    <a:pt x="59035" y="175058"/>
                  </a:cubicBezTo>
                  <a:cubicBezTo>
                    <a:pt x="57228" y="176142"/>
                    <a:pt x="55421" y="175058"/>
                    <a:pt x="53614" y="173250"/>
                  </a:cubicBezTo>
                  <a:cubicBezTo>
                    <a:pt x="36629" y="146504"/>
                    <a:pt x="28317" y="143612"/>
                    <a:pt x="21089" y="143612"/>
                  </a:cubicBezTo>
                  <a:cubicBezTo>
                    <a:pt x="19283" y="143612"/>
                    <a:pt x="19283" y="144697"/>
                    <a:pt x="18560" y="144697"/>
                  </a:cubicBezTo>
                  <a:cubicBezTo>
                    <a:pt x="17476" y="147227"/>
                    <a:pt x="17476" y="151925"/>
                    <a:pt x="20367" y="154455"/>
                  </a:cubicBezTo>
                  <a:lnTo>
                    <a:pt x="56144" y="206503"/>
                  </a:lnTo>
                  <a:lnTo>
                    <a:pt x="121915" y="206503"/>
                  </a:lnTo>
                  <a:lnTo>
                    <a:pt x="129865" y="160961"/>
                  </a:lnTo>
                  <a:cubicBezTo>
                    <a:pt x="131672" y="153733"/>
                    <a:pt x="129143" y="145419"/>
                    <a:pt x="122638" y="143612"/>
                  </a:cubicBezTo>
                  <a:lnTo>
                    <a:pt x="83247" y="130239"/>
                  </a:lnTo>
                  <a:cubicBezTo>
                    <a:pt x="81440" y="129516"/>
                    <a:pt x="80356" y="127709"/>
                    <a:pt x="80356" y="125902"/>
                  </a:cubicBezTo>
                  <a:lnTo>
                    <a:pt x="80356" y="71686"/>
                  </a:lnTo>
                  <a:cubicBezTo>
                    <a:pt x="80356" y="67349"/>
                    <a:pt x="76020" y="63011"/>
                    <a:pt x="71683" y="63011"/>
                  </a:cubicBezTo>
                  <a:close/>
                  <a:moveTo>
                    <a:pt x="72406" y="53975"/>
                  </a:moveTo>
                  <a:cubicBezTo>
                    <a:pt x="82163" y="53975"/>
                    <a:pt x="90475" y="61926"/>
                    <a:pt x="90475" y="71686"/>
                  </a:cubicBezTo>
                  <a:lnTo>
                    <a:pt x="90475" y="122287"/>
                  </a:lnTo>
                  <a:lnTo>
                    <a:pt x="127336" y="134576"/>
                  </a:lnTo>
                  <a:cubicBezTo>
                    <a:pt x="138900" y="138191"/>
                    <a:pt x="142514" y="150841"/>
                    <a:pt x="139984" y="162769"/>
                  </a:cubicBezTo>
                  <a:lnTo>
                    <a:pt x="130950" y="211924"/>
                  </a:lnTo>
                  <a:cubicBezTo>
                    <a:pt x="129143" y="213732"/>
                    <a:pt x="127336" y="215539"/>
                    <a:pt x="125529" y="215539"/>
                  </a:cubicBezTo>
                  <a:lnTo>
                    <a:pt x="53614" y="215539"/>
                  </a:lnTo>
                  <a:cubicBezTo>
                    <a:pt x="51807" y="215539"/>
                    <a:pt x="50723" y="214816"/>
                    <a:pt x="50000" y="213732"/>
                  </a:cubicBezTo>
                  <a:lnTo>
                    <a:pt x="13862" y="159877"/>
                  </a:lnTo>
                  <a:cubicBezTo>
                    <a:pt x="10248" y="154455"/>
                    <a:pt x="9525" y="146504"/>
                    <a:pt x="12055" y="141082"/>
                  </a:cubicBezTo>
                  <a:cubicBezTo>
                    <a:pt x="13862" y="137468"/>
                    <a:pt x="17476" y="134576"/>
                    <a:pt x="22896" y="134576"/>
                  </a:cubicBezTo>
                  <a:cubicBezTo>
                    <a:pt x="33015" y="134576"/>
                    <a:pt x="40965" y="138191"/>
                    <a:pt x="54337" y="156263"/>
                  </a:cubicBezTo>
                  <a:lnTo>
                    <a:pt x="54337" y="71686"/>
                  </a:lnTo>
                  <a:cubicBezTo>
                    <a:pt x="54337" y="61926"/>
                    <a:pt x="62648" y="53975"/>
                    <a:pt x="72406" y="53975"/>
                  </a:cubicBezTo>
                  <a:close/>
                  <a:moveTo>
                    <a:pt x="116620" y="20825"/>
                  </a:moveTo>
                  <a:cubicBezTo>
                    <a:pt x="118452" y="19050"/>
                    <a:pt x="121382" y="19050"/>
                    <a:pt x="123214" y="20825"/>
                  </a:cubicBezTo>
                  <a:cubicBezTo>
                    <a:pt x="125046" y="22601"/>
                    <a:pt x="125046" y="25441"/>
                    <a:pt x="123214" y="27217"/>
                  </a:cubicBezTo>
                  <a:lnTo>
                    <a:pt x="104897" y="44616"/>
                  </a:lnTo>
                  <a:cubicBezTo>
                    <a:pt x="104897" y="45682"/>
                    <a:pt x="103065" y="45682"/>
                    <a:pt x="102332" y="45682"/>
                  </a:cubicBezTo>
                  <a:cubicBezTo>
                    <a:pt x="101233" y="45682"/>
                    <a:pt x="99402" y="45327"/>
                    <a:pt x="98669" y="44616"/>
                  </a:cubicBezTo>
                  <a:cubicBezTo>
                    <a:pt x="96837" y="42486"/>
                    <a:pt x="96837" y="40355"/>
                    <a:pt x="98669" y="38580"/>
                  </a:cubicBezTo>
                  <a:lnTo>
                    <a:pt x="116620" y="20825"/>
                  </a:lnTo>
                  <a:close/>
                  <a:moveTo>
                    <a:pt x="17707" y="20825"/>
                  </a:moveTo>
                  <a:cubicBezTo>
                    <a:pt x="19539" y="19050"/>
                    <a:pt x="22103" y="19050"/>
                    <a:pt x="23935" y="20825"/>
                  </a:cubicBezTo>
                  <a:lnTo>
                    <a:pt x="42252" y="38580"/>
                  </a:lnTo>
                  <a:cubicBezTo>
                    <a:pt x="44084" y="40355"/>
                    <a:pt x="44084" y="42841"/>
                    <a:pt x="42252" y="44616"/>
                  </a:cubicBezTo>
                  <a:cubicBezTo>
                    <a:pt x="42252" y="45682"/>
                    <a:pt x="40420" y="45682"/>
                    <a:pt x="39688" y="45682"/>
                  </a:cubicBezTo>
                  <a:cubicBezTo>
                    <a:pt x="38589" y="45682"/>
                    <a:pt x="36757" y="45682"/>
                    <a:pt x="36024" y="44616"/>
                  </a:cubicBezTo>
                  <a:lnTo>
                    <a:pt x="17707" y="27217"/>
                  </a:lnTo>
                  <a:cubicBezTo>
                    <a:pt x="15875" y="25441"/>
                    <a:pt x="15875" y="22601"/>
                    <a:pt x="17707" y="20825"/>
                  </a:cubicBezTo>
                  <a:close/>
                  <a:moveTo>
                    <a:pt x="76009" y="0"/>
                  </a:moveTo>
                  <a:cubicBezTo>
                    <a:pt x="78676" y="0"/>
                    <a:pt x="80581" y="1807"/>
                    <a:pt x="80581" y="4699"/>
                  </a:cubicBezTo>
                  <a:lnTo>
                    <a:pt x="80581" y="31812"/>
                  </a:lnTo>
                  <a:cubicBezTo>
                    <a:pt x="80581" y="34343"/>
                    <a:pt x="78676" y="36150"/>
                    <a:pt x="76009" y="36150"/>
                  </a:cubicBezTo>
                  <a:cubicBezTo>
                    <a:pt x="73342" y="36150"/>
                    <a:pt x="71437" y="34343"/>
                    <a:pt x="71437" y="31812"/>
                  </a:cubicBezTo>
                  <a:lnTo>
                    <a:pt x="71437" y="4699"/>
                  </a:lnTo>
                  <a:cubicBezTo>
                    <a:pt x="71437" y="1807"/>
                    <a:pt x="73342" y="0"/>
                    <a:pt x="76009" y="0"/>
                  </a:cubicBezTo>
                  <a:close/>
                </a:path>
              </a:pathLst>
            </a:custGeom>
            <a:solidFill>
              <a:schemeClr val="bg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13" name="Group 712">
            <a:extLst>
              <a:ext uri="{FF2B5EF4-FFF2-40B4-BE49-F238E27FC236}">
                <a16:creationId xmlns:a16="http://schemas.microsoft.com/office/drawing/2014/main" id="{56C4ABA0-82FD-1B45-BEB1-D38702C20BC2}"/>
              </a:ext>
            </a:extLst>
          </p:cNvPr>
          <p:cNvGrpSpPr>
            <a:grpSpLocks noChangeAspect="1"/>
          </p:cNvGrpSpPr>
          <p:nvPr/>
        </p:nvGrpSpPr>
        <p:grpSpPr>
          <a:xfrm>
            <a:off x="1223114" y="4262159"/>
            <a:ext cx="215067" cy="347559"/>
            <a:chOff x="4835940" y="1998433"/>
            <a:chExt cx="1212606" cy="1959632"/>
          </a:xfrm>
        </p:grpSpPr>
        <p:sp>
          <p:nvSpPr>
            <p:cNvPr id="714" name="Freeform 713">
              <a:extLst>
                <a:ext uri="{FF2B5EF4-FFF2-40B4-BE49-F238E27FC236}">
                  <a16:creationId xmlns:a16="http://schemas.microsoft.com/office/drawing/2014/main" id="{C2447154-3170-6044-90E6-60178EC87A3B}"/>
                </a:ext>
              </a:extLst>
            </p:cNvPr>
            <p:cNvSpPr/>
            <p:nvPr/>
          </p:nvSpPr>
          <p:spPr>
            <a:xfrm rot="19569474">
              <a:off x="4985628" y="2559704"/>
              <a:ext cx="984399" cy="1398361"/>
            </a:xfrm>
            <a:custGeom>
              <a:avLst/>
              <a:gdLst>
                <a:gd name="connsiteX0" fmla="*/ 882408 w 984399"/>
                <a:gd name="connsiteY0" fmla="*/ 18838 h 1398361"/>
                <a:gd name="connsiteX1" fmla="*/ 935149 w 984399"/>
                <a:gd name="connsiteY1" fmla="*/ 54202 h 1398361"/>
                <a:gd name="connsiteX2" fmla="*/ 965561 w 984399"/>
                <a:gd name="connsiteY2" fmla="*/ 208386 h 1398361"/>
                <a:gd name="connsiteX3" fmla="*/ 670861 w 984399"/>
                <a:gd name="connsiteY3" fmla="*/ 647904 h 1398361"/>
                <a:gd name="connsiteX4" fmla="*/ 914518 w 984399"/>
                <a:gd name="connsiteY4" fmla="*/ 939893 h 1398361"/>
                <a:gd name="connsiteX5" fmla="*/ 553595 w 984399"/>
                <a:gd name="connsiteY5" fmla="*/ 1398361 h 1398361"/>
                <a:gd name="connsiteX6" fmla="*/ 252009 w 984399"/>
                <a:gd name="connsiteY6" fmla="*/ 1226726 h 1398361"/>
                <a:gd name="connsiteX7" fmla="*/ 256927 w 984399"/>
                <a:gd name="connsiteY7" fmla="*/ 1219390 h 1398361"/>
                <a:gd name="connsiteX8" fmla="*/ 40802 w 984399"/>
                <a:gd name="connsiteY8" fmla="*/ 1074477 h 1398361"/>
                <a:gd name="connsiteX9" fmla="*/ 63942 w 984399"/>
                <a:gd name="connsiteY9" fmla="*/ 1039967 h 1398361"/>
                <a:gd name="connsiteX10" fmla="*/ 0 w 984399"/>
                <a:gd name="connsiteY10" fmla="*/ 1039967 h 1398361"/>
                <a:gd name="connsiteX11" fmla="*/ 0 w 984399"/>
                <a:gd name="connsiteY11" fmla="*/ 523560 h 1398361"/>
                <a:gd name="connsiteX12" fmla="*/ 142875 w 984399"/>
                <a:gd name="connsiteY12" fmla="*/ 380685 h 1398361"/>
                <a:gd name="connsiteX13" fmla="*/ 198489 w 984399"/>
                <a:gd name="connsiteY13" fmla="*/ 391913 h 1398361"/>
                <a:gd name="connsiteX14" fmla="*/ 285750 w 984399"/>
                <a:gd name="connsiteY14" fmla="*/ 523560 h 1398361"/>
                <a:gd name="connsiteX15" fmla="*/ 285750 w 984399"/>
                <a:gd name="connsiteY15" fmla="*/ 709160 h 1398361"/>
                <a:gd name="connsiteX16" fmla="*/ 728224 w 984399"/>
                <a:gd name="connsiteY16" fmla="*/ 49250 h 1398361"/>
                <a:gd name="connsiteX17" fmla="*/ 882408 w 984399"/>
                <a:gd name="connsiteY17" fmla="*/ 18838 h 139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4399" h="1398361">
                  <a:moveTo>
                    <a:pt x="882408" y="18838"/>
                  </a:moveTo>
                  <a:lnTo>
                    <a:pt x="935149" y="54202"/>
                  </a:lnTo>
                  <a:cubicBezTo>
                    <a:pt x="986124" y="88381"/>
                    <a:pt x="999740" y="157411"/>
                    <a:pt x="965561" y="208386"/>
                  </a:cubicBezTo>
                  <a:lnTo>
                    <a:pt x="670861" y="647904"/>
                  </a:lnTo>
                  <a:lnTo>
                    <a:pt x="914518" y="939893"/>
                  </a:lnTo>
                  <a:lnTo>
                    <a:pt x="553595" y="1398361"/>
                  </a:lnTo>
                  <a:lnTo>
                    <a:pt x="252009" y="1226726"/>
                  </a:lnTo>
                  <a:lnTo>
                    <a:pt x="256927" y="1219390"/>
                  </a:lnTo>
                  <a:lnTo>
                    <a:pt x="40802" y="1074477"/>
                  </a:lnTo>
                  <a:lnTo>
                    <a:pt x="63942" y="1039967"/>
                  </a:lnTo>
                  <a:lnTo>
                    <a:pt x="0" y="1039967"/>
                  </a:lnTo>
                  <a:lnTo>
                    <a:pt x="0" y="523560"/>
                  </a:lnTo>
                  <a:cubicBezTo>
                    <a:pt x="0" y="444652"/>
                    <a:pt x="63967" y="380685"/>
                    <a:pt x="142875" y="380685"/>
                  </a:cubicBezTo>
                  <a:cubicBezTo>
                    <a:pt x="162602" y="380685"/>
                    <a:pt x="181395" y="384683"/>
                    <a:pt x="198489" y="391913"/>
                  </a:cubicBezTo>
                  <a:cubicBezTo>
                    <a:pt x="249769" y="413602"/>
                    <a:pt x="285750" y="464379"/>
                    <a:pt x="285750" y="523560"/>
                  </a:cubicBezTo>
                  <a:lnTo>
                    <a:pt x="285750" y="709160"/>
                  </a:lnTo>
                  <a:lnTo>
                    <a:pt x="728224" y="49250"/>
                  </a:lnTo>
                  <a:cubicBezTo>
                    <a:pt x="762403" y="-1725"/>
                    <a:pt x="831433" y="-15341"/>
                    <a:pt x="882408" y="1883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5" name="Freeform 714">
              <a:extLst>
                <a:ext uri="{FF2B5EF4-FFF2-40B4-BE49-F238E27FC236}">
                  <a16:creationId xmlns:a16="http://schemas.microsoft.com/office/drawing/2014/main" id="{C67538CD-5B96-1943-B610-E62E3C826EF1}"/>
                </a:ext>
              </a:extLst>
            </p:cNvPr>
            <p:cNvSpPr>
              <a:spLocks noChangeAspect="1" noChangeArrowheads="1"/>
            </p:cNvSpPr>
            <p:nvPr/>
          </p:nvSpPr>
          <p:spPr bwMode="auto">
            <a:xfrm>
              <a:off x="4835940" y="1998433"/>
              <a:ext cx="1212606" cy="1832382"/>
            </a:xfrm>
            <a:custGeom>
              <a:avLst/>
              <a:gdLst/>
              <a:ahLst/>
              <a:cxnLst/>
              <a:rect l="0" t="0" r="r" b="b"/>
              <a:pathLst>
                <a:path w="142510" h="215539">
                  <a:moveTo>
                    <a:pt x="110744" y="63500"/>
                  </a:moveTo>
                  <a:lnTo>
                    <a:pt x="138129" y="63500"/>
                  </a:lnTo>
                  <a:cubicBezTo>
                    <a:pt x="141050" y="63500"/>
                    <a:pt x="142510" y="65405"/>
                    <a:pt x="142510" y="68072"/>
                  </a:cubicBezTo>
                  <a:cubicBezTo>
                    <a:pt x="142510" y="70739"/>
                    <a:pt x="141050" y="72644"/>
                    <a:pt x="138129" y="72644"/>
                  </a:cubicBezTo>
                  <a:lnTo>
                    <a:pt x="110744" y="72644"/>
                  </a:lnTo>
                  <a:cubicBezTo>
                    <a:pt x="108188" y="72644"/>
                    <a:pt x="106362" y="70739"/>
                    <a:pt x="106362" y="68072"/>
                  </a:cubicBezTo>
                  <a:cubicBezTo>
                    <a:pt x="106362" y="65405"/>
                    <a:pt x="108188" y="63500"/>
                    <a:pt x="110744" y="63500"/>
                  </a:cubicBezTo>
                  <a:close/>
                  <a:moveTo>
                    <a:pt x="4382" y="63500"/>
                  </a:moveTo>
                  <a:lnTo>
                    <a:pt x="31766" y="63500"/>
                  </a:lnTo>
                  <a:cubicBezTo>
                    <a:pt x="34322" y="63500"/>
                    <a:pt x="36147" y="65405"/>
                    <a:pt x="36147" y="68072"/>
                  </a:cubicBezTo>
                  <a:cubicBezTo>
                    <a:pt x="36147" y="70739"/>
                    <a:pt x="34322" y="72644"/>
                    <a:pt x="31766" y="72644"/>
                  </a:cubicBezTo>
                  <a:lnTo>
                    <a:pt x="4382" y="72644"/>
                  </a:lnTo>
                  <a:cubicBezTo>
                    <a:pt x="1826" y="72644"/>
                    <a:pt x="0" y="70739"/>
                    <a:pt x="0" y="68072"/>
                  </a:cubicBezTo>
                  <a:cubicBezTo>
                    <a:pt x="0" y="65405"/>
                    <a:pt x="1826" y="63500"/>
                    <a:pt x="4382" y="63500"/>
                  </a:cubicBezTo>
                  <a:close/>
                  <a:moveTo>
                    <a:pt x="71683" y="63011"/>
                  </a:moveTo>
                  <a:cubicBezTo>
                    <a:pt x="66985" y="63011"/>
                    <a:pt x="62648" y="67349"/>
                    <a:pt x="62648" y="71686"/>
                  </a:cubicBezTo>
                  <a:lnTo>
                    <a:pt x="62648" y="170720"/>
                  </a:lnTo>
                  <a:cubicBezTo>
                    <a:pt x="62648" y="172527"/>
                    <a:pt x="61564" y="174335"/>
                    <a:pt x="59035" y="175058"/>
                  </a:cubicBezTo>
                  <a:cubicBezTo>
                    <a:pt x="57228" y="176142"/>
                    <a:pt x="55421" y="175058"/>
                    <a:pt x="53614" y="173250"/>
                  </a:cubicBezTo>
                  <a:cubicBezTo>
                    <a:pt x="36629" y="146504"/>
                    <a:pt x="28317" y="143612"/>
                    <a:pt x="21089" y="143612"/>
                  </a:cubicBezTo>
                  <a:cubicBezTo>
                    <a:pt x="19283" y="143612"/>
                    <a:pt x="19283" y="144697"/>
                    <a:pt x="18560" y="144697"/>
                  </a:cubicBezTo>
                  <a:cubicBezTo>
                    <a:pt x="17476" y="147227"/>
                    <a:pt x="17476" y="151925"/>
                    <a:pt x="20367" y="154455"/>
                  </a:cubicBezTo>
                  <a:lnTo>
                    <a:pt x="56144" y="206503"/>
                  </a:lnTo>
                  <a:lnTo>
                    <a:pt x="121915" y="206503"/>
                  </a:lnTo>
                  <a:lnTo>
                    <a:pt x="129865" y="160961"/>
                  </a:lnTo>
                  <a:cubicBezTo>
                    <a:pt x="131672" y="153733"/>
                    <a:pt x="129143" y="145419"/>
                    <a:pt x="122638" y="143612"/>
                  </a:cubicBezTo>
                  <a:lnTo>
                    <a:pt x="83247" y="130239"/>
                  </a:lnTo>
                  <a:cubicBezTo>
                    <a:pt x="81440" y="129516"/>
                    <a:pt x="80356" y="127709"/>
                    <a:pt x="80356" y="125902"/>
                  </a:cubicBezTo>
                  <a:lnTo>
                    <a:pt x="80356" y="71686"/>
                  </a:lnTo>
                  <a:cubicBezTo>
                    <a:pt x="80356" y="67349"/>
                    <a:pt x="76020" y="63011"/>
                    <a:pt x="71683" y="63011"/>
                  </a:cubicBezTo>
                  <a:close/>
                  <a:moveTo>
                    <a:pt x="72406" y="53975"/>
                  </a:moveTo>
                  <a:cubicBezTo>
                    <a:pt x="82163" y="53975"/>
                    <a:pt x="90475" y="61926"/>
                    <a:pt x="90475" y="71686"/>
                  </a:cubicBezTo>
                  <a:lnTo>
                    <a:pt x="90475" y="122287"/>
                  </a:lnTo>
                  <a:lnTo>
                    <a:pt x="127336" y="134576"/>
                  </a:lnTo>
                  <a:cubicBezTo>
                    <a:pt x="138900" y="138191"/>
                    <a:pt x="142514" y="150841"/>
                    <a:pt x="139984" y="162769"/>
                  </a:cubicBezTo>
                  <a:lnTo>
                    <a:pt x="130950" y="211924"/>
                  </a:lnTo>
                  <a:cubicBezTo>
                    <a:pt x="129143" y="213732"/>
                    <a:pt x="127336" y="215539"/>
                    <a:pt x="125529" y="215539"/>
                  </a:cubicBezTo>
                  <a:lnTo>
                    <a:pt x="53614" y="215539"/>
                  </a:lnTo>
                  <a:cubicBezTo>
                    <a:pt x="51807" y="215539"/>
                    <a:pt x="50723" y="214816"/>
                    <a:pt x="50000" y="213732"/>
                  </a:cubicBezTo>
                  <a:lnTo>
                    <a:pt x="13862" y="159877"/>
                  </a:lnTo>
                  <a:cubicBezTo>
                    <a:pt x="10248" y="154455"/>
                    <a:pt x="9525" y="146504"/>
                    <a:pt x="12055" y="141082"/>
                  </a:cubicBezTo>
                  <a:cubicBezTo>
                    <a:pt x="13862" y="137468"/>
                    <a:pt x="17476" y="134576"/>
                    <a:pt x="22896" y="134576"/>
                  </a:cubicBezTo>
                  <a:cubicBezTo>
                    <a:pt x="33015" y="134576"/>
                    <a:pt x="40965" y="138191"/>
                    <a:pt x="54337" y="156263"/>
                  </a:cubicBezTo>
                  <a:lnTo>
                    <a:pt x="54337" y="71686"/>
                  </a:lnTo>
                  <a:cubicBezTo>
                    <a:pt x="54337" y="61926"/>
                    <a:pt x="62648" y="53975"/>
                    <a:pt x="72406" y="53975"/>
                  </a:cubicBezTo>
                  <a:close/>
                  <a:moveTo>
                    <a:pt x="116620" y="20825"/>
                  </a:moveTo>
                  <a:cubicBezTo>
                    <a:pt x="118452" y="19050"/>
                    <a:pt x="121382" y="19050"/>
                    <a:pt x="123214" y="20825"/>
                  </a:cubicBezTo>
                  <a:cubicBezTo>
                    <a:pt x="125046" y="22601"/>
                    <a:pt x="125046" y="25441"/>
                    <a:pt x="123214" y="27217"/>
                  </a:cubicBezTo>
                  <a:lnTo>
                    <a:pt x="104897" y="44616"/>
                  </a:lnTo>
                  <a:cubicBezTo>
                    <a:pt x="104897" y="45682"/>
                    <a:pt x="103065" y="45682"/>
                    <a:pt x="102332" y="45682"/>
                  </a:cubicBezTo>
                  <a:cubicBezTo>
                    <a:pt x="101233" y="45682"/>
                    <a:pt x="99402" y="45327"/>
                    <a:pt x="98669" y="44616"/>
                  </a:cubicBezTo>
                  <a:cubicBezTo>
                    <a:pt x="96837" y="42486"/>
                    <a:pt x="96837" y="40355"/>
                    <a:pt x="98669" y="38580"/>
                  </a:cubicBezTo>
                  <a:lnTo>
                    <a:pt x="116620" y="20825"/>
                  </a:lnTo>
                  <a:close/>
                  <a:moveTo>
                    <a:pt x="17707" y="20825"/>
                  </a:moveTo>
                  <a:cubicBezTo>
                    <a:pt x="19539" y="19050"/>
                    <a:pt x="22103" y="19050"/>
                    <a:pt x="23935" y="20825"/>
                  </a:cubicBezTo>
                  <a:lnTo>
                    <a:pt x="42252" y="38580"/>
                  </a:lnTo>
                  <a:cubicBezTo>
                    <a:pt x="44084" y="40355"/>
                    <a:pt x="44084" y="42841"/>
                    <a:pt x="42252" y="44616"/>
                  </a:cubicBezTo>
                  <a:cubicBezTo>
                    <a:pt x="42252" y="45682"/>
                    <a:pt x="40420" y="45682"/>
                    <a:pt x="39688" y="45682"/>
                  </a:cubicBezTo>
                  <a:cubicBezTo>
                    <a:pt x="38589" y="45682"/>
                    <a:pt x="36757" y="45682"/>
                    <a:pt x="36024" y="44616"/>
                  </a:cubicBezTo>
                  <a:lnTo>
                    <a:pt x="17707" y="27217"/>
                  </a:lnTo>
                  <a:cubicBezTo>
                    <a:pt x="15875" y="25441"/>
                    <a:pt x="15875" y="22601"/>
                    <a:pt x="17707" y="20825"/>
                  </a:cubicBezTo>
                  <a:close/>
                  <a:moveTo>
                    <a:pt x="76009" y="0"/>
                  </a:moveTo>
                  <a:cubicBezTo>
                    <a:pt x="78676" y="0"/>
                    <a:pt x="80581" y="1807"/>
                    <a:pt x="80581" y="4699"/>
                  </a:cubicBezTo>
                  <a:lnTo>
                    <a:pt x="80581" y="31812"/>
                  </a:lnTo>
                  <a:cubicBezTo>
                    <a:pt x="80581" y="34343"/>
                    <a:pt x="78676" y="36150"/>
                    <a:pt x="76009" y="36150"/>
                  </a:cubicBezTo>
                  <a:cubicBezTo>
                    <a:pt x="73342" y="36150"/>
                    <a:pt x="71437" y="34343"/>
                    <a:pt x="71437" y="31812"/>
                  </a:cubicBezTo>
                  <a:lnTo>
                    <a:pt x="71437" y="4699"/>
                  </a:lnTo>
                  <a:cubicBezTo>
                    <a:pt x="71437" y="1807"/>
                    <a:pt x="73342" y="0"/>
                    <a:pt x="76009" y="0"/>
                  </a:cubicBezTo>
                  <a:close/>
                </a:path>
              </a:pathLst>
            </a:custGeom>
            <a:solidFill>
              <a:schemeClr val="bg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16" name="Group 715">
            <a:extLst>
              <a:ext uri="{FF2B5EF4-FFF2-40B4-BE49-F238E27FC236}">
                <a16:creationId xmlns:a16="http://schemas.microsoft.com/office/drawing/2014/main" id="{76C57A1A-0721-CF4F-B19F-34F4DF2ABDD4}"/>
              </a:ext>
            </a:extLst>
          </p:cNvPr>
          <p:cNvGrpSpPr>
            <a:grpSpLocks noChangeAspect="1"/>
          </p:cNvGrpSpPr>
          <p:nvPr/>
        </p:nvGrpSpPr>
        <p:grpSpPr>
          <a:xfrm>
            <a:off x="575565" y="4408177"/>
            <a:ext cx="334931" cy="334931"/>
            <a:chOff x="5204415" y="3336671"/>
            <a:chExt cx="410169" cy="410169"/>
          </a:xfrm>
        </p:grpSpPr>
        <p:sp>
          <p:nvSpPr>
            <p:cNvPr id="717" name="Oval 716">
              <a:extLst>
                <a:ext uri="{FF2B5EF4-FFF2-40B4-BE49-F238E27FC236}">
                  <a16:creationId xmlns:a16="http://schemas.microsoft.com/office/drawing/2014/main" id="{BC532E3B-6461-F148-8A1B-2BB33FE8A11C}"/>
                </a:ext>
              </a:extLst>
            </p:cNvPr>
            <p:cNvSpPr>
              <a:spLocks noChangeAspect="1"/>
            </p:cNvSpPr>
            <p:nvPr/>
          </p:nvSpPr>
          <p:spPr>
            <a:xfrm>
              <a:off x="5204415" y="3336671"/>
              <a:ext cx="410169" cy="41016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8" name="Freeform 717">
              <a:extLst>
                <a:ext uri="{FF2B5EF4-FFF2-40B4-BE49-F238E27FC236}">
                  <a16:creationId xmlns:a16="http://schemas.microsoft.com/office/drawing/2014/main" id="{D029AD05-5AB5-F04B-A5F8-FCCC6817DDD3}"/>
                </a:ext>
              </a:extLst>
            </p:cNvPr>
            <p:cNvSpPr>
              <a:spLocks noChangeAspect="1" noChangeArrowheads="1"/>
            </p:cNvSpPr>
            <p:nvPr/>
          </p:nvSpPr>
          <p:spPr bwMode="auto">
            <a:xfrm>
              <a:off x="5257649" y="3398320"/>
              <a:ext cx="298636" cy="296439"/>
            </a:xfrm>
            <a:custGeom>
              <a:avLst/>
              <a:gdLst>
                <a:gd name="T0" fmla="*/ 103315 w 215539"/>
                <a:gd name="T1" fmla="*/ 52475 h 213953"/>
                <a:gd name="T2" fmla="*/ 107677 w 215539"/>
                <a:gd name="T3" fmla="*/ 56814 h 213953"/>
                <a:gd name="T4" fmla="*/ 107677 w 215539"/>
                <a:gd name="T5" fmla="*/ 104551 h 213953"/>
                <a:gd name="T6" fmla="*/ 160016 w 215539"/>
                <a:gd name="T7" fmla="*/ 153011 h 213953"/>
                <a:gd name="T8" fmla="*/ 160016 w 215539"/>
                <a:gd name="T9" fmla="*/ 159521 h 213953"/>
                <a:gd name="T10" fmla="*/ 157471 w 215539"/>
                <a:gd name="T11" fmla="*/ 160244 h 213953"/>
                <a:gd name="T12" fmla="*/ 154927 w 215539"/>
                <a:gd name="T13" fmla="*/ 159521 h 213953"/>
                <a:gd name="T14" fmla="*/ 100408 w 215539"/>
                <a:gd name="T15" fmla="*/ 109976 h 213953"/>
                <a:gd name="T16" fmla="*/ 98590 w 215539"/>
                <a:gd name="T17" fmla="*/ 106360 h 213953"/>
                <a:gd name="T18" fmla="*/ 98590 w 215539"/>
                <a:gd name="T19" fmla="*/ 56814 h 213953"/>
                <a:gd name="T20" fmla="*/ 103315 w 215539"/>
                <a:gd name="T21" fmla="*/ 52475 h 213953"/>
                <a:gd name="T22" fmla="*/ 107769 w 215539"/>
                <a:gd name="T23" fmla="*/ 8630 h 213953"/>
                <a:gd name="T24" fmla="*/ 9041 w 215539"/>
                <a:gd name="T25" fmla="*/ 107157 h 213953"/>
                <a:gd name="T26" fmla="*/ 107769 w 215539"/>
                <a:gd name="T27" fmla="*/ 205323 h 213953"/>
                <a:gd name="T28" fmla="*/ 206859 w 215539"/>
                <a:gd name="T29" fmla="*/ 107157 h 213953"/>
                <a:gd name="T30" fmla="*/ 107769 w 215539"/>
                <a:gd name="T31" fmla="*/ 8630 h 213953"/>
                <a:gd name="T32" fmla="*/ 107769 w 215539"/>
                <a:gd name="T33" fmla="*/ 0 h 213953"/>
                <a:gd name="T34" fmla="*/ 215900 w 215539"/>
                <a:gd name="T35" fmla="*/ 107157 h 213953"/>
                <a:gd name="T36" fmla="*/ 107769 w 215539"/>
                <a:gd name="T37" fmla="*/ 214312 h 213953"/>
                <a:gd name="T38" fmla="*/ 0 w 215539"/>
                <a:gd name="T39" fmla="*/ 107157 h 213953"/>
                <a:gd name="T40" fmla="*/ 107769 w 215539"/>
                <a:gd name="T41" fmla="*/ 0 h 2139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5539" h="213953">
                  <a:moveTo>
                    <a:pt x="103142" y="52387"/>
                  </a:moveTo>
                  <a:cubicBezTo>
                    <a:pt x="106045" y="52387"/>
                    <a:pt x="107497" y="54192"/>
                    <a:pt x="107497" y="56719"/>
                  </a:cubicBezTo>
                  <a:lnTo>
                    <a:pt x="107497" y="104376"/>
                  </a:lnTo>
                  <a:lnTo>
                    <a:pt x="159748" y="152755"/>
                  </a:lnTo>
                  <a:cubicBezTo>
                    <a:pt x="161562" y="154560"/>
                    <a:pt x="161562" y="157449"/>
                    <a:pt x="159748" y="159254"/>
                  </a:cubicBezTo>
                  <a:cubicBezTo>
                    <a:pt x="159748" y="159254"/>
                    <a:pt x="157934" y="159976"/>
                    <a:pt x="157208" y="159976"/>
                  </a:cubicBezTo>
                  <a:cubicBezTo>
                    <a:pt x="156120" y="159976"/>
                    <a:pt x="155394" y="159976"/>
                    <a:pt x="154668" y="159254"/>
                  </a:cubicBezTo>
                  <a:lnTo>
                    <a:pt x="100240" y="109792"/>
                  </a:lnTo>
                  <a:cubicBezTo>
                    <a:pt x="99514" y="108709"/>
                    <a:pt x="98425" y="107987"/>
                    <a:pt x="98425" y="106182"/>
                  </a:cubicBezTo>
                  <a:lnTo>
                    <a:pt x="98425" y="56719"/>
                  </a:lnTo>
                  <a:cubicBezTo>
                    <a:pt x="98425" y="54192"/>
                    <a:pt x="100602" y="52387"/>
                    <a:pt x="103142" y="52387"/>
                  </a:cubicBezTo>
                  <a:close/>
                  <a:moveTo>
                    <a:pt x="107589" y="8616"/>
                  </a:moveTo>
                  <a:cubicBezTo>
                    <a:pt x="53072" y="8616"/>
                    <a:pt x="9026" y="52411"/>
                    <a:pt x="9026" y="106977"/>
                  </a:cubicBezTo>
                  <a:cubicBezTo>
                    <a:pt x="9026" y="161542"/>
                    <a:pt x="53072" y="204979"/>
                    <a:pt x="107589" y="204979"/>
                  </a:cubicBezTo>
                  <a:cubicBezTo>
                    <a:pt x="162467" y="204979"/>
                    <a:pt x="206513" y="161542"/>
                    <a:pt x="206513" y="106977"/>
                  </a:cubicBezTo>
                  <a:cubicBezTo>
                    <a:pt x="206513" y="52411"/>
                    <a:pt x="162467" y="8616"/>
                    <a:pt x="107589" y="8616"/>
                  </a:cubicBezTo>
                  <a:close/>
                  <a:moveTo>
                    <a:pt x="107589" y="0"/>
                  </a:moveTo>
                  <a:cubicBezTo>
                    <a:pt x="166799" y="0"/>
                    <a:pt x="215539" y="48103"/>
                    <a:pt x="215539" y="106977"/>
                  </a:cubicBezTo>
                  <a:cubicBezTo>
                    <a:pt x="215539" y="165850"/>
                    <a:pt x="166799" y="213953"/>
                    <a:pt x="107589" y="213953"/>
                  </a:cubicBezTo>
                  <a:cubicBezTo>
                    <a:pt x="48379" y="213953"/>
                    <a:pt x="0" y="165850"/>
                    <a:pt x="0" y="106977"/>
                  </a:cubicBezTo>
                  <a:cubicBezTo>
                    <a:pt x="0" y="48103"/>
                    <a:pt x="48379" y="0"/>
                    <a:pt x="107589" y="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19" name="Group 718">
            <a:extLst>
              <a:ext uri="{FF2B5EF4-FFF2-40B4-BE49-F238E27FC236}">
                <a16:creationId xmlns:a16="http://schemas.microsoft.com/office/drawing/2014/main" id="{0CBA3252-A02A-324A-BE01-18748B0F80B1}"/>
              </a:ext>
            </a:extLst>
          </p:cNvPr>
          <p:cNvGrpSpPr/>
          <p:nvPr/>
        </p:nvGrpSpPr>
        <p:grpSpPr>
          <a:xfrm>
            <a:off x="5065029" y="1151553"/>
            <a:ext cx="3711580" cy="3819219"/>
            <a:chOff x="4878000" y="1151553"/>
            <a:chExt cx="3711580" cy="3819219"/>
          </a:xfrm>
        </p:grpSpPr>
        <p:sp>
          <p:nvSpPr>
            <p:cNvPr id="720" name="Rectangle 719">
              <a:extLst>
                <a:ext uri="{FF2B5EF4-FFF2-40B4-BE49-F238E27FC236}">
                  <a16:creationId xmlns:a16="http://schemas.microsoft.com/office/drawing/2014/main" id="{3316BDD3-8A43-A34C-B632-0AB101551674}"/>
                </a:ext>
              </a:extLst>
            </p:cNvPr>
            <p:cNvSpPr/>
            <p:nvPr/>
          </p:nvSpPr>
          <p:spPr>
            <a:xfrm rot="16200000">
              <a:off x="5754242" y="828297"/>
              <a:ext cx="780501" cy="2161313"/>
            </a:xfrm>
            <a:prstGeom prst="rect">
              <a:avLst/>
            </a:prstGeom>
            <a:gradFill>
              <a:gsLst>
                <a:gs pos="0">
                  <a:schemeClr val="tx2">
                    <a:lumMod val="40000"/>
                    <a:lumOff val="6000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1" name="Text Placeholder 2">
              <a:extLst>
                <a:ext uri="{FF2B5EF4-FFF2-40B4-BE49-F238E27FC236}">
                  <a16:creationId xmlns:a16="http://schemas.microsoft.com/office/drawing/2014/main" id="{C74B9406-9431-CC43-8659-FE39BE7903FD}"/>
                </a:ext>
              </a:extLst>
            </p:cNvPr>
            <p:cNvSpPr txBox="1">
              <a:spLocks/>
            </p:cNvSpPr>
            <p:nvPr/>
          </p:nvSpPr>
          <p:spPr>
            <a:xfrm>
              <a:off x="4878000" y="1151553"/>
              <a:ext cx="1856475" cy="340639"/>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marR="0" lvl="0" indent="0" algn="l" defTabSz="684213" rtl="0" eaLnBrk="1" fontAlgn="base" latinLnBrk="0" hangingPunct="1">
                <a:lnSpc>
                  <a:spcPct val="100000"/>
                </a:lnSpc>
                <a:spcBef>
                  <a:spcPts val="0"/>
                </a:spcBef>
                <a:spcAft>
                  <a:spcPts val="600"/>
                </a:spcAft>
                <a:buClr>
                  <a:srgbClr val="282828"/>
                </a:buClr>
                <a:buSzPct val="60000"/>
                <a:buFont typeface="Arial"/>
                <a:buNone/>
                <a:tabLst/>
                <a:defRPr/>
              </a:pPr>
              <a:r>
                <a:rPr kumimoji="0" lang="en-US" sz="1400" u="none" strike="noStrike" kern="1200" cap="none" spc="0" normalizeH="0" baseline="0" noProof="0">
                  <a:ln>
                    <a:noFill/>
                  </a:ln>
                  <a:solidFill>
                    <a:schemeClr val="tx2"/>
                  </a:solidFill>
                  <a:effectLst/>
                  <a:uLnTx/>
                  <a:uFillTx/>
                  <a:latin typeface="CiscoSansTT Medium" panose="020B0503020201020303" pitchFamily="34" charset="0"/>
                  <a:cs typeface="CiscoSansTT Medium" panose="020B0503020201020303" pitchFamily="34" charset="0"/>
                </a:rPr>
                <a:t>AFTER: 5 minutes</a:t>
              </a:r>
            </a:p>
          </p:txBody>
        </p:sp>
        <p:sp>
          <p:nvSpPr>
            <p:cNvPr id="722" name="Rounded Rectangle 721">
              <a:extLst>
                <a:ext uri="{FF2B5EF4-FFF2-40B4-BE49-F238E27FC236}">
                  <a16:creationId xmlns:a16="http://schemas.microsoft.com/office/drawing/2014/main" id="{6E5F9A40-2B30-7342-859E-DA0C006A375C}"/>
                </a:ext>
              </a:extLst>
            </p:cNvPr>
            <p:cNvSpPr/>
            <p:nvPr/>
          </p:nvSpPr>
          <p:spPr>
            <a:xfrm>
              <a:off x="4878249" y="1500273"/>
              <a:ext cx="386302" cy="801303"/>
            </a:xfrm>
            <a:prstGeom prst="roundRect">
              <a:avLst>
                <a:gd name="adj" fmla="val 50000"/>
              </a:avLst>
            </a:prstGeom>
            <a:solidFill>
              <a:schemeClr val="tx2"/>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srgbClr val="FFFFFF"/>
                </a:solidFill>
                <a:effectLst/>
                <a:uLnTx/>
                <a:uFillTx/>
              </a:endParaRPr>
            </a:p>
          </p:txBody>
        </p:sp>
        <p:grpSp>
          <p:nvGrpSpPr>
            <p:cNvPr id="723" name="Group 722">
              <a:extLst>
                <a:ext uri="{FF2B5EF4-FFF2-40B4-BE49-F238E27FC236}">
                  <a16:creationId xmlns:a16="http://schemas.microsoft.com/office/drawing/2014/main" id="{FAA79B62-2F5E-9746-9666-33A0D6D62047}"/>
                </a:ext>
              </a:extLst>
            </p:cNvPr>
            <p:cNvGrpSpPr>
              <a:grpSpLocks noChangeAspect="1"/>
            </p:cNvGrpSpPr>
            <p:nvPr/>
          </p:nvGrpSpPr>
          <p:grpSpPr>
            <a:xfrm>
              <a:off x="4903934" y="1935290"/>
              <a:ext cx="334931" cy="334931"/>
              <a:chOff x="5204415" y="3336671"/>
              <a:chExt cx="410169" cy="410169"/>
            </a:xfrm>
          </p:grpSpPr>
          <p:sp>
            <p:nvSpPr>
              <p:cNvPr id="768" name="Oval 767">
                <a:extLst>
                  <a:ext uri="{FF2B5EF4-FFF2-40B4-BE49-F238E27FC236}">
                    <a16:creationId xmlns:a16="http://schemas.microsoft.com/office/drawing/2014/main" id="{B9E2C19C-69EC-3B45-B57F-82DAB1141B59}"/>
                  </a:ext>
                </a:extLst>
              </p:cNvPr>
              <p:cNvSpPr>
                <a:spLocks noChangeAspect="1"/>
              </p:cNvSpPr>
              <p:nvPr/>
            </p:nvSpPr>
            <p:spPr>
              <a:xfrm>
                <a:off x="5204415" y="3336671"/>
                <a:ext cx="410169" cy="41016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9" name="Freeform 768">
                <a:extLst>
                  <a:ext uri="{FF2B5EF4-FFF2-40B4-BE49-F238E27FC236}">
                    <a16:creationId xmlns:a16="http://schemas.microsoft.com/office/drawing/2014/main" id="{4F4A3128-D8F0-3046-A1CA-438015F05D78}"/>
                  </a:ext>
                </a:extLst>
              </p:cNvPr>
              <p:cNvSpPr>
                <a:spLocks noChangeAspect="1" noChangeArrowheads="1"/>
              </p:cNvSpPr>
              <p:nvPr/>
            </p:nvSpPr>
            <p:spPr bwMode="auto">
              <a:xfrm>
                <a:off x="5257649" y="3398320"/>
                <a:ext cx="298636" cy="296439"/>
              </a:xfrm>
              <a:custGeom>
                <a:avLst/>
                <a:gdLst>
                  <a:gd name="T0" fmla="*/ 103315 w 215539"/>
                  <a:gd name="T1" fmla="*/ 52475 h 213953"/>
                  <a:gd name="T2" fmla="*/ 107677 w 215539"/>
                  <a:gd name="T3" fmla="*/ 56814 h 213953"/>
                  <a:gd name="T4" fmla="*/ 107677 w 215539"/>
                  <a:gd name="T5" fmla="*/ 104551 h 213953"/>
                  <a:gd name="T6" fmla="*/ 160016 w 215539"/>
                  <a:gd name="T7" fmla="*/ 153011 h 213953"/>
                  <a:gd name="T8" fmla="*/ 160016 w 215539"/>
                  <a:gd name="T9" fmla="*/ 159521 h 213953"/>
                  <a:gd name="T10" fmla="*/ 157471 w 215539"/>
                  <a:gd name="T11" fmla="*/ 160244 h 213953"/>
                  <a:gd name="T12" fmla="*/ 154927 w 215539"/>
                  <a:gd name="T13" fmla="*/ 159521 h 213953"/>
                  <a:gd name="T14" fmla="*/ 100408 w 215539"/>
                  <a:gd name="T15" fmla="*/ 109976 h 213953"/>
                  <a:gd name="T16" fmla="*/ 98590 w 215539"/>
                  <a:gd name="T17" fmla="*/ 106360 h 213953"/>
                  <a:gd name="T18" fmla="*/ 98590 w 215539"/>
                  <a:gd name="T19" fmla="*/ 56814 h 213953"/>
                  <a:gd name="T20" fmla="*/ 103315 w 215539"/>
                  <a:gd name="T21" fmla="*/ 52475 h 213953"/>
                  <a:gd name="T22" fmla="*/ 107769 w 215539"/>
                  <a:gd name="T23" fmla="*/ 8630 h 213953"/>
                  <a:gd name="T24" fmla="*/ 9041 w 215539"/>
                  <a:gd name="T25" fmla="*/ 107157 h 213953"/>
                  <a:gd name="T26" fmla="*/ 107769 w 215539"/>
                  <a:gd name="T27" fmla="*/ 205323 h 213953"/>
                  <a:gd name="T28" fmla="*/ 206859 w 215539"/>
                  <a:gd name="T29" fmla="*/ 107157 h 213953"/>
                  <a:gd name="T30" fmla="*/ 107769 w 215539"/>
                  <a:gd name="T31" fmla="*/ 8630 h 213953"/>
                  <a:gd name="T32" fmla="*/ 107769 w 215539"/>
                  <a:gd name="T33" fmla="*/ 0 h 213953"/>
                  <a:gd name="T34" fmla="*/ 215900 w 215539"/>
                  <a:gd name="T35" fmla="*/ 107157 h 213953"/>
                  <a:gd name="T36" fmla="*/ 107769 w 215539"/>
                  <a:gd name="T37" fmla="*/ 214312 h 213953"/>
                  <a:gd name="T38" fmla="*/ 0 w 215539"/>
                  <a:gd name="T39" fmla="*/ 107157 h 213953"/>
                  <a:gd name="T40" fmla="*/ 107769 w 215539"/>
                  <a:gd name="T41" fmla="*/ 0 h 21395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15539" h="213953">
                    <a:moveTo>
                      <a:pt x="103142" y="52387"/>
                    </a:moveTo>
                    <a:cubicBezTo>
                      <a:pt x="106045" y="52387"/>
                      <a:pt x="107497" y="54192"/>
                      <a:pt x="107497" y="56719"/>
                    </a:cubicBezTo>
                    <a:lnTo>
                      <a:pt x="107497" y="104376"/>
                    </a:lnTo>
                    <a:lnTo>
                      <a:pt x="159748" y="152755"/>
                    </a:lnTo>
                    <a:cubicBezTo>
                      <a:pt x="161562" y="154560"/>
                      <a:pt x="161562" y="157449"/>
                      <a:pt x="159748" y="159254"/>
                    </a:cubicBezTo>
                    <a:cubicBezTo>
                      <a:pt x="159748" y="159254"/>
                      <a:pt x="157934" y="159976"/>
                      <a:pt x="157208" y="159976"/>
                    </a:cubicBezTo>
                    <a:cubicBezTo>
                      <a:pt x="156120" y="159976"/>
                      <a:pt x="155394" y="159976"/>
                      <a:pt x="154668" y="159254"/>
                    </a:cubicBezTo>
                    <a:lnTo>
                      <a:pt x="100240" y="109792"/>
                    </a:lnTo>
                    <a:cubicBezTo>
                      <a:pt x="99514" y="108709"/>
                      <a:pt x="98425" y="107987"/>
                      <a:pt x="98425" y="106182"/>
                    </a:cubicBezTo>
                    <a:lnTo>
                      <a:pt x="98425" y="56719"/>
                    </a:lnTo>
                    <a:cubicBezTo>
                      <a:pt x="98425" y="54192"/>
                      <a:pt x="100602" y="52387"/>
                      <a:pt x="103142" y="52387"/>
                    </a:cubicBezTo>
                    <a:close/>
                    <a:moveTo>
                      <a:pt x="107589" y="8616"/>
                    </a:moveTo>
                    <a:cubicBezTo>
                      <a:pt x="53072" y="8616"/>
                      <a:pt x="9026" y="52411"/>
                      <a:pt x="9026" y="106977"/>
                    </a:cubicBezTo>
                    <a:cubicBezTo>
                      <a:pt x="9026" y="161542"/>
                      <a:pt x="53072" y="204979"/>
                      <a:pt x="107589" y="204979"/>
                    </a:cubicBezTo>
                    <a:cubicBezTo>
                      <a:pt x="162467" y="204979"/>
                      <a:pt x="206513" y="161542"/>
                      <a:pt x="206513" y="106977"/>
                    </a:cubicBezTo>
                    <a:cubicBezTo>
                      <a:pt x="206513" y="52411"/>
                      <a:pt x="162467" y="8616"/>
                      <a:pt x="107589" y="8616"/>
                    </a:cubicBezTo>
                    <a:close/>
                    <a:moveTo>
                      <a:pt x="107589" y="0"/>
                    </a:moveTo>
                    <a:cubicBezTo>
                      <a:pt x="166799" y="0"/>
                      <a:pt x="215539" y="48103"/>
                      <a:pt x="215539" y="106977"/>
                    </a:cubicBezTo>
                    <a:cubicBezTo>
                      <a:pt x="215539" y="165850"/>
                      <a:pt x="166799" y="213953"/>
                      <a:pt x="107589" y="213953"/>
                    </a:cubicBezTo>
                    <a:cubicBezTo>
                      <a:pt x="48379" y="213953"/>
                      <a:pt x="0" y="165850"/>
                      <a:pt x="0" y="106977"/>
                    </a:cubicBezTo>
                    <a:cubicBezTo>
                      <a:pt x="0" y="48103"/>
                      <a:pt x="48379" y="0"/>
                      <a:pt x="107589" y="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grpSp>
          <p:nvGrpSpPr>
            <p:cNvPr id="724" name="Group 723">
              <a:extLst>
                <a:ext uri="{FF2B5EF4-FFF2-40B4-BE49-F238E27FC236}">
                  <a16:creationId xmlns:a16="http://schemas.microsoft.com/office/drawing/2014/main" id="{C2E63931-D4AB-B34A-A94B-7183B9534596}"/>
                </a:ext>
              </a:extLst>
            </p:cNvPr>
            <p:cNvGrpSpPr>
              <a:grpSpLocks noChangeAspect="1"/>
            </p:cNvGrpSpPr>
            <p:nvPr/>
          </p:nvGrpSpPr>
          <p:grpSpPr>
            <a:xfrm>
              <a:off x="5424452" y="1690122"/>
              <a:ext cx="804074" cy="456270"/>
              <a:chOff x="5424452" y="1690122"/>
              <a:chExt cx="804074" cy="456270"/>
            </a:xfrm>
          </p:grpSpPr>
          <p:sp>
            <p:nvSpPr>
              <p:cNvPr id="756" name="Rounded Rectangle 755">
                <a:extLst>
                  <a:ext uri="{FF2B5EF4-FFF2-40B4-BE49-F238E27FC236}">
                    <a16:creationId xmlns:a16="http://schemas.microsoft.com/office/drawing/2014/main" id="{83724F77-DAA1-7948-B06B-BEC46B593131}"/>
                  </a:ext>
                </a:extLst>
              </p:cNvPr>
              <p:cNvSpPr/>
              <p:nvPr/>
            </p:nvSpPr>
            <p:spPr>
              <a:xfrm>
                <a:off x="5507018" y="1697049"/>
                <a:ext cx="633525" cy="373531"/>
              </a:xfrm>
              <a:prstGeom prst="roundRect">
                <a:avLst>
                  <a:gd name="adj" fmla="val 3685"/>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57" name="Group 756">
                <a:extLst>
                  <a:ext uri="{FF2B5EF4-FFF2-40B4-BE49-F238E27FC236}">
                    <a16:creationId xmlns:a16="http://schemas.microsoft.com/office/drawing/2014/main" id="{E2CBB4A5-738C-F84E-AD5B-0C0D669F5815}"/>
                  </a:ext>
                </a:extLst>
              </p:cNvPr>
              <p:cNvGrpSpPr/>
              <p:nvPr/>
            </p:nvGrpSpPr>
            <p:grpSpPr>
              <a:xfrm>
                <a:off x="5424452" y="1690122"/>
                <a:ext cx="804074" cy="456270"/>
                <a:chOff x="1003422" y="3393694"/>
                <a:chExt cx="804074" cy="456270"/>
              </a:xfrm>
            </p:grpSpPr>
            <p:sp>
              <p:nvSpPr>
                <p:cNvPr id="758" name="Freeform 29">
                  <a:extLst>
                    <a:ext uri="{FF2B5EF4-FFF2-40B4-BE49-F238E27FC236}">
                      <a16:creationId xmlns:a16="http://schemas.microsoft.com/office/drawing/2014/main" id="{B5A43F22-CB54-8148-AFB0-619D809EE3C8}"/>
                    </a:ext>
                  </a:extLst>
                </p:cNvPr>
                <p:cNvSpPr>
                  <a:spLocks/>
                </p:cNvSpPr>
                <p:nvPr/>
              </p:nvSpPr>
              <p:spPr bwMode="auto">
                <a:xfrm>
                  <a:off x="1003422" y="3818132"/>
                  <a:ext cx="804074" cy="31832"/>
                </a:xfrm>
                <a:custGeom>
                  <a:avLst/>
                  <a:gdLst>
                    <a:gd name="T0" fmla="*/ 808 w 825"/>
                    <a:gd name="T1" fmla="*/ 34 h 34"/>
                    <a:gd name="T2" fmla="*/ 18 w 825"/>
                    <a:gd name="T3" fmla="*/ 34 h 34"/>
                    <a:gd name="T4" fmla="*/ 0 w 825"/>
                    <a:gd name="T5" fmla="*/ 17 h 34"/>
                    <a:gd name="T6" fmla="*/ 18 w 825"/>
                    <a:gd name="T7" fmla="*/ 0 h 34"/>
                    <a:gd name="T8" fmla="*/ 808 w 825"/>
                    <a:gd name="T9" fmla="*/ 0 h 34"/>
                    <a:gd name="T10" fmla="*/ 825 w 825"/>
                    <a:gd name="T11" fmla="*/ 17 h 34"/>
                    <a:gd name="T12" fmla="*/ 808 w 825"/>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825" h="34">
                      <a:moveTo>
                        <a:pt x="808" y="34"/>
                      </a:moveTo>
                      <a:cubicBezTo>
                        <a:pt x="18" y="34"/>
                        <a:pt x="18" y="34"/>
                        <a:pt x="18" y="34"/>
                      </a:cubicBezTo>
                      <a:cubicBezTo>
                        <a:pt x="8" y="34"/>
                        <a:pt x="0" y="26"/>
                        <a:pt x="0" y="17"/>
                      </a:cubicBezTo>
                      <a:cubicBezTo>
                        <a:pt x="0" y="8"/>
                        <a:pt x="8" y="0"/>
                        <a:pt x="18" y="0"/>
                      </a:cubicBezTo>
                      <a:cubicBezTo>
                        <a:pt x="808" y="0"/>
                        <a:pt x="808" y="0"/>
                        <a:pt x="808" y="0"/>
                      </a:cubicBezTo>
                      <a:cubicBezTo>
                        <a:pt x="817" y="0"/>
                        <a:pt x="825" y="8"/>
                        <a:pt x="825" y="17"/>
                      </a:cubicBezTo>
                      <a:cubicBezTo>
                        <a:pt x="825" y="26"/>
                        <a:pt x="817" y="34"/>
                        <a:pt x="808" y="34"/>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759" name="Freeform 30">
                  <a:extLst>
                    <a:ext uri="{FF2B5EF4-FFF2-40B4-BE49-F238E27FC236}">
                      <a16:creationId xmlns:a16="http://schemas.microsoft.com/office/drawing/2014/main" id="{6FB242EF-9834-D444-8D8C-B5C67DB0B943}"/>
                    </a:ext>
                  </a:extLst>
                </p:cNvPr>
                <p:cNvSpPr>
                  <a:spLocks noEditPoints="1"/>
                </p:cNvSpPr>
                <p:nvPr/>
              </p:nvSpPr>
              <p:spPr bwMode="auto">
                <a:xfrm>
                  <a:off x="1070625" y="3393694"/>
                  <a:ext cx="669669" cy="392604"/>
                </a:xfrm>
                <a:custGeom>
                  <a:avLst/>
                  <a:gdLst>
                    <a:gd name="T0" fmla="*/ 649 w 687"/>
                    <a:gd name="T1" fmla="*/ 37 h 412"/>
                    <a:gd name="T2" fmla="*/ 649 w 687"/>
                    <a:gd name="T3" fmla="*/ 374 h 412"/>
                    <a:gd name="T4" fmla="*/ 38 w 687"/>
                    <a:gd name="T5" fmla="*/ 374 h 412"/>
                    <a:gd name="T6" fmla="*/ 38 w 687"/>
                    <a:gd name="T7" fmla="*/ 37 h 412"/>
                    <a:gd name="T8" fmla="*/ 649 w 687"/>
                    <a:gd name="T9" fmla="*/ 37 h 412"/>
                    <a:gd name="T10" fmla="*/ 653 w 687"/>
                    <a:gd name="T11" fmla="*/ 0 h 412"/>
                    <a:gd name="T12" fmla="*/ 34 w 687"/>
                    <a:gd name="T13" fmla="*/ 0 h 412"/>
                    <a:gd name="T14" fmla="*/ 0 w 687"/>
                    <a:gd name="T15" fmla="*/ 34 h 412"/>
                    <a:gd name="T16" fmla="*/ 0 w 687"/>
                    <a:gd name="T17" fmla="*/ 378 h 412"/>
                    <a:gd name="T18" fmla="*/ 34 w 687"/>
                    <a:gd name="T19" fmla="*/ 412 h 412"/>
                    <a:gd name="T20" fmla="*/ 653 w 687"/>
                    <a:gd name="T21" fmla="*/ 412 h 412"/>
                    <a:gd name="T22" fmla="*/ 687 w 687"/>
                    <a:gd name="T23" fmla="*/ 378 h 412"/>
                    <a:gd name="T24" fmla="*/ 687 w 687"/>
                    <a:gd name="T25" fmla="*/ 34 h 412"/>
                    <a:gd name="T26" fmla="*/ 653 w 687"/>
                    <a:gd name="T27" fmla="*/ 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7" h="412">
                      <a:moveTo>
                        <a:pt x="649" y="37"/>
                      </a:moveTo>
                      <a:cubicBezTo>
                        <a:pt x="649" y="374"/>
                        <a:pt x="649" y="374"/>
                        <a:pt x="649" y="374"/>
                      </a:cubicBezTo>
                      <a:cubicBezTo>
                        <a:pt x="38" y="374"/>
                        <a:pt x="38" y="374"/>
                        <a:pt x="38" y="374"/>
                      </a:cubicBezTo>
                      <a:cubicBezTo>
                        <a:pt x="38" y="37"/>
                        <a:pt x="38" y="37"/>
                        <a:pt x="38" y="37"/>
                      </a:cubicBezTo>
                      <a:cubicBezTo>
                        <a:pt x="649" y="37"/>
                        <a:pt x="649" y="37"/>
                        <a:pt x="649" y="37"/>
                      </a:cubicBezTo>
                      <a:moveTo>
                        <a:pt x="653" y="0"/>
                      </a:moveTo>
                      <a:cubicBezTo>
                        <a:pt x="34" y="0"/>
                        <a:pt x="34" y="0"/>
                        <a:pt x="34" y="0"/>
                      </a:cubicBezTo>
                      <a:cubicBezTo>
                        <a:pt x="16" y="0"/>
                        <a:pt x="0" y="15"/>
                        <a:pt x="0" y="34"/>
                      </a:cubicBezTo>
                      <a:cubicBezTo>
                        <a:pt x="0" y="378"/>
                        <a:pt x="0" y="378"/>
                        <a:pt x="0" y="378"/>
                      </a:cubicBezTo>
                      <a:cubicBezTo>
                        <a:pt x="0" y="397"/>
                        <a:pt x="16" y="412"/>
                        <a:pt x="34" y="412"/>
                      </a:cubicBezTo>
                      <a:cubicBezTo>
                        <a:pt x="653" y="412"/>
                        <a:pt x="653" y="412"/>
                        <a:pt x="653" y="412"/>
                      </a:cubicBezTo>
                      <a:cubicBezTo>
                        <a:pt x="672" y="412"/>
                        <a:pt x="687" y="397"/>
                        <a:pt x="687" y="378"/>
                      </a:cubicBezTo>
                      <a:cubicBezTo>
                        <a:pt x="687" y="34"/>
                        <a:pt x="687" y="34"/>
                        <a:pt x="687" y="34"/>
                      </a:cubicBezTo>
                      <a:cubicBezTo>
                        <a:pt x="687" y="15"/>
                        <a:pt x="672" y="0"/>
                        <a:pt x="653" y="0"/>
                      </a:cubicBezTo>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Arial" charset="0"/>
                    <a:ea typeface="ＭＳ Ｐゴシック" charset="0"/>
                  </a:endParaRPr>
                </a:p>
              </p:txBody>
            </p:sp>
            <p:sp>
              <p:nvSpPr>
                <p:cNvPr id="760" name="Rectangle 759">
                  <a:extLst>
                    <a:ext uri="{FF2B5EF4-FFF2-40B4-BE49-F238E27FC236}">
                      <a16:creationId xmlns:a16="http://schemas.microsoft.com/office/drawing/2014/main" id="{BF3C61BD-5F71-8C4F-B7C8-183B14914600}"/>
                    </a:ext>
                  </a:extLst>
                </p:cNvPr>
                <p:cNvSpPr/>
                <p:nvPr/>
              </p:nvSpPr>
              <p:spPr>
                <a:xfrm>
                  <a:off x="1193634" y="3599847"/>
                  <a:ext cx="215169" cy="121095"/>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761" name="Rectangle 760">
                  <a:extLst>
                    <a:ext uri="{FF2B5EF4-FFF2-40B4-BE49-F238E27FC236}">
                      <a16:creationId xmlns:a16="http://schemas.microsoft.com/office/drawing/2014/main" id="{D4D57868-3E8F-AA4C-BA42-D365EE8F84E3}"/>
                    </a:ext>
                  </a:extLst>
                </p:cNvPr>
                <p:cNvSpPr/>
                <p:nvPr/>
              </p:nvSpPr>
              <p:spPr>
                <a:xfrm>
                  <a:off x="1193634" y="3465879"/>
                  <a:ext cx="215169" cy="121095"/>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762" name="Rectangle 761">
                  <a:extLst>
                    <a:ext uri="{FF2B5EF4-FFF2-40B4-BE49-F238E27FC236}">
                      <a16:creationId xmlns:a16="http://schemas.microsoft.com/office/drawing/2014/main" id="{EE866F41-84C6-B44E-A017-CDC5B668CDF0}"/>
                    </a:ext>
                  </a:extLst>
                </p:cNvPr>
                <p:cNvSpPr/>
                <p:nvPr/>
              </p:nvSpPr>
              <p:spPr>
                <a:xfrm>
                  <a:off x="1421432" y="3465879"/>
                  <a:ext cx="215169" cy="121095"/>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763" name="Rectangle 762">
                  <a:extLst>
                    <a:ext uri="{FF2B5EF4-FFF2-40B4-BE49-F238E27FC236}">
                      <a16:creationId xmlns:a16="http://schemas.microsoft.com/office/drawing/2014/main" id="{63CE275C-61D2-324A-90DA-48C1E9C71E95}"/>
                    </a:ext>
                  </a:extLst>
                </p:cNvPr>
                <p:cNvSpPr/>
                <p:nvPr/>
              </p:nvSpPr>
              <p:spPr>
                <a:xfrm>
                  <a:off x="1421432" y="3599847"/>
                  <a:ext cx="215169" cy="121095"/>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grpSp>
              <p:nvGrpSpPr>
                <p:cNvPr id="764" name="Group 144">
                  <a:extLst>
                    <a:ext uri="{FF2B5EF4-FFF2-40B4-BE49-F238E27FC236}">
                      <a16:creationId xmlns:a16="http://schemas.microsoft.com/office/drawing/2014/main" id="{A495FCCE-4E87-4941-878B-C07013C3989B}"/>
                    </a:ext>
                  </a:extLst>
                </p:cNvPr>
                <p:cNvGrpSpPr>
                  <a:grpSpLocks noChangeAspect="1"/>
                </p:cNvGrpSpPr>
                <p:nvPr/>
              </p:nvGrpSpPr>
              <p:grpSpPr bwMode="auto">
                <a:xfrm>
                  <a:off x="1291842" y="3485225"/>
                  <a:ext cx="249202" cy="210697"/>
                  <a:chOff x="1261" y="240"/>
                  <a:chExt cx="3236" cy="2736"/>
                </a:xfrm>
              </p:grpSpPr>
              <p:sp>
                <p:nvSpPr>
                  <p:cNvPr id="765" name="Freeform 145">
                    <a:extLst>
                      <a:ext uri="{FF2B5EF4-FFF2-40B4-BE49-F238E27FC236}">
                        <a16:creationId xmlns:a16="http://schemas.microsoft.com/office/drawing/2014/main" id="{564CE0EB-8FA1-254F-B8B1-DF88DBCC25EF}"/>
                      </a:ext>
                    </a:extLst>
                  </p:cNvPr>
                  <p:cNvSpPr>
                    <a:spLocks/>
                  </p:cNvSpPr>
                  <p:nvPr/>
                </p:nvSpPr>
                <p:spPr bwMode="auto">
                  <a:xfrm>
                    <a:off x="1261" y="240"/>
                    <a:ext cx="3236" cy="2736"/>
                  </a:xfrm>
                  <a:custGeom>
                    <a:avLst/>
                    <a:gdLst>
                      <a:gd name="T0" fmla="*/ 1205 w 2644"/>
                      <a:gd name="T1" fmla="*/ 90 h 2290"/>
                      <a:gd name="T2" fmla="*/ 52 w 2644"/>
                      <a:gd name="T3" fmla="*/ 2087 h 2290"/>
                      <a:gd name="T4" fmla="*/ 169 w 2644"/>
                      <a:gd name="T5" fmla="*/ 2290 h 2290"/>
                      <a:gd name="T6" fmla="*/ 2475 w 2644"/>
                      <a:gd name="T7" fmla="*/ 2290 h 2290"/>
                      <a:gd name="T8" fmla="*/ 2592 w 2644"/>
                      <a:gd name="T9" fmla="*/ 2087 h 2290"/>
                      <a:gd name="T10" fmla="*/ 1439 w 2644"/>
                      <a:gd name="T11" fmla="*/ 90 h 2290"/>
                      <a:gd name="T12" fmla="*/ 1205 w 2644"/>
                      <a:gd name="T13" fmla="*/ 90 h 2290"/>
                    </a:gdLst>
                    <a:ahLst/>
                    <a:cxnLst>
                      <a:cxn ang="0">
                        <a:pos x="T0" y="T1"/>
                      </a:cxn>
                      <a:cxn ang="0">
                        <a:pos x="T2" y="T3"/>
                      </a:cxn>
                      <a:cxn ang="0">
                        <a:pos x="T4" y="T5"/>
                      </a:cxn>
                      <a:cxn ang="0">
                        <a:pos x="T6" y="T7"/>
                      </a:cxn>
                      <a:cxn ang="0">
                        <a:pos x="T8" y="T9"/>
                      </a:cxn>
                      <a:cxn ang="0">
                        <a:pos x="T10" y="T11"/>
                      </a:cxn>
                      <a:cxn ang="0">
                        <a:pos x="T12" y="T13"/>
                      </a:cxn>
                    </a:cxnLst>
                    <a:rect l="0" t="0" r="r" b="b"/>
                    <a:pathLst>
                      <a:path w="2644" h="2290">
                        <a:moveTo>
                          <a:pt x="1205" y="90"/>
                        </a:moveTo>
                        <a:cubicBezTo>
                          <a:pt x="52" y="2087"/>
                          <a:pt x="52" y="2087"/>
                          <a:pt x="52" y="2087"/>
                        </a:cubicBezTo>
                        <a:cubicBezTo>
                          <a:pt x="0" y="2177"/>
                          <a:pt x="65" y="2290"/>
                          <a:pt x="169" y="2290"/>
                        </a:cubicBezTo>
                        <a:cubicBezTo>
                          <a:pt x="2475" y="2290"/>
                          <a:pt x="2475" y="2290"/>
                          <a:pt x="2475" y="2290"/>
                        </a:cubicBezTo>
                        <a:cubicBezTo>
                          <a:pt x="2579" y="2290"/>
                          <a:pt x="2644" y="2177"/>
                          <a:pt x="2592" y="2087"/>
                        </a:cubicBezTo>
                        <a:cubicBezTo>
                          <a:pt x="1439" y="90"/>
                          <a:pt x="1439" y="90"/>
                          <a:pt x="1439" y="90"/>
                        </a:cubicBezTo>
                        <a:cubicBezTo>
                          <a:pt x="1387" y="0"/>
                          <a:pt x="1257" y="0"/>
                          <a:pt x="1205" y="9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sp>
                <p:nvSpPr>
                  <p:cNvPr id="766" name="Oval 146">
                    <a:extLst>
                      <a:ext uri="{FF2B5EF4-FFF2-40B4-BE49-F238E27FC236}">
                        <a16:creationId xmlns:a16="http://schemas.microsoft.com/office/drawing/2014/main" id="{D28DE17B-E62B-4748-8DAE-28CC5C70E6E7}"/>
                      </a:ext>
                    </a:extLst>
                  </p:cNvPr>
                  <p:cNvSpPr>
                    <a:spLocks noChangeArrowheads="1"/>
                  </p:cNvSpPr>
                  <p:nvPr/>
                </p:nvSpPr>
                <p:spPr bwMode="auto">
                  <a:xfrm>
                    <a:off x="2696" y="2323"/>
                    <a:ext cx="367" cy="358"/>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sp>
                <p:nvSpPr>
                  <p:cNvPr id="767" name="Freeform 147">
                    <a:extLst>
                      <a:ext uri="{FF2B5EF4-FFF2-40B4-BE49-F238E27FC236}">
                        <a16:creationId xmlns:a16="http://schemas.microsoft.com/office/drawing/2014/main" id="{52260C3C-0A5C-E64C-B144-ADA88941B3E7}"/>
                      </a:ext>
                    </a:extLst>
                  </p:cNvPr>
                  <p:cNvSpPr>
                    <a:spLocks/>
                  </p:cNvSpPr>
                  <p:nvPr/>
                </p:nvSpPr>
                <p:spPr bwMode="auto">
                  <a:xfrm>
                    <a:off x="2717" y="904"/>
                    <a:ext cx="325" cy="1177"/>
                  </a:xfrm>
                  <a:custGeom>
                    <a:avLst/>
                    <a:gdLst>
                      <a:gd name="T0" fmla="*/ 133 w 266"/>
                      <a:gd name="T1" fmla="*/ 0 h 985"/>
                      <a:gd name="T2" fmla="*/ 133 w 266"/>
                      <a:gd name="T3" fmla="*/ 0 h 985"/>
                      <a:gd name="T4" fmla="*/ 0 w 266"/>
                      <a:gd name="T5" fmla="*/ 133 h 985"/>
                      <a:gd name="T6" fmla="*/ 0 w 266"/>
                      <a:gd name="T7" fmla="*/ 853 h 985"/>
                      <a:gd name="T8" fmla="*/ 133 w 266"/>
                      <a:gd name="T9" fmla="*/ 985 h 985"/>
                      <a:gd name="T10" fmla="*/ 133 w 266"/>
                      <a:gd name="T11" fmla="*/ 985 h 985"/>
                      <a:gd name="T12" fmla="*/ 266 w 266"/>
                      <a:gd name="T13" fmla="*/ 853 h 985"/>
                      <a:gd name="T14" fmla="*/ 266 w 266"/>
                      <a:gd name="T15" fmla="*/ 133 h 985"/>
                      <a:gd name="T16" fmla="*/ 133 w 266"/>
                      <a:gd name="T17"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6" h="985">
                        <a:moveTo>
                          <a:pt x="133" y="0"/>
                        </a:moveTo>
                        <a:cubicBezTo>
                          <a:pt x="133" y="0"/>
                          <a:pt x="133" y="0"/>
                          <a:pt x="133" y="0"/>
                        </a:cubicBezTo>
                        <a:cubicBezTo>
                          <a:pt x="60" y="0"/>
                          <a:pt x="0" y="59"/>
                          <a:pt x="0" y="133"/>
                        </a:cubicBezTo>
                        <a:cubicBezTo>
                          <a:pt x="0" y="853"/>
                          <a:pt x="0" y="853"/>
                          <a:pt x="0" y="853"/>
                        </a:cubicBezTo>
                        <a:cubicBezTo>
                          <a:pt x="0" y="926"/>
                          <a:pt x="60" y="985"/>
                          <a:pt x="133" y="985"/>
                        </a:cubicBezTo>
                        <a:cubicBezTo>
                          <a:pt x="133" y="985"/>
                          <a:pt x="133" y="985"/>
                          <a:pt x="133" y="985"/>
                        </a:cubicBezTo>
                        <a:cubicBezTo>
                          <a:pt x="206" y="985"/>
                          <a:pt x="266" y="926"/>
                          <a:pt x="266" y="853"/>
                        </a:cubicBezTo>
                        <a:cubicBezTo>
                          <a:pt x="266" y="133"/>
                          <a:pt x="266" y="133"/>
                          <a:pt x="266" y="133"/>
                        </a:cubicBezTo>
                        <a:cubicBezTo>
                          <a:pt x="266" y="59"/>
                          <a:pt x="206" y="0"/>
                          <a:pt x="133" y="0"/>
                        </a:cubicBez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282828"/>
                      </a:solidFill>
                      <a:latin typeface="Arial" charset="0"/>
                      <a:ea typeface="ＭＳ Ｐゴシック" charset="0"/>
                    </a:endParaRPr>
                  </a:p>
                </p:txBody>
              </p:sp>
            </p:grpSp>
          </p:grpSp>
        </p:grpSp>
        <p:sp>
          <p:nvSpPr>
            <p:cNvPr id="725" name="Text Placeholder 2">
              <a:extLst>
                <a:ext uri="{FF2B5EF4-FFF2-40B4-BE49-F238E27FC236}">
                  <a16:creationId xmlns:a16="http://schemas.microsoft.com/office/drawing/2014/main" id="{D05EF385-E42A-CB42-971F-DB7BB5DEC418}"/>
                </a:ext>
              </a:extLst>
            </p:cNvPr>
            <p:cNvSpPr txBox="1">
              <a:spLocks/>
            </p:cNvSpPr>
            <p:nvPr/>
          </p:nvSpPr>
          <p:spPr>
            <a:xfrm>
              <a:off x="6382541" y="1588746"/>
              <a:ext cx="1926155" cy="615058"/>
            </a:xfrm>
            <a:prstGeom prst="rect">
              <a:avLst/>
            </a:prstGeom>
          </p:spPr>
          <p:txBody>
            <a:bodyPr lIns="0" tIns="45710" rIns="0" bIns="45710" anchor="b"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1" indent="0" algn="ctr">
                <a:lnSpc>
                  <a:spcPct val="100000"/>
                </a:lnSpc>
                <a:spcBef>
                  <a:spcPts val="0"/>
                </a:spcBef>
                <a:spcAft>
                  <a:spcPts val="0"/>
                </a:spcAft>
                <a:buClr>
                  <a:srgbClr val="282828"/>
                </a:buClr>
                <a:buSzPct val="100000"/>
                <a:buNone/>
              </a:pPr>
              <a:r>
                <a:rPr kumimoji="0" lang="en-US" sz="1200" i="0" u="none" strike="noStrike" kern="1200" cap="none" spc="0" normalizeH="0" baseline="0" noProof="0">
                  <a:ln>
                    <a:noFill/>
                  </a:ln>
                  <a:solidFill>
                    <a:schemeClr val="tx2"/>
                  </a:solidFill>
                  <a:effectLst/>
                  <a:uLnTx/>
                  <a:uFillTx/>
                  <a:latin typeface="CiscoSansTT" panose="020B0503020201020303" pitchFamily="34" charset="0"/>
                  <a:cs typeface="CiscoSansTT" panose="020B0503020201020303" pitchFamily="34" charset="0"/>
                </a:rPr>
                <a:t>SecureX threat response </a:t>
              </a:r>
              <a:br>
                <a:rPr kumimoji="0" lang="en-US" sz="1200" i="0" u="none" strike="noStrike" kern="1200" cap="none" spc="0" normalizeH="0" baseline="0" noProof="0">
                  <a:ln>
                    <a:noFill/>
                  </a:ln>
                  <a:solidFill>
                    <a:schemeClr val="tx2"/>
                  </a:solidFill>
                  <a:effectLst/>
                  <a:uLnTx/>
                  <a:uFillTx/>
                  <a:latin typeface="CiscoSansTT" panose="020B0503020201020303" pitchFamily="34" charset="0"/>
                  <a:cs typeface="CiscoSansTT" panose="020B0503020201020303" pitchFamily="34" charset="0"/>
                </a:rPr>
              </a:br>
              <a:r>
                <a:rPr kumimoji="0" lang="en-US" sz="1200" i="0" u="none" strike="noStrike" kern="1200" cap="none" spc="0" normalizeH="0" baseline="0" noProof="0">
                  <a:ln>
                    <a:noFill/>
                  </a:ln>
                  <a:effectLst/>
                  <a:uLnTx/>
                  <a:uFillTx/>
                  <a:cs typeface="CiscoSansTT" panose="020B0503020201020303" pitchFamily="34" charset="0"/>
                </a:rPr>
                <a:t>is integrated across your security infrastructure</a:t>
              </a:r>
            </a:p>
          </p:txBody>
        </p:sp>
        <p:sp>
          <p:nvSpPr>
            <p:cNvPr id="726" name="Rectangular Callout 725">
              <a:extLst>
                <a:ext uri="{FF2B5EF4-FFF2-40B4-BE49-F238E27FC236}">
                  <a16:creationId xmlns:a16="http://schemas.microsoft.com/office/drawing/2014/main" id="{780264BF-1CE1-194D-9A34-451F2A8593B9}"/>
                </a:ext>
              </a:extLst>
            </p:cNvPr>
            <p:cNvSpPr>
              <a:spLocks noChangeAspect="1"/>
            </p:cNvSpPr>
            <p:nvPr/>
          </p:nvSpPr>
          <p:spPr>
            <a:xfrm>
              <a:off x="5225119" y="2369764"/>
              <a:ext cx="2909363" cy="1488729"/>
            </a:xfrm>
            <a:prstGeom prst="wedgeRectCallout">
              <a:avLst>
                <a:gd name="adj1" fmla="val -22762"/>
                <a:gd name="adj2" fmla="val -77216"/>
              </a:avLst>
            </a:prstGeom>
            <a:solidFill>
              <a:schemeClr val="bg1"/>
            </a:solidFill>
            <a:ln>
              <a:gradFill>
                <a:gsLst>
                  <a:gs pos="0">
                    <a:schemeClr val="accent1">
                      <a:lumMod val="5000"/>
                      <a:lumOff val="95000"/>
                      <a:alpha val="50000"/>
                    </a:schemeClr>
                  </a:gs>
                  <a:gs pos="18000">
                    <a:schemeClr val="tx2"/>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27" name="Group 726">
              <a:extLst>
                <a:ext uri="{FF2B5EF4-FFF2-40B4-BE49-F238E27FC236}">
                  <a16:creationId xmlns:a16="http://schemas.microsoft.com/office/drawing/2014/main" id="{F4D4A3C8-1D5C-E444-A831-8F0B7BE30C4B}"/>
                </a:ext>
              </a:extLst>
            </p:cNvPr>
            <p:cNvGrpSpPr>
              <a:grpSpLocks noChangeAspect="1"/>
            </p:cNvGrpSpPr>
            <p:nvPr/>
          </p:nvGrpSpPr>
          <p:grpSpPr>
            <a:xfrm>
              <a:off x="5238726" y="2477030"/>
              <a:ext cx="2856124" cy="1326016"/>
              <a:chOff x="2670908" y="3180226"/>
              <a:chExt cx="3399472" cy="1578276"/>
            </a:xfrm>
          </p:grpSpPr>
          <p:pic>
            <p:nvPicPr>
              <p:cNvPr id="736" name="Picture 735" descr="A close up of graphics&#10;&#10;Description automatically generated">
                <a:extLst>
                  <a:ext uri="{FF2B5EF4-FFF2-40B4-BE49-F238E27FC236}">
                    <a16:creationId xmlns:a16="http://schemas.microsoft.com/office/drawing/2014/main" id="{52DBEEB3-BCC5-2A44-95C9-EEDC384236FC}"/>
                  </a:ext>
                </a:extLst>
              </p:cNvPr>
              <p:cNvPicPr>
                <a:picLocks noChangeAspect="1"/>
              </p:cNvPicPr>
              <p:nvPr/>
            </p:nvPicPr>
            <p:blipFill>
              <a:blip r:embed="rId14">
                <a:duotone>
                  <a:prstClr val="black"/>
                  <a:srgbClr val="7030A0">
                    <a:tint val="45000"/>
                    <a:satMod val="400000"/>
                  </a:srgbClr>
                </a:duotone>
                <a:extLst>
                  <a:ext uri="{28A0092B-C50C-407E-A947-70E740481C1C}">
                    <a14:useLocalDpi xmlns:a14="http://schemas.microsoft.com/office/drawing/2010/main" val="0"/>
                  </a:ext>
                </a:extLst>
              </a:blip>
              <a:stretch>
                <a:fillRect/>
              </a:stretch>
            </p:blipFill>
            <p:spPr>
              <a:xfrm>
                <a:off x="2987625" y="4038624"/>
                <a:ext cx="304800" cy="266700"/>
              </a:xfrm>
              <a:prstGeom prst="rect">
                <a:avLst/>
              </a:prstGeom>
            </p:spPr>
          </p:pic>
          <p:pic>
            <p:nvPicPr>
              <p:cNvPr id="737" name="Picture 736" descr="A close up of a logo&#10;&#10;Description automatically generated">
                <a:extLst>
                  <a:ext uri="{FF2B5EF4-FFF2-40B4-BE49-F238E27FC236}">
                    <a16:creationId xmlns:a16="http://schemas.microsoft.com/office/drawing/2014/main" id="{A99ABA1C-197F-FF49-9478-13066F377F1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49925" y="4332629"/>
                <a:ext cx="279400" cy="304800"/>
              </a:xfrm>
              <a:prstGeom prst="rect">
                <a:avLst/>
              </a:prstGeom>
            </p:spPr>
          </p:pic>
          <p:pic>
            <p:nvPicPr>
              <p:cNvPr id="738" name="Picture 737" descr="A picture containing drawing, window&#10;&#10;Description automatically generated">
                <a:extLst>
                  <a:ext uri="{FF2B5EF4-FFF2-40B4-BE49-F238E27FC236}">
                    <a16:creationId xmlns:a16="http://schemas.microsoft.com/office/drawing/2014/main" id="{C21ED1F2-2ACB-594A-859C-8066C41F15A9}"/>
                  </a:ext>
                </a:extLst>
              </p:cNvPr>
              <p:cNvPicPr>
                <a:picLocks noChangeAspect="1"/>
              </p:cNvPicPr>
              <p:nvPr/>
            </p:nvPicPr>
            <p:blipFill>
              <a:blip r:embed="rId16">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225121" y="3254320"/>
                <a:ext cx="304800" cy="304800"/>
              </a:xfrm>
              <a:prstGeom prst="rect">
                <a:avLst/>
              </a:prstGeom>
            </p:spPr>
          </p:pic>
          <p:pic>
            <p:nvPicPr>
              <p:cNvPr id="739" name="Picture 738" descr="A picture containing drawing&#10;&#10;Description automatically generated">
                <a:extLst>
                  <a:ext uri="{FF2B5EF4-FFF2-40B4-BE49-F238E27FC236}">
                    <a16:creationId xmlns:a16="http://schemas.microsoft.com/office/drawing/2014/main" id="{79111B8C-09CE-BE46-AA44-A0B56FAC6B23}"/>
                  </a:ext>
                </a:extLst>
              </p:cNvPr>
              <p:cNvPicPr>
                <a:picLocks noChangeAspect="1"/>
              </p:cNvPicPr>
              <p:nvPr/>
            </p:nvPicPr>
            <p:blipFill>
              <a:blip r:embed="rId17">
                <a:biLevel thresh="75000"/>
                <a:extLst>
                  <a:ext uri="{28A0092B-C50C-407E-A947-70E740481C1C}">
                    <a14:useLocalDpi xmlns:a14="http://schemas.microsoft.com/office/drawing/2010/main" val="0"/>
                  </a:ext>
                </a:extLst>
              </a:blip>
              <a:stretch>
                <a:fillRect/>
              </a:stretch>
            </p:blipFill>
            <p:spPr>
              <a:xfrm>
                <a:off x="3014974" y="3180226"/>
                <a:ext cx="277109" cy="277109"/>
              </a:xfrm>
              <a:prstGeom prst="rect">
                <a:avLst/>
              </a:prstGeom>
            </p:spPr>
          </p:pic>
          <p:pic>
            <p:nvPicPr>
              <p:cNvPr id="740" name="Picture 739">
                <a:extLst>
                  <a:ext uri="{FF2B5EF4-FFF2-40B4-BE49-F238E27FC236}">
                    <a16:creationId xmlns:a16="http://schemas.microsoft.com/office/drawing/2014/main" id="{A06F0E90-4055-E848-8EB3-A7E3BC163E24}"/>
                  </a:ext>
                </a:extLst>
              </p:cNvPr>
              <p:cNvPicPr>
                <a:picLocks noChangeAspect="1"/>
              </p:cNvPicPr>
              <p:nvPr/>
            </p:nvPicPr>
            <p:blipFill>
              <a:blip r:embed="rId18"/>
              <a:stretch>
                <a:fillRect/>
              </a:stretch>
            </p:blipFill>
            <p:spPr>
              <a:xfrm>
                <a:off x="3781300" y="3530371"/>
                <a:ext cx="286915" cy="286915"/>
              </a:xfrm>
              <a:prstGeom prst="rect">
                <a:avLst/>
              </a:prstGeom>
            </p:spPr>
          </p:pic>
          <p:pic>
            <p:nvPicPr>
              <p:cNvPr id="741" name="Picture 740">
                <a:extLst>
                  <a:ext uri="{FF2B5EF4-FFF2-40B4-BE49-F238E27FC236}">
                    <a16:creationId xmlns:a16="http://schemas.microsoft.com/office/drawing/2014/main" id="{BDAF7A86-893A-7145-90F2-A54ED399EBB9}"/>
                  </a:ext>
                </a:extLst>
              </p:cNvPr>
              <p:cNvPicPr>
                <a:picLocks noChangeAspect="1"/>
              </p:cNvPicPr>
              <p:nvPr/>
            </p:nvPicPr>
            <p:blipFill>
              <a:blip r:embed="rId19"/>
              <a:stretch>
                <a:fillRect/>
              </a:stretch>
            </p:blipFill>
            <p:spPr>
              <a:xfrm>
                <a:off x="5629458" y="3988648"/>
                <a:ext cx="310402" cy="310402"/>
              </a:xfrm>
              <a:prstGeom prst="rect">
                <a:avLst/>
              </a:prstGeom>
            </p:spPr>
          </p:pic>
          <p:cxnSp>
            <p:nvCxnSpPr>
              <p:cNvPr id="742" name="Straight Connector 741">
                <a:extLst>
                  <a:ext uri="{FF2B5EF4-FFF2-40B4-BE49-F238E27FC236}">
                    <a16:creationId xmlns:a16="http://schemas.microsoft.com/office/drawing/2014/main" id="{0180C3F0-B007-AC49-AB47-4271948D6318}"/>
                  </a:ext>
                </a:extLst>
              </p:cNvPr>
              <p:cNvCxnSpPr>
                <a:cxnSpLocks/>
              </p:cNvCxnSpPr>
              <p:nvPr/>
            </p:nvCxnSpPr>
            <p:spPr>
              <a:xfrm flipV="1">
                <a:off x="4690947" y="4169753"/>
                <a:ext cx="930657" cy="359269"/>
              </a:xfrm>
              <a:prstGeom prst="line">
                <a:avLst/>
              </a:prstGeom>
            </p:spPr>
            <p:style>
              <a:lnRef idx="1">
                <a:schemeClr val="accent1"/>
              </a:lnRef>
              <a:fillRef idx="0">
                <a:schemeClr val="accent1"/>
              </a:fillRef>
              <a:effectRef idx="0">
                <a:schemeClr val="accent1"/>
              </a:effectRef>
              <a:fontRef idx="minor">
                <a:schemeClr val="tx1"/>
              </a:fontRef>
            </p:style>
          </p:cxnSp>
          <p:cxnSp>
            <p:nvCxnSpPr>
              <p:cNvPr id="743" name="Straight Connector 742">
                <a:extLst>
                  <a:ext uri="{FF2B5EF4-FFF2-40B4-BE49-F238E27FC236}">
                    <a16:creationId xmlns:a16="http://schemas.microsoft.com/office/drawing/2014/main" id="{B6B7C06A-9F7F-8944-98FF-76BACC8566ED}"/>
                  </a:ext>
                </a:extLst>
              </p:cNvPr>
              <p:cNvCxnSpPr>
                <a:cxnSpLocks/>
              </p:cNvCxnSpPr>
              <p:nvPr/>
            </p:nvCxnSpPr>
            <p:spPr>
              <a:xfrm>
                <a:off x="3372297" y="4238890"/>
                <a:ext cx="916006" cy="206651"/>
              </a:xfrm>
              <a:prstGeom prst="line">
                <a:avLst/>
              </a:prstGeom>
            </p:spPr>
            <p:style>
              <a:lnRef idx="1">
                <a:schemeClr val="accent1"/>
              </a:lnRef>
              <a:fillRef idx="0">
                <a:schemeClr val="accent1"/>
              </a:fillRef>
              <a:effectRef idx="0">
                <a:schemeClr val="accent1"/>
              </a:effectRef>
              <a:fontRef idx="minor">
                <a:schemeClr val="tx1"/>
              </a:fontRef>
            </p:style>
          </p:cxnSp>
          <p:cxnSp>
            <p:nvCxnSpPr>
              <p:cNvPr id="744" name="Straight Connector 743">
                <a:extLst>
                  <a:ext uri="{FF2B5EF4-FFF2-40B4-BE49-F238E27FC236}">
                    <a16:creationId xmlns:a16="http://schemas.microsoft.com/office/drawing/2014/main" id="{FBB385BC-28BA-9E49-949D-7F4FE2CF303E}"/>
                  </a:ext>
                </a:extLst>
              </p:cNvPr>
              <p:cNvCxnSpPr>
                <a:cxnSpLocks/>
              </p:cNvCxnSpPr>
              <p:nvPr/>
            </p:nvCxnSpPr>
            <p:spPr>
              <a:xfrm flipH="1" flipV="1">
                <a:off x="4047960" y="3960601"/>
                <a:ext cx="240343" cy="30193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5" name="Straight Connector 744">
                <a:extLst>
                  <a:ext uri="{FF2B5EF4-FFF2-40B4-BE49-F238E27FC236}">
                    <a16:creationId xmlns:a16="http://schemas.microsoft.com/office/drawing/2014/main" id="{9C436670-F4BF-5243-A1CC-D8F90FD92D78}"/>
                  </a:ext>
                </a:extLst>
              </p:cNvPr>
              <p:cNvCxnSpPr>
                <a:cxnSpLocks/>
              </p:cNvCxnSpPr>
              <p:nvPr/>
            </p:nvCxnSpPr>
            <p:spPr>
              <a:xfrm flipV="1">
                <a:off x="4737545" y="3708877"/>
                <a:ext cx="334818" cy="421605"/>
              </a:xfrm>
              <a:prstGeom prst="line">
                <a:avLst/>
              </a:prstGeom>
            </p:spPr>
            <p:style>
              <a:lnRef idx="1">
                <a:schemeClr val="accent1"/>
              </a:lnRef>
              <a:fillRef idx="0">
                <a:schemeClr val="accent1"/>
              </a:fillRef>
              <a:effectRef idx="0">
                <a:schemeClr val="accent1"/>
              </a:effectRef>
              <a:fontRef idx="minor">
                <a:schemeClr val="tx1"/>
              </a:fontRef>
            </p:style>
          </p:cxnSp>
          <p:cxnSp>
            <p:nvCxnSpPr>
              <p:cNvPr id="746" name="Straight Connector 745">
                <a:extLst>
                  <a:ext uri="{FF2B5EF4-FFF2-40B4-BE49-F238E27FC236}">
                    <a16:creationId xmlns:a16="http://schemas.microsoft.com/office/drawing/2014/main" id="{6B979968-F2E0-C649-ADB2-2F7BE185F21F}"/>
                  </a:ext>
                </a:extLst>
              </p:cNvPr>
              <p:cNvCxnSpPr>
                <a:cxnSpLocks/>
              </p:cNvCxnSpPr>
              <p:nvPr/>
            </p:nvCxnSpPr>
            <p:spPr>
              <a:xfrm flipH="1" flipV="1">
                <a:off x="3351392" y="3431356"/>
                <a:ext cx="319516" cy="188651"/>
              </a:xfrm>
              <a:prstGeom prst="line">
                <a:avLst/>
              </a:prstGeom>
            </p:spPr>
            <p:style>
              <a:lnRef idx="1">
                <a:schemeClr val="accent1"/>
              </a:lnRef>
              <a:fillRef idx="0">
                <a:schemeClr val="accent1"/>
              </a:fillRef>
              <a:effectRef idx="0">
                <a:schemeClr val="accent1"/>
              </a:effectRef>
              <a:fontRef idx="minor">
                <a:schemeClr val="tx1"/>
              </a:fontRef>
            </p:style>
          </p:cxnSp>
          <p:cxnSp>
            <p:nvCxnSpPr>
              <p:cNvPr id="747" name="Straight Connector 746">
                <a:extLst>
                  <a:ext uri="{FF2B5EF4-FFF2-40B4-BE49-F238E27FC236}">
                    <a16:creationId xmlns:a16="http://schemas.microsoft.com/office/drawing/2014/main" id="{D03FEE29-3AD3-1845-A8F6-2D270B3FBA77}"/>
                  </a:ext>
                </a:extLst>
              </p:cNvPr>
              <p:cNvCxnSpPr>
                <a:cxnSpLocks/>
              </p:cNvCxnSpPr>
              <p:nvPr/>
            </p:nvCxnSpPr>
            <p:spPr>
              <a:xfrm flipV="1">
                <a:off x="4171279" y="3469680"/>
                <a:ext cx="852988" cy="181649"/>
              </a:xfrm>
              <a:prstGeom prst="line">
                <a:avLst/>
              </a:prstGeom>
            </p:spPr>
            <p:style>
              <a:lnRef idx="1">
                <a:schemeClr val="accent1"/>
              </a:lnRef>
              <a:fillRef idx="0">
                <a:schemeClr val="accent1"/>
              </a:fillRef>
              <a:effectRef idx="0">
                <a:schemeClr val="accent1"/>
              </a:effectRef>
              <a:fontRef idx="minor">
                <a:schemeClr val="tx1"/>
              </a:fontRef>
            </p:style>
          </p:cxnSp>
          <p:sp>
            <p:nvSpPr>
              <p:cNvPr id="748" name="Rectangle 747">
                <a:extLst>
                  <a:ext uri="{FF2B5EF4-FFF2-40B4-BE49-F238E27FC236}">
                    <a16:creationId xmlns:a16="http://schemas.microsoft.com/office/drawing/2014/main" id="{AC415261-D423-9E42-A044-1C6FC2857AFE}"/>
                  </a:ext>
                </a:extLst>
              </p:cNvPr>
              <p:cNvSpPr/>
              <p:nvPr/>
            </p:nvSpPr>
            <p:spPr>
              <a:xfrm>
                <a:off x="4965938" y="3579182"/>
                <a:ext cx="852989" cy="34067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Malicious domain</a:t>
                </a:r>
              </a:p>
            </p:txBody>
          </p:sp>
          <p:sp>
            <p:nvSpPr>
              <p:cNvPr id="749" name="Rectangle 748">
                <a:extLst>
                  <a:ext uri="{FF2B5EF4-FFF2-40B4-BE49-F238E27FC236}">
                    <a16:creationId xmlns:a16="http://schemas.microsoft.com/office/drawing/2014/main" id="{3723E97D-78D2-464A-9797-0FD58BD561A9}"/>
                  </a:ext>
                </a:extLst>
              </p:cNvPr>
              <p:cNvSpPr/>
              <p:nvPr/>
            </p:nvSpPr>
            <p:spPr>
              <a:xfrm>
                <a:off x="5497043" y="4335198"/>
                <a:ext cx="573337" cy="3592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SHA-</a:t>
                </a:r>
                <a:br>
                  <a:rPr lang="en-US" sz="800">
                    <a:solidFill>
                      <a:schemeClr val="tx1"/>
                    </a:solidFill>
                  </a:rPr>
                </a:br>
                <a:r>
                  <a:rPr lang="en-US" sz="800">
                    <a:solidFill>
                      <a:schemeClr val="tx1"/>
                    </a:solidFill>
                  </a:rPr>
                  <a:t>256</a:t>
                </a:r>
              </a:p>
            </p:txBody>
          </p:sp>
          <p:sp>
            <p:nvSpPr>
              <p:cNvPr id="750" name="Rectangle 749">
                <a:extLst>
                  <a:ext uri="{FF2B5EF4-FFF2-40B4-BE49-F238E27FC236}">
                    <a16:creationId xmlns:a16="http://schemas.microsoft.com/office/drawing/2014/main" id="{8721DBEF-CA15-3C44-BE15-5F3922DE4E72}"/>
                  </a:ext>
                </a:extLst>
              </p:cNvPr>
              <p:cNvSpPr/>
              <p:nvPr/>
            </p:nvSpPr>
            <p:spPr>
              <a:xfrm>
                <a:off x="4320216" y="4126981"/>
                <a:ext cx="352798" cy="16614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P</a:t>
                </a:r>
              </a:p>
            </p:txBody>
          </p:sp>
          <p:sp>
            <p:nvSpPr>
              <p:cNvPr id="751" name="Rectangle 750">
                <a:extLst>
                  <a:ext uri="{FF2B5EF4-FFF2-40B4-BE49-F238E27FC236}">
                    <a16:creationId xmlns:a16="http://schemas.microsoft.com/office/drawing/2014/main" id="{216FB02B-DA49-6343-961F-A63B373EF321}"/>
                  </a:ext>
                </a:extLst>
              </p:cNvPr>
              <p:cNvSpPr/>
              <p:nvPr/>
            </p:nvSpPr>
            <p:spPr>
              <a:xfrm>
                <a:off x="2670908" y="4412273"/>
                <a:ext cx="933594" cy="34622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Target endpoint</a:t>
                </a:r>
              </a:p>
            </p:txBody>
          </p:sp>
          <p:sp>
            <p:nvSpPr>
              <p:cNvPr id="752" name="Rectangle 751">
                <a:extLst>
                  <a:ext uri="{FF2B5EF4-FFF2-40B4-BE49-F238E27FC236}">
                    <a16:creationId xmlns:a16="http://schemas.microsoft.com/office/drawing/2014/main" id="{44E34355-7082-9247-B806-CF2397A38B06}"/>
                  </a:ext>
                </a:extLst>
              </p:cNvPr>
              <p:cNvSpPr/>
              <p:nvPr/>
            </p:nvSpPr>
            <p:spPr>
              <a:xfrm>
                <a:off x="3534035" y="3700509"/>
                <a:ext cx="800813" cy="35380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Subject</a:t>
                </a:r>
              </a:p>
            </p:txBody>
          </p:sp>
          <p:sp>
            <p:nvSpPr>
              <p:cNvPr id="753" name="Rectangle 752">
                <a:extLst>
                  <a:ext uri="{FF2B5EF4-FFF2-40B4-BE49-F238E27FC236}">
                    <a16:creationId xmlns:a16="http://schemas.microsoft.com/office/drawing/2014/main" id="{DE4FBF5E-756A-6745-A627-D9076A0B0B50}"/>
                  </a:ext>
                </a:extLst>
              </p:cNvPr>
              <p:cNvSpPr/>
              <p:nvPr/>
            </p:nvSpPr>
            <p:spPr>
              <a:xfrm>
                <a:off x="2848748" y="3490657"/>
                <a:ext cx="614658" cy="15866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mail</a:t>
                </a:r>
              </a:p>
            </p:txBody>
          </p:sp>
          <p:pic>
            <p:nvPicPr>
              <p:cNvPr id="754" name="Picture 753">
                <a:extLst>
                  <a:ext uri="{FF2B5EF4-FFF2-40B4-BE49-F238E27FC236}">
                    <a16:creationId xmlns:a16="http://schemas.microsoft.com/office/drawing/2014/main" id="{4A750BB3-0AAB-0C45-98A7-675C6825D456}"/>
                  </a:ext>
                </a:extLst>
              </p:cNvPr>
              <p:cNvPicPr>
                <a:picLocks noChangeAspect="1"/>
              </p:cNvPicPr>
              <p:nvPr/>
            </p:nvPicPr>
            <p:blipFill>
              <a:blip r:embed="rId20">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558238" y="4211903"/>
                <a:ext cx="181650" cy="181650"/>
              </a:xfrm>
              <a:prstGeom prst="rect">
                <a:avLst/>
              </a:prstGeom>
              <a:ln>
                <a:noFill/>
              </a:ln>
            </p:spPr>
          </p:pic>
          <p:sp>
            <p:nvSpPr>
              <p:cNvPr id="755" name="Oval 754">
                <a:extLst>
                  <a:ext uri="{FF2B5EF4-FFF2-40B4-BE49-F238E27FC236}">
                    <a16:creationId xmlns:a16="http://schemas.microsoft.com/office/drawing/2014/main" id="{269CAA35-8621-5347-97CF-976723A1E2FD}"/>
                  </a:ext>
                </a:extLst>
              </p:cNvPr>
              <p:cNvSpPr>
                <a:spLocks noChangeAspect="1"/>
              </p:cNvSpPr>
              <p:nvPr/>
            </p:nvSpPr>
            <p:spPr>
              <a:xfrm>
                <a:off x="2914555" y="3941082"/>
                <a:ext cx="439365" cy="440840"/>
              </a:xfrm>
              <a:prstGeom prst="ellipse">
                <a:avLst/>
              </a:prstGeom>
              <a:noFill/>
              <a:ln>
                <a:solidFill>
                  <a:srgbClr val="7030A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28" name="Group 727">
              <a:extLst>
                <a:ext uri="{FF2B5EF4-FFF2-40B4-BE49-F238E27FC236}">
                  <a16:creationId xmlns:a16="http://schemas.microsoft.com/office/drawing/2014/main" id="{E3EFEC8C-FCAE-D442-90C4-3991E800754C}"/>
                </a:ext>
              </a:extLst>
            </p:cNvPr>
            <p:cNvGrpSpPr>
              <a:grpSpLocks noChangeAspect="1"/>
            </p:cNvGrpSpPr>
            <p:nvPr/>
          </p:nvGrpSpPr>
          <p:grpSpPr>
            <a:xfrm>
              <a:off x="5850299" y="1936252"/>
              <a:ext cx="364077" cy="211715"/>
              <a:chOff x="2411784" y="981846"/>
              <a:chExt cx="1644740" cy="956436"/>
            </a:xfrm>
          </p:grpSpPr>
          <p:sp>
            <p:nvSpPr>
              <p:cNvPr id="734" name="Oval 3">
                <a:extLst>
                  <a:ext uri="{FF2B5EF4-FFF2-40B4-BE49-F238E27FC236}">
                    <a16:creationId xmlns:a16="http://schemas.microsoft.com/office/drawing/2014/main" id="{6031B730-9284-6E49-A51D-B2B463ECF422}"/>
                  </a:ext>
                </a:extLst>
              </p:cNvPr>
              <p:cNvSpPr/>
              <p:nvPr/>
            </p:nvSpPr>
            <p:spPr>
              <a:xfrm>
                <a:off x="2411784" y="981846"/>
                <a:ext cx="1640900" cy="953174"/>
              </a:xfrm>
              <a:custGeom>
                <a:avLst/>
                <a:gdLst>
                  <a:gd name="connsiteX0" fmla="*/ 0 w 1640899"/>
                  <a:gd name="connsiteY0" fmla="*/ 476587 h 953173"/>
                  <a:gd name="connsiteX1" fmla="*/ 820450 w 1640899"/>
                  <a:gd name="connsiteY1" fmla="*/ 0 h 953173"/>
                  <a:gd name="connsiteX2" fmla="*/ 1640900 w 1640899"/>
                  <a:gd name="connsiteY2" fmla="*/ 476587 h 953173"/>
                  <a:gd name="connsiteX3" fmla="*/ 820450 w 1640899"/>
                  <a:gd name="connsiteY3" fmla="*/ 953174 h 953173"/>
                  <a:gd name="connsiteX4" fmla="*/ 0 w 1640899"/>
                  <a:gd name="connsiteY4" fmla="*/ 476587 h 953173"/>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35451 w 1676351"/>
                  <a:gd name="connsiteY0" fmla="*/ 476587 h 953174"/>
                  <a:gd name="connsiteX1" fmla="*/ 855901 w 1676351"/>
                  <a:gd name="connsiteY1" fmla="*/ 0 h 953174"/>
                  <a:gd name="connsiteX2" fmla="*/ 1676351 w 1676351"/>
                  <a:gd name="connsiteY2" fmla="*/ 476587 h 953174"/>
                  <a:gd name="connsiteX3" fmla="*/ 855901 w 1676351"/>
                  <a:gd name="connsiteY3" fmla="*/ 953174 h 953174"/>
                  <a:gd name="connsiteX4" fmla="*/ 35451 w 1676351"/>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00" h="953174">
                    <a:moveTo>
                      <a:pt x="0" y="476587"/>
                    </a:moveTo>
                    <a:cubicBezTo>
                      <a:pt x="149225" y="314975"/>
                      <a:pt x="373678" y="66675"/>
                      <a:pt x="820450" y="0"/>
                    </a:cubicBezTo>
                    <a:cubicBezTo>
                      <a:pt x="1257697" y="66675"/>
                      <a:pt x="1409125" y="203850"/>
                      <a:pt x="1640900" y="476587"/>
                    </a:cubicBezTo>
                    <a:cubicBezTo>
                      <a:pt x="1491675" y="650899"/>
                      <a:pt x="1264047" y="921424"/>
                      <a:pt x="820450" y="953174"/>
                    </a:cubicBezTo>
                    <a:cubicBezTo>
                      <a:pt x="348278" y="905549"/>
                      <a:pt x="152400" y="641374"/>
                      <a:pt x="0" y="47658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5" name="Freeform 734">
                <a:extLst>
                  <a:ext uri="{FF2B5EF4-FFF2-40B4-BE49-F238E27FC236}">
                    <a16:creationId xmlns:a16="http://schemas.microsoft.com/office/drawing/2014/main" id="{1EA790B7-86D7-3A49-8006-9DA6FAE6A8D1}"/>
                  </a:ext>
                </a:extLst>
              </p:cNvPr>
              <p:cNvSpPr>
                <a:spLocks noChangeArrowheads="1"/>
              </p:cNvSpPr>
              <p:nvPr/>
            </p:nvSpPr>
            <p:spPr bwMode="auto">
              <a:xfrm>
                <a:off x="2415625" y="985109"/>
                <a:ext cx="1640899" cy="953173"/>
              </a:xfrm>
              <a:custGeom>
                <a:avLst/>
                <a:gdLst>
                  <a:gd name="T0" fmla="*/ 107998 w 215087"/>
                  <a:gd name="T1" fmla="*/ 39802 h 125054"/>
                  <a:gd name="T2" fmla="*/ 130128 w 215087"/>
                  <a:gd name="T3" fmla="*/ 61912 h 125054"/>
                  <a:gd name="T4" fmla="*/ 107998 w 215087"/>
                  <a:gd name="T5" fmla="*/ 84023 h 125054"/>
                  <a:gd name="T6" fmla="*/ 85867 w 215087"/>
                  <a:gd name="T7" fmla="*/ 61912 h 125054"/>
                  <a:gd name="T8" fmla="*/ 90150 w 215087"/>
                  <a:gd name="T9" fmla="*/ 57633 h 125054"/>
                  <a:gd name="T10" fmla="*/ 94791 w 215087"/>
                  <a:gd name="T11" fmla="*/ 61912 h 125054"/>
                  <a:gd name="T12" fmla="*/ 107998 w 215087"/>
                  <a:gd name="T13" fmla="*/ 75107 h 125054"/>
                  <a:gd name="T14" fmla="*/ 121562 w 215087"/>
                  <a:gd name="T15" fmla="*/ 61912 h 125054"/>
                  <a:gd name="T16" fmla="*/ 107998 w 215087"/>
                  <a:gd name="T17" fmla="*/ 48717 h 125054"/>
                  <a:gd name="T18" fmla="*/ 103715 w 215087"/>
                  <a:gd name="T19" fmla="*/ 44081 h 125054"/>
                  <a:gd name="T20" fmla="*/ 107998 w 215087"/>
                  <a:gd name="T21" fmla="*/ 39802 h 125054"/>
                  <a:gd name="T22" fmla="*/ 107200 w 215087"/>
                  <a:gd name="T23" fmla="*/ 31311 h 125054"/>
                  <a:gd name="T24" fmla="*/ 75775 w 215087"/>
                  <a:gd name="T25" fmla="*/ 62707 h 125054"/>
                  <a:gd name="T26" fmla="*/ 107200 w 215087"/>
                  <a:gd name="T27" fmla="*/ 94101 h 125054"/>
                  <a:gd name="T28" fmla="*/ 138623 w 215087"/>
                  <a:gd name="T29" fmla="*/ 62707 h 125054"/>
                  <a:gd name="T30" fmla="*/ 107200 w 215087"/>
                  <a:gd name="T31" fmla="*/ 31311 h 125054"/>
                  <a:gd name="T32" fmla="*/ 107200 w 215087"/>
                  <a:gd name="T33" fmla="*/ 22289 h 125054"/>
                  <a:gd name="T34" fmla="*/ 147653 w 215087"/>
                  <a:gd name="T35" fmla="*/ 62707 h 125054"/>
                  <a:gd name="T36" fmla="*/ 107200 w 215087"/>
                  <a:gd name="T37" fmla="*/ 103123 h 125054"/>
                  <a:gd name="T38" fmla="*/ 66745 w 215087"/>
                  <a:gd name="T39" fmla="*/ 62707 h 125054"/>
                  <a:gd name="T40" fmla="*/ 107200 w 215087"/>
                  <a:gd name="T41" fmla="*/ 22289 h 125054"/>
                  <a:gd name="T42" fmla="*/ 107814 w 215087"/>
                  <a:gd name="T43" fmla="*/ 9010 h 125054"/>
                  <a:gd name="T44" fmla="*/ 10690 w 215087"/>
                  <a:gd name="T45" fmla="*/ 62707 h 125054"/>
                  <a:gd name="T46" fmla="*/ 107814 w 215087"/>
                  <a:gd name="T47" fmla="*/ 116403 h 125054"/>
                  <a:gd name="T48" fmla="*/ 205300 w 215087"/>
                  <a:gd name="T49" fmla="*/ 62707 h 125054"/>
                  <a:gd name="T50" fmla="*/ 107814 w 215087"/>
                  <a:gd name="T51" fmla="*/ 9010 h 125054"/>
                  <a:gd name="T52" fmla="*/ 107814 w 215087"/>
                  <a:gd name="T53" fmla="*/ 0 h 125054"/>
                  <a:gd name="T54" fmla="*/ 215085 w 215087"/>
                  <a:gd name="T55" fmla="*/ 60183 h 125054"/>
                  <a:gd name="T56" fmla="*/ 215085 w 215087"/>
                  <a:gd name="T57" fmla="*/ 65229 h 125054"/>
                  <a:gd name="T58" fmla="*/ 107814 w 215087"/>
                  <a:gd name="T59" fmla="*/ 125413 h 125054"/>
                  <a:gd name="T60" fmla="*/ 543 w 215087"/>
                  <a:gd name="T61" fmla="*/ 65229 h 125054"/>
                  <a:gd name="T62" fmla="*/ 543 w 215087"/>
                  <a:gd name="T63" fmla="*/ 60183 h 125054"/>
                  <a:gd name="T64" fmla="*/ 107814 w 215087"/>
                  <a:gd name="T65" fmla="*/ 0 h 1250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5087" h="125054">
                    <a:moveTo>
                      <a:pt x="107591" y="39688"/>
                    </a:moveTo>
                    <a:cubicBezTo>
                      <a:pt x="120037" y="39688"/>
                      <a:pt x="129638" y="49289"/>
                      <a:pt x="129638" y="61735"/>
                    </a:cubicBezTo>
                    <a:cubicBezTo>
                      <a:pt x="129638" y="74181"/>
                      <a:pt x="120037" y="83782"/>
                      <a:pt x="107591" y="83782"/>
                    </a:cubicBezTo>
                    <a:cubicBezTo>
                      <a:pt x="95145" y="83782"/>
                      <a:pt x="85544" y="74181"/>
                      <a:pt x="85544" y="61735"/>
                    </a:cubicBezTo>
                    <a:cubicBezTo>
                      <a:pt x="85544" y="59246"/>
                      <a:pt x="86966" y="57468"/>
                      <a:pt x="89811" y="57468"/>
                    </a:cubicBezTo>
                    <a:cubicBezTo>
                      <a:pt x="92300" y="57468"/>
                      <a:pt x="94434" y="59246"/>
                      <a:pt x="94434" y="61735"/>
                    </a:cubicBezTo>
                    <a:cubicBezTo>
                      <a:pt x="94434" y="68847"/>
                      <a:pt x="100479" y="74892"/>
                      <a:pt x="107591" y="74892"/>
                    </a:cubicBezTo>
                    <a:cubicBezTo>
                      <a:pt x="114703" y="74892"/>
                      <a:pt x="121104" y="68847"/>
                      <a:pt x="121104" y="61735"/>
                    </a:cubicBezTo>
                    <a:cubicBezTo>
                      <a:pt x="121104" y="54623"/>
                      <a:pt x="114703" y="48578"/>
                      <a:pt x="107591" y="48578"/>
                    </a:cubicBezTo>
                    <a:cubicBezTo>
                      <a:pt x="105102" y="48578"/>
                      <a:pt x="103324" y="46800"/>
                      <a:pt x="103324" y="43955"/>
                    </a:cubicBezTo>
                    <a:cubicBezTo>
                      <a:pt x="103324" y="41466"/>
                      <a:pt x="105102" y="39688"/>
                      <a:pt x="107591" y="39688"/>
                    </a:cubicBezTo>
                    <a:close/>
                    <a:moveTo>
                      <a:pt x="106796" y="31221"/>
                    </a:moveTo>
                    <a:cubicBezTo>
                      <a:pt x="89883" y="31221"/>
                      <a:pt x="75490" y="45614"/>
                      <a:pt x="75490" y="62527"/>
                    </a:cubicBezTo>
                    <a:cubicBezTo>
                      <a:pt x="75490" y="79439"/>
                      <a:pt x="89883" y="93832"/>
                      <a:pt x="106796" y="93832"/>
                    </a:cubicBezTo>
                    <a:cubicBezTo>
                      <a:pt x="123708" y="93832"/>
                      <a:pt x="138101" y="79439"/>
                      <a:pt x="138101" y="62527"/>
                    </a:cubicBezTo>
                    <a:cubicBezTo>
                      <a:pt x="138101" y="45614"/>
                      <a:pt x="123708" y="31221"/>
                      <a:pt x="106796" y="31221"/>
                    </a:cubicBezTo>
                    <a:close/>
                    <a:moveTo>
                      <a:pt x="106796" y="22225"/>
                    </a:moveTo>
                    <a:cubicBezTo>
                      <a:pt x="129105" y="22225"/>
                      <a:pt x="147097" y="40217"/>
                      <a:pt x="147097" y="62527"/>
                    </a:cubicBezTo>
                    <a:cubicBezTo>
                      <a:pt x="147097" y="84836"/>
                      <a:pt x="129105" y="102828"/>
                      <a:pt x="106796" y="102828"/>
                    </a:cubicBezTo>
                    <a:cubicBezTo>
                      <a:pt x="84486" y="102828"/>
                      <a:pt x="66494" y="84836"/>
                      <a:pt x="66494" y="62527"/>
                    </a:cubicBezTo>
                    <a:cubicBezTo>
                      <a:pt x="66494" y="40217"/>
                      <a:pt x="84486" y="22225"/>
                      <a:pt x="106796" y="22225"/>
                    </a:cubicBezTo>
                    <a:close/>
                    <a:moveTo>
                      <a:pt x="107408" y="8984"/>
                    </a:moveTo>
                    <a:cubicBezTo>
                      <a:pt x="59751" y="8984"/>
                      <a:pt x="19676" y="51028"/>
                      <a:pt x="10650" y="62527"/>
                    </a:cubicBezTo>
                    <a:cubicBezTo>
                      <a:pt x="20398" y="74026"/>
                      <a:pt x="60834" y="116070"/>
                      <a:pt x="107408" y="116070"/>
                    </a:cubicBezTo>
                    <a:cubicBezTo>
                      <a:pt x="155065" y="116070"/>
                      <a:pt x="194418" y="74026"/>
                      <a:pt x="204527" y="62527"/>
                    </a:cubicBezTo>
                    <a:cubicBezTo>
                      <a:pt x="194418" y="51028"/>
                      <a:pt x="154343" y="8984"/>
                      <a:pt x="107408" y="8984"/>
                    </a:cubicBezTo>
                    <a:close/>
                    <a:moveTo>
                      <a:pt x="107408" y="0"/>
                    </a:moveTo>
                    <a:cubicBezTo>
                      <a:pt x="165896" y="0"/>
                      <a:pt x="212470" y="57137"/>
                      <a:pt x="214275" y="60011"/>
                    </a:cubicBezTo>
                    <a:cubicBezTo>
                      <a:pt x="215358" y="61449"/>
                      <a:pt x="215358" y="63246"/>
                      <a:pt x="214275" y="65042"/>
                    </a:cubicBezTo>
                    <a:cubicBezTo>
                      <a:pt x="212470" y="67917"/>
                      <a:pt x="166618" y="125054"/>
                      <a:pt x="107408" y="125054"/>
                    </a:cubicBezTo>
                    <a:cubicBezTo>
                      <a:pt x="48198" y="125054"/>
                      <a:pt x="2346" y="67917"/>
                      <a:pt x="541" y="65042"/>
                    </a:cubicBezTo>
                    <a:cubicBezTo>
                      <a:pt x="-181" y="63246"/>
                      <a:pt x="-181" y="61449"/>
                      <a:pt x="541" y="60011"/>
                    </a:cubicBezTo>
                    <a:cubicBezTo>
                      <a:pt x="2346" y="57137"/>
                      <a:pt x="48198" y="0"/>
                      <a:pt x="107408" y="0"/>
                    </a:cubicBezTo>
                    <a:close/>
                  </a:path>
                </a:pathLst>
              </a:custGeom>
              <a:solidFill>
                <a:schemeClr val="bg1">
                  <a:lumMod val="50000"/>
                </a:schemeClr>
              </a:solidFill>
              <a:ln>
                <a:noFill/>
              </a:ln>
              <a:effectLst/>
            </p:spPr>
            <p:txBody>
              <a:bodyPr anchor="ctr"/>
              <a:lstStyle/>
              <a:p>
                <a:endParaRPr lang="en-US"/>
              </a:p>
            </p:txBody>
          </p:sp>
        </p:grpSp>
        <p:grpSp>
          <p:nvGrpSpPr>
            <p:cNvPr id="729" name="Group 728">
              <a:extLst>
                <a:ext uri="{FF2B5EF4-FFF2-40B4-BE49-F238E27FC236}">
                  <a16:creationId xmlns:a16="http://schemas.microsoft.com/office/drawing/2014/main" id="{31235C0B-4A59-ED40-9FDB-5C32C7624461}"/>
                </a:ext>
              </a:extLst>
            </p:cNvPr>
            <p:cNvGrpSpPr>
              <a:grpSpLocks noChangeAspect="1"/>
            </p:cNvGrpSpPr>
            <p:nvPr/>
          </p:nvGrpSpPr>
          <p:grpSpPr>
            <a:xfrm>
              <a:off x="5791792" y="3353765"/>
              <a:ext cx="215067" cy="347559"/>
              <a:chOff x="4835940" y="1998433"/>
              <a:chExt cx="1212606" cy="1959632"/>
            </a:xfrm>
          </p:grpSpPr>
          <p:sp>
            <p:nvSpPr>
              <p:cNvPr id="732" name="Freeform 731">
                <a:extLst>
                  <a:ext uri="{FF2B5EF4-FFF2-40B4-BE49-F238E27FC236}">
                    <a16:creationId xmlns:a16="http://schemas.microsoft.com/office/drawing/2014/main" id="{6F4FA57B-9BBB-E04D-82CC-2C8B1E32AE00}"/>
                  </a:ext>
                </a:extLst>
              </p:cNvPr>
              <p:cNvSpPr/>
              <p:nvPr/>
            </p:nvSpPr>
            <p:spPr>
              <a:xfrm rot="19569474">
                <a:off x="4985628" y="2559704"/>
                <a:ext cx="984399" cy="1398361"/>
              </a:xfrm>
              <a:custGeom>
                <a:avLst/>
                <a:gdLst>
                  <a:gd name="connsiteX0" fmla="*/ 882408 w 984399"/>
                  <a:gd name="connsiteY0" fmla="*/ 18838 h 1398361"/>
                  <a:gd name="connsiteX1" fmla="*/ 935149 w 984399"/>
                  <a:gd name="connsiteY1" fmla="*/ 54202 h 1398361"/>
                  <a:gd name="connsiteX2" fmla="*/ 965561 w 984399"/>
                  <a:gd name="connsiteY2" fmla="*/ 208386 h 1398361"/>
                  <a:gd name="connsiteX3" fmla="*/ 670861 w 984399"/>
                  <a:gd name="connsiteY3" fmla="*/ 647904 h 1398361"/>
                  <a:gd name="connsiteX4" fmla="*/ 914518 w 984399"/>
                  <a:gd name="connsiteY4" fmla="*/ 939893 h 1398361"/>
                  <a:gd name="connsiteX5" fmla="*/ 553595 w 984399"/>
                  <a:gd name="connsiteY5" fmla="*/ 1398361 h 1398361"/>
                  <a:gd name="connsiteX6" fmla="*/ 252009 w 984399"/>
                  <a:gd name="connsiteY6" fmla="*/ 1226726 h 1398361"/>
                  <a:gd name="connsiteX7" fmla="*/ 256927 w 984399"/>
                  <a:gd name="connsiteY7" fmla="*/ 1219390 h 1398361"/>
                  <a:gd name="connsiteX8" fmla="*/ 40802 w 984399"/>
                  <a:gd name="connsiteY8" fmla="*/ 1074477 h 1398361"/>
                  <a:gd name="connsiteX9" fmla="*/ 63942 w 984399"/>
                  <a:gd name="connsiteY9" fmla="*/ 1039967 h 1398361"/>
                  <a:gd name="connsiteX10" fmla="*/ 0 w 984399"/>
                  <a:gd name="connsiteY10" fmla="*/ 1039967 h 1398361"/>
                  <a:gd name="connsiteX11" fmla="*/ 0 w 984399"/>
                  <a:gd name="connsiteY11" fmla="*/ 523560 h 1398361"/>
                  <a:gd name="connsiteX12" fmla="*/ 142875 w 984399"/>
                  <a:gd name="connsiteY12" fmla="*/ 380685 h 1398361"/>
                  <a:gd name="connsiteX13" fmla="*/ 198489 w 984399"/>
                  <a:gd name="connsiteY13" fmla="*/ 391913 h 1398361"/>
                  <a:gd name="connsiteX14" fmla="*/ 285750 w 984399"/>
                  <a:gd name="connsiteY14" fmla="*/ 523560 h 1398361"/>
                  <a:gd name="connsiteX15" fmla="*/ 285750 w 984399"/>
                  <a:gd name="connsiteY15" fmla="*/ 709160 h 1398361"/>
                  <a:gd name="connsiteX16" fmla="*/ 728224 w 984399"/>
                  <a:gd name="connsiteY16" fmla="*/ 49250 h 1398361"/>
                  <a:gd name="connsiteX17" fmla="*/ 882408 w 984399"/>
                  <a:gd name="connsiteY17" fmla="*/ 18838 h 139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84399" h="1398361">
                    <a:moveTo>
                      <a:pt x="882408" y="18838"/>
                    </a:moveTo>
                    <a:lnTo>
                      <a:pt x="935149" y="54202"/>
                    </a:lnTo>
                    <a:cubicBezTo>
                      <a:pt x="986124" y="88381"/>
                      <a:pt x="999740" y="157411"/>
                      <a:pt x="965561" y="208386"/>
                    </a:cubicBezTo>
                    <a:lnTo>
                      <a:pt x="670861" y="647904"/>
                    </a:lnTo>
                    <a:lnTo>
                      <a:pt x="914518" y="939893"/>
                    </a:lnTo>
                    <a:lnTo>
                      <a:pt x="553595" y="1398361"/>
                    </a:lnTo>
                    <a:lnTo>
                      <a:pt x="252009" y="1226726"/>
                    </a:lnTo>
                    <a:lnTo>
                      <a:pt x="256927" y="1219390"/>
                    </a:lnTo>
                    <a:lnTo>
                      <a:pt x="40802" y="1074477"/>
                    </a:lnTo>
                    <a:lnTo>
                      <a:pt x="63942" y="1039967"/>
                    </a:lnTo>
                    <a:lnTo>
                      <a:pt x="0" y="1039967"/>
                    </a:lnTo>
                    <a:lnTo>
                      <a:pt x="0" y="523560"/>
                    </a:lnTo>
                    <a:cubicBezTo>
                      <a:pt x="0" y="444652"/>
                      <a:pt x="63967" y="380685"/>
                      <a:pt x="142875" y="380685"/>
                    </a:cubicBezTo>
                    <a:cubicBezTo>
                      <a:pt x="162602" y="380685"/>
                      <a:pt x="181395" y="384683"/>
                      <a:pt x="198489" y="391913"/>
                    </a:cubicBezTo>
                    <a:cubicBezTo>
                      <a:pt x="249769" y="413602"/>
                      <a:pt x="285750" y="464379"/>
                      <a:pt x="285750" y="523560"/>
                    </a:cubicBezTo>
                    <a:lnTo>
                      <a:pt x="285750" y="709160"/>
                    </a:lnTo>
                    <a:lnTo>
                      <a:pt x="728224" y="49250"/>
                    </a:lnTo>
                    <a:cubicBezTo>
                      <a:pt x="762403" y="-1725"/>
                      <a:pt x="831433" y="-15341"/>
                      <a:pt x="882408" y="18838"/>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3" name="Freeform 732">
                <a:extLst>
                  <a:ext uri="{FF2B5EF4-FFF2-40B4-BE49-F238E27FC236}">
                    <a16:creationId xmlns:a16="http://schemas.microsoft.com/office/drawing/2014/main" id="{F653CD51-0868-C043-AAB2-1E17A2DD8DB8}"/>
                  </a:ext>
                </a:extLst>
              </p:cNvPr>
              <p:cNvSpPr>
                <a:spLocks noChangeAspect="1" noChangeArrowheads="1"/>
              </p:cNvSpPr>
              <p:nvPr/>
            </p:nvSpPr>
            <p:spPr bwMode="auto">
              <a:xfrm>
                <a:off x="4835940" y="1998433"/>
                <a:ext cx="1212606" cy="1832382"/>
              </a:xfrm>
              <a:custGeom>
                <a:avLst/>
                <a:gdLst/>
                <a:ahLst/>
                <a:cxnLst/>
                <a:rect l="0" t="0" r="r" b="b"/>
                <a:pathLst>
                  <a:path w="142510" h="215539">
                    <a:moveTo>
                      <a:pt x="110744" y="63500"/>
                    </a:moveTo>
                    <a:lnTo>
                      <a:pt x="138129" y="63500"/>
                    </a:lnTo>
                    <a:cubicBezTo>
                      <a:pt x="141050" y="63500"/>
                      <a:pt x="142510" y="65405"/>
                      <a:pt x="142510" y="68072"/>
                    </a:cubicBezTo>
                    <a:cubicBezTo>
                      <a:pt x="142510" y="70739"/>
                      <a:pt x="141050" y="72644"/>
                      <a:pt x="138129" y="72644"/>
                    </a:cubicBezTo>
                    <a:lnTo>
                      <a:pt x="110744" y="72644"/>
                    </a:lnTo>
                    <a:cubicBezTo>
                      <a:pt x="108188" y="72644"/>
                      <a:pt x="106362" y="70739"/>
                      <a:pt x="106362" y="68072"/>
                    </a:cubicBezTo>
                    <a:cubicBezTo>
                      <a:pt x="106362" y="65405"/>
                      <a:pt x="108188" y="63500"/>
                      <a:pt x="110744" y="63500"/>
                    </a:cubicBezTo>
                    <a:close/>
                    <a:moveTo>
                      <a:pt x="4382" y="63500"/>
                    </a:moveTo>
                    <a:lnTo>
                      <a:pt x="31766" y="63500"/>
                    </a:lnTo>
                    <a:cubicBezTo>
                      <a:pt x="34322" y="63500"/>
                      <a:pt x="36147" y="65405"/>
                      <a:pt x="36147" y="68072"/>
                    </a:cubicBezTo>
                    <a:cubicBezTo>
                      <a:pt x="36147" y="70739"/>
                      <a:pt x="34322" y="72644"/>
                      <a:pt x="31766" y="72644"/>
                    </a:cubicBezTo>
                    <a:lnTo>
                      <a:pt x="4382" y="72644"/>
                    </a:lnTo>
                    <a:cubicBezTo>
                      <a:pt x="1826" y="72644"/>
                      <a:pt x="0" y="70739"/>
                      <a:pt x="0" y="68072"/>
                    </a:cubicBezTo>
                    <a:cubicBezTo>
                      <a:pt x="0" y="65405"/>
                      <a:pt x="1826" y="63500"/>
                      <a:pt x="4382" y="63500"/>
                    </a:cubicBezTo>
                    <a:close/>
                    <a:moveTo>
                      <a:pt x="71683" y="63011"/>
                    </a:moveTo>
                    <a:cubicBezTo>
                      <a:pt x="66985" y="63011"/>
                      <a:pt x="62648" y="67349"/>
                      <a:pt x="62648" y="71686"/>
                    </a:cubicBezTo>
                    <a:lnTo>
                      <a:pt x="62648" y="170720"/>
                    </a:lnTo>
                    <a:cubicBezTo>
                      <a:pt x="62648" y="172527"/>
                      <a:pt x="61564" y="174335"/>
                      <a:pt x="59035" y="175058"/>
                    </a:cubicBezTo>
                    <a:cubicBezTo>
                      <a:pt x="57228" y="176142"/>
                      <a:pt x="55421" y="175058"/>
                      <a:pt x="53614" y="173250"/>
                    </a:cubicBezTo>
                    <a:cubicBezTo>
                      <a:pt x="36629" y="146504"/>
                      <a:pt x="28317" y="143612"/>
                      <a:pt x="21089" y="143612"/>
                    </a:cubicBezTo>
                    <a:cubicBezTo>
                      <a:pt x="19283" y="143612"/>
                      <a:pt x="19283" y="144697"/>
                      <a:pt x="18560" y="144697"/>
                    </a:cubicBezTo>
                    <a:cubicBezTo>
                      <a:pt x="17476" y="147227"/>
                      <a:pt x="17476" y="151925"/>
                      <a:pt x="20367" y="154455"/>
                    </a:cubicBezTo>
                    <a:lnTo>
                      <a:pt x="56144" y="206503"/>
                    </a:lnTo>
                    <a:lnTo>
                      <a:pt x="121915" y="206503"/>
                    </a:lnTo>
                    <a:lnTo>
                      <a:pt x="129865" y="160961"/>
                    </a:lnTo>
                    <a:cubicBezTo>
                      <a:pt x="131672" y="153733"/>
                      <a:pt x="129143" y="145419"/>
                      <a:pt x="122638" y="143612"/>
                    </a:cubicBezTo>
                    <a:lnTo>
                      <a:pt x="83247" y="130239"/>
                    </a:lnTo>
                    <a:cubicBezTo>
                      <a:pt x="81440" y="129516"/>
                      <a:pt x="80356" y="127709"/>
                      <a:pt x="80356" y="125902"/>
                    </a:cubicBezTo>
                    <a:lnTo>
                      <a:pt x="80356" y="71686"/>
                    </a:lnTo>
                    <a:cubicBezTo>
                      <a:pt x="80356" y="67349"/>
                      <a:pt x="76020" y="63011"/>
                      <a:pt x="71683" y="63011"/>
                    </a:cubicBezTo>
                    <a:close/>
                    <a:moveTo>
                      <a:pt x="72406" y="53975"/>
                    </a:moveTo>
                    <a:cubicBezTo>
                      <a:pt x="82163" y="53975"/>
                      <a:pt x="90475" y="61926"/>
                      <a:pt x="90475" y="71686"/>
                    </a:cubicBezTo>
                    <a:lnTo>
                      <a:pt x="90475" y="122287"/>
                    </a:lnTo>
                    <a:lnTo>
                      <a:pt x="127336" y="134576"/>
                    </a:lnTo>
                    <a:cubicBezTo>
                      <a:pt x="138900" y="138191"/>
                      <a:pt x="142514" y="150841"/>
                      <a:pt x="139984" y="162769"/>
                    </a:cubicBezTo>
                    <a:lnTo>
                      <a:pt x="130950" y="211924"/>
                    </a:lnTo>
                    <a:cubicBezTo>
                      <a:pt x="129143" y="213732"/>
                      <a:pt x="127336" y="215539"/>
                      <a:pt x="125529" y="215539"/>
                    </a:cubicBezTo>
                    <a:lnTo>
                      <a:pt x="53614" y="215539"/>
                    </a:lnTo>
                    <a:cubicBezTo>
                      <a:pt x="51807" y="215539"/>
                      <a:pt x="50723" y="214816"/>
                      <a:pt x="50000" y="213732"/>
                    </a:cubicBezTo>
                    <a:lnTo>
                      <a:pt x="13862" y="159877"/>
                    </a:lnTo>
                    <a:cubicBezTo>
                      <a:pt x="10248" y="154455"/>
                      <a:pt x="9525" y="146504"/>
                      <a:pt x="12055" y="141082"/>
                    </a:cubicBezTo>
                    <a:cubicBezTo>
                      <a:pt x="13862" y="137468"/>
                      <a:pt x="17476" y="134576"/>
                      <a:pt x="22896" y="134576"/>
                    </a:cubicBezTo>
                    <a:cubicBezTo>
                      <a:pt x="33015" y="134576"/>
                      <a:pt x="40965" y="138191"/>
                      <a:pt x="54337" y="156263"/>
                    </a:cubicBezTo>
                    <a:lnTo>
                      <a:pt x="54337" y="71686"/>
                    </a:lnTo>
                    <a:cubicBezTo>
                      <a:pt x="54337" y="61926"/>
                      <a:pt x="62648" y="53975"/>
                      <a:pt x="72406" y="53975"/>
                    </a:cubicBezTo>
                    <a:close/>
                    <a:moveTo>
                      <a:pt x="116620" y="20825"/>
                    </a:moveTo>
                    <a:cubicBezTo>
                      <a:pt x="118452" y="19050"/>
                      <a:pt x="121382" y="19050"/>
                      <a:pt x="123214" y="20825"/>
                    </a:cubicBezTo>
                    <a:cubicBezTo>
                      <a:pt x="125046" y="22601"/>
                      <a:pt x="125046" y="25441"/>
                      <a:pt x="123214" y="27217"/>
                    </a:cubicBezTo>
                    <a:lnTo>
                      <a:pt x="104897" y="44616"/>
                    </a:lnTo>
                    <a:cubicBezTo>
                      <a:pt x="104897" y="45682"/>
                      <a:pt x="103065" y="45682"/>
                      <a:pt x="102332" y="45682"/>
                    </a:cubicBezTo>
                    <a:cubicBezTo>
                      <a:pt x="101233" y="45682"/>
                      <a:pt x="99402" y="45327"/>
                      <a:pt x="98669" y="44616"/>
                    </a:cubicBezTo>
                    <a:cubicBezTo>
                      <a:pt x="96837" y="42486"/>
                      <a:pt x="96837" y="40355"/>
                      <a:pt x="98669" y="38580"/>
                    </a:cubicBezTo>
                    <a:lnTo>
                      <a:pt x="116620" y="20825"/>
                    </a:lnTo>
                    <a:close/>
                    <a:moveTo>
                      <a:pt x="17707" y="20825"/>
                    </a:moveTo>
                    <a:cubicBezTo>
                      <a:pt x="19539" y="19050"/>
                      <a:pt x="22103" y="19050"/>
                      <a:pt x="23935" y="20825"/>
                    </a:cubicBezTo>
                    <a:lnTo>
                      <a:pt x="42252" y="38580"/>
                    </a:lnTo>
                    <a:cubicBezTo>
                      <a:pt x="44084" y="40355"/>
                      <a:pt x="44084" y="42841"/>
                      <a:pt x="42252" y="44616"/>
                    </a:cubicBezTo>
                    <a:cubicBezTo>
                      <a:pt x="42252" y="45682"/>
                      <a:pt x="40420" y="45682"/>
                      <a:pt x="39688" y="45682"/>
                    </a:cubicBezTo>
                    <a:cubicBezTo>
                      <a:pt x="38589" y="45682"/>
                      <a:pt x="36757" y="45682"/>
                      <a:pt x="36024" y="44616"/>
                    </a:cubicBezTo>
                    <a:lnTo>
                      <a:pt x="17707" y="27217"/>
                    </a:lnTo>
                    <a:cubicBezTo>
                      <a:pt x="15875" y="25441"/>
                      <a:pt x="15875" y="22601"/>
                      <a:pt x="17707" y="20825"/>
                    </a:cubicBezTo>
                    <a:close/>
                    <a:moveTo>
                      <a:pt x="76009" y="0"/>
                    </a:moveTo>
                    <a:cubicBezTo>
                      <a:pt x="78676" y="0"/>
                      <a:pt x="80581" y="1807"/>
                      <a:pt x="80581" y="4699"/>
                    </a:cubicBezTo>
                    <a:lnTo>
                      <a:pt x="80581" y="31812"/>
                    </a:lnTo>
                    <a:cubicBezTo>
                      <a:pt x="80581" y="34343"/>
                      <a:pt x="78676" y="36150"/>
                      <a:pt x="76009" y="36150"/>
                    </a:cubicBezTo>
                    <a:cubicBezTo>
                      <a:pt x="73342" y="36150"/>
                      <a:pt x="71437" y="34343"/>
                      <a:pt x="71437" y="31812"/>
                    </a:cubicBezTo>
                    <a:lnTo>
                      <a:pt x="71437" y="4699"/>
                    </a:lnTo>
                    <a:cubicBezTo>
                      <a:pt x="71437" y="1807"/>
                      <a:pt x="73342" y="0"/>
                      <a:pt x="76009" y="0"/>
                    </a:cubicBezTo>
                    <a:close/>
                  </a:path>
                </a:pathLst>
              </a:custGeom>
              <a:solidFill>
                <a:schemeClr val="bg1">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anchor="ctr"/>
              <a:lstStyle/>
              <a:p>
                <a:endParaRPr lang="en-US"/>
              </a:p>
            </p:txBody>
          </p:sp>
        </p:grpSp>
        <p:sp>
          <p:nvSpPr>
            <p:cNvPr id="730" name="TextBox 729">
              <a:extLst>
                <a:ext uri="{FF2B5EF4-FFF2-40B4-BE49-F238E27FC236}">
                  <a16:creationId xmlns:a16="http://schemas.microsoft.com/office/drawing/2014/main" id="{BD267537-237F-A945-9BB7-704698AE1F44}"/>
                </a:ext>
              </a:extLst>
            </p:cNvPr>
            <p:cNvSpPr txBox="1"/>
            <p:nvPr/>
          </p:nvSpPr>
          <p:spPr>
            <a:xfrm>
              <a:off x="6097260" y="3878165"/>
              <a:ext cx="2492320" cy="1092607"/>
            </a:xfrm>
            <a:prstGeom prst="rect">
              <a:avLst/>
            </a:prstGeom>
            <a:noFill/>
          </p:spPr>
          <p:txBody>
            <a:bodyPr wrap="square" rtlCol="0">
              <a:spAutoFit/>
            </a:bodyPr>
            <a:lstStyle/>
            <a:p>
              <a:pPr>
                <a:spcBef>
                  <a:spcPts val="600"/>
                </a:spcBef>
              </a:pPr>
              <a:r>
                <a:rPr lang="en-US" sz="1100" dirty="0">
                  <a:solidFill>
                    <a:schemeClr val="accent2"/>
                  </a:solidFill>
                  <a:latin typeface="CiscoSansTT" panose="020B0503020201020303" pitchFamily="34" charset="0"/>
                  <a:cs typeface="CiscoSansTT" panose="020B0503020201020303" pitchFamily="34" charset="0"/>
                </a:rPr>
                <a:t>Query intel and telemetry </a:t>
              </a:r>
              <a:r>
                <a:rPr lang="en-US" sz="1100" dirty="0">
                  <a:latin typeface="+mn-lt"/>
                </a:rPr>
                <a:t>from </a:t>
              </a:r>
              <a:br>
                <a:rPr lang="en-US" sz="1100" dirty="0">
                  <a:latin typeface="+mn-lt"/>
                </a:rPr>
              </a:br>
              <a:r>
                <a:rPr lang="en-US" sz="1100" dirty="0">
                  <a:latin typeface="+mn-lt"/>
                </a:rPr>
                <a:t>multiple integrated products</a:t>
              </a:r>
            </a:p>
            <a:p>
              <a:pPr>
                <a:spcBef>
                  <a:spcPts val="600"/>
                </a:spcBef>
              </a:pPr>
              <a:r>
                <a:rPr lang="en-US" sz="1100" dirty="0">
                  <a:solidFill>
                    <a:schemeClr val="accent2"/>
                  </a:solidFill>
                  <a:latin typeface="CiscoSansTT" panose="020B0503020201020303" pitchFamily="34" charset="0"/>
                  <a:cs typeface="CiscoSansTT" panose="020B0503020201020303" pitchFamily="34" charset="0"/>
                </a:rPr>
                <a:t>Quickly visualize </a:t>
              </a:r>
              <a:r>
                <a:rPr lang="en-US" sz="1100" dirty="0"/>
                <a:t>the threat </a:t>
              </a:r>
              <a:br>
                <a:rPr lang="en-US" sz="1100" dirty="0"/>
              </a:br>
              <a:r>
                <a:rPr lang="en-US" sz="1100" dirty="0"/>
                <a:t>impact in your environment</a:t>
              </a:r>
            </a:p>
            <a:p>
              <a:pPr>
                <a:spcBef>
                  <a:spcPts val="600"/>
                </a:spcBef>
              </a:pPr>
              <a:r>
                <a:rPr lang="en-US" sz="1100" dirty="0">
                  <a:solidFill>
                    <a:schemeClr val="accent2"/>
                  </a:solidFill>
                  <a:latin typeface="CiscoSansTT" panose="020B0503020201020303" pitchFamily="34" charset="0"/>
                  <a:cs typeface="CiscoSansTT" panose="020B0503020201020303" pitchFamily="34" charset="0"/>
                </a:rPr>
                <a:t>Remediate</a:t>
              </a:r>
              <a:r>
                <a:rPr lang="en-US" sz="1100" b="1" dirty="0"/>
                <a:t> </a:t>
              </a:r>
              <a:r>
                <a:rPr lang="en-US" sz="1100" dirty="0"/>
                <a:t>directly from one UI</a:t>
              </a:r>
              <a:endParaRPr lang="en-US" sz="1100" dirty="0">
                <a:latin typeface="+mn-lt"/>
              </a:endParaRPr>
            </a:p>
          </p:txBody>
        </p:sp>
        <p:sp>
          <p:nvSpPr>
            <p:cNvPr id="731" name="Rectangle 730">
              <a:extLst>
                <a:ext uri="{FF2B5EF4-FFF2-40B4-BE49-F238E27FC236}">
                  <a16:creationId xmlns:a16="http://schemas.microsoft.com/office/drawing/2014/main" id="{E5E6294D-03DB-124E-9DE6-C240086C3451}"/>
                </a:ext>
              </a:extLst>
            </p:cNvPr>
            <p:cNvSpPr/>
            <p:nvPr/>
          </p:nvSpPr>
          <p:spPr>
            <a:xfrm>
              <a:off x="5182346" y="3867496"/>
              <a:ext cx="1016625" cy="276999"/>
            </a:xfrm>
            <a:prstGeom prst="rect">
              <a:avLst/>
            </a:prstGeom>
          </p:spPr>
          <p:txBody>
            <a:bodyPr wrap="none">
              <a:spAutoFit/>
            </a:bodyPr>
            <a:lstStyle/>
            <a:p>
              <a:pPr>
                <a:spcBef>
                  <a:spcPts val="600"/>
                </a:spcBef>
              </a:pPr>
              <a:r>
                <a:rPr lang="en-US" sz="1200" b="1"/>
                <a:t>In one view:</a:t>
              </a:r>
            </a:p>
          </p:txBody>
        </p:sp>
      </p:grpSp>
      <p:grpSp>
        <p:nvGrpSpPr>
          <p:cNvPr id="775" name="Group 774">
            <a:extLst>
              <a:ext uri="{FF2B5EF4-FFF2-40B4-BE49-F238E27FC236}">
                <a16:creationId xmlns:a16="http://schemas.microsoft.com/office/drawing/2014/main" id="{E9E06129-49F7-AE48-A0FC-BA7B97CEACA0}"/>
              </a:ext>
            </a:extLst>
          </p:cNvPr>
          <p:cNvGrpSpPr>
            <a:grpSpLocks noChangeAspect="1"/>
          </p:cNvGrpSpPr>
          <p:nvPr/>
        </p:nvGrpSpPr>
        <p:grpSpPr>
          <a:xfrm>
            <a:off x="2240550" y="3177428"/>
            <a:ext cx="296574" cy="172461"/>
            <a:chOff x="2411784" y="981846"/>
            <a:chExt cx="1644740" cy="956436"/>
          </a:xfrm>
        </p:grpSpPr>
        <p:sp>
          <p:nvSpPr>
            <p:cNvPr id="776" name="Oval 3">
              <a:extLst>
                <a:ext uri="{FF2B5EF4-FFF2-40B4-BE49-F238E27FC236}">
                  <a16:creationId xmlns:a16="http://schemas.microsoft.com/office/drawing/2014/main" id="{C08D27EF-49D0-3843-8D93-2D2A552CE395}"/>
                </a:ext>
              </a:extLst>
            </p:cNvPr>
            <p:cNvSpPr/>
            <p:nvPr/>
          </p:nvSpPr>
          <p:spPr>
            <a:xfrm>
              <a:off x="2411784" y="981846"/>
              <a:ext cx="1640900" cy="953174"/>
            </a:xfrm>
            <a:custGeom>
              <a:avLst/>
              <a:gdLst>
                <a:gd name="connsiteX0" fmla="*/ 0 w 1640899"/>
                <a:gd name="connsiteY0" fmla="*/ 476587 h 953173"/>
                <a:gd name="connsiteX1" fmla="*/ 820450 w 1640899"/>
                <a:gd name="connsiteY1" fmla="*/ 0 h 953173"/>
                <a:gd name="connsiteX2" fmla="*/ 1640900 w 1640899"/>
                <a:gd name="connsiteY2" fmla="*/ 476587 h 953173"/>
                <a:gd name="connsiteX3" fmla="*/ 820450 w 1640899"/>
                <a:gd name="connsiteY3" fmla="*/ 953174 h 953173"/>
                <a:gd name="connsiteX4" fmla="*/ 0 w 1640899"/>
                <a:gd name="connsiteY4" fmla="*/ 476587 h 953173"/>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35451 w 1676351"/>
                <a:gd name="connsiteY0" fmla="*/ 476587 h 953174"/>
                <a:gd name="connsiteX1" fmla="*/ 855901 w 1676351"/>
                <a:gd name="connsiteY1" fmla="*/ 0 h 953174"/>
                <a:gd name="connsiteX2" fmla="*/ 1676351 w 1676351"/>
                <a:gd name="connsiteY2" fmla="*/ 476587 h 953174"/>
                <a:gd name="connsiteX3" fmla="*/ 855901 w 1676351"/>
                <a:gd name="connsiteY3" fmla="*/ 953174 h 953174"/>
                <a:gd name="connsiteX4" fmla="*/ 35451 w 1676351"/>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00" h="953174">
                  <a:moveTo>
                    <a:pt x="0" y="476587"/>
                  </a:moveTo>
                  <a:cubicBezTo>
                    <a:pt x="149225" y="314975"/>
                    <a:pt x="373678" y="66675"/>
                    <a:pt x="820450" y="0"/>
                  </a:cubicBezTo>
                  <a:cubicBezTo>
                    <a:pt x="1257697" y="66675"/>
                    <a:pt x="1409125" y="203850"/>
                    <a:pt x="1640900" y="476587"/>
                  </a:cubicBezTo>
                  <a:cubicBezTo>
                    <a:pt x="1491675" y="650899"/>
                    <a:pt x="1264047" y="921424"/>
                    <a:pt x="820450" y="953174"/>
                  </a:cubicBezTo>
                  <a:cubicBezTo>
                    <a:pt x="348278" y="905549"/>
                    <a:pt x="152400" y="641374"/>
                    <a:pt x="0" y="47658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7" name="Freeform 776">
              <a:extLst>
                <a:ext uri="{FF2B5EF4-FFF2-40B4-BE49-F238E27FC236}">
                  <a16:creationId xmlns:a16="http://schemas.microsoft.com/office/drawing/2014/main" id="{C7A8DE27-93B1-794C-9E89-019FBAABCD77}"/>
                </a:ext>
              </a:extLst>
            </p:cNvPr>
            <p:cNvSpPr>
              <a:spLocks noChangeArrowheads="1"/>
            </p:cNvSpPr>
            <p:nvPr/>
          </p:nvSpPr>
          <p:spPr bwMode="auto">
            <a:xfrm>
              <a:off x="2415625" y="985109"/>
              <a:ext cx="1640899" cy="953173"/>
            </a:xfrm>
            <a:custGeom>
              <a:avLst/>
              <a:gdLst>
                <a:gd name="T0" fmla="*/ 107998 w 215087"/>
                <a:gd name="T1" fmla="*/ 39802 h 125054"/>
                <a:gd name="T2" fmla="*/ 130128 w 215087"/>
                <a:gd name="T3" fmla="*/ 61912 h 125054"/>
                <a:gd name="T4" fmla="*/ 107998 w 215087"/>
                <a:gd name="T5" fmla="*/ 84023 h 125054"/>
                <a:gd name="T6" fmla="*/ 85867 w 215087"/>
                <a:gd name="T7" fmla="*/ 61912 h 125054"/>
                <a:gd name="T8" fmla="*/ 90150 w 215087"/>
                <a:gd name="T9" fmla="*/ 57633 h 125054"/>
                <a:gd name="T10" fmla="*/ 94791 w 215087"/>
                <a:gd name="T11" fmla="*/ 61912 h 125054"/>
                <a:gd name="T12" fmla="*/ 107998 w 215087"/>
                <a:gd name="T13" fmla="*/ 75107 h 125054"/>
                <a:gd name="T14" fmla="*/ 121562 w 215087"/>
                <a:gd name="T15" fmla="*/ 61912 h 125054"/>
                <a:gd name="T16" fmla="*/ 107998 w 215087"/>
                <a:gd name="T17" fmla="*/ 48717 h 125054"/>
                <a:gd name="T18" fmla="*/ 103715 w 215087"/>
                <a:gd name="T19" fmla="*/ 44081 h 125054"/>
                <a:gd name="T20" fmla="*/ 107998 w 215087"/>
                <a:gd name="T21" fmla="*/ 39802 h 125054"/>
                <a:gd name="T22" fmla="*/ 107200 w 215087"/>
                <a:gd name="T23" fmla="*/ 31311 h 125054"/>
                <a:gd name="T24" fmla="*/ 75775 w 215087"/>
                <a:gd name="T25" fmla="*/ 62707 h 125054"/>
                <a:gd name="T26" fmla="*/ 107200 w 215087"/>
                <a:gd name="T27" fmla="*/ 94101 h 125054"/>
                <a:gd name="T28" fmla="*/ 138623 w 215087"/>
                <a:gd name="T29" fmla="*/ 62707 h 125054"/>
                <a:gd name="T30" fmla="*/ 107200 w 215087"/>
                <a:gd name="T31" fmla="*/ 31311 h 125054"/>
                <a:gd name="T32" fmla="*/ 107200 w 215087"/>
                <a:gd name="T33" fmla="*/ 22289 h 125054"/>
                <a:gd name="T34" fmla="*/ 147653 w 215087"/>
                <a:gd name="T35" fmla="*/ 62707 h 125054"/>
                <a:gd name="T36" fmla="*/ 107200 w 215087"/>
                <a:gd name="T37" fmla="*/ 103123 h 125054"/>
                <a:gd name="T38" fmla="*/ 66745 w 215087"/>
                <a:gd name="T39" fmla="*/ 62707 h 125054"/>
                <a:gd name="T40" fmla="*/ 107200 w 215087"/>
                <a:gd name="T41" fmla="*/ 22289 h 125054"/>
                <a:gd name="T42" fmla="*/ 107814 w 215087"/>
                <a:gd name="T43" fmla="*/ 9010 h 125054"/>
                <a:gd name="T44" fmla="*/ 10690 w 215087"/>
                <a:gd name="T45" fmla="*/ 62707 h 125054"/>
                <a:gd name="T46" fmla="*/ 107814 w 215087"/>
                <a:gd name="T47" fmla="*/ 116403 h 125054"/>
                <a:gd name="T48" fmla="*/ 205300 w 215087"/>
                <a:gd name="T49" fmla="*/ 62707 h 125054"/>
                <a:gd name="T50" fmla="*/ 107814 w 215087"/>
                <a:gd name="T51" fmla="*/ 9010 h 125054"/>
                <a:gd name="T52" fmla="*/ 107814 w 215087"/>
                <a:gd name="T53" fmla="*/ 0 h 125054"/>
                <a:gd name="T54" fmla="*/ 215085 w 215087"/>
                <a:gd name="T55" fmla="*/ 60183 h 125054"/>
                <a:gd name="T56" fmla="*/ 215085 w 215087"/>
                <a:gd name="T57" fmla="*/ 65229 h 125054"/>
                <a:gd name="T58" fmla="*/ 107814 w 215087"/>
                <a:gd name="T59" fmla="*/ 125413 h 125054"/>
                <a:gd name="T60" fmla="*/ 543 w 215087"/>
                <a:gd name="T61" fmla="*/ 65229 h 125054"/>
                <a:gd name="T62" fmla="*/ 543 w 215087"/>
                <a:gd name="T63" fmla="*/ 60183 h 125054"/>
                <a:gd name="T64" fmla="*/ 107814 w 215087"/>
                <a:gd name="T65" fmla="*/ 0 h 1250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5087" h="125054">
                  <a:moveTo>
                    <a:pt x="107591" y="39688"/>
                  </a:moveTo>
                  <a:cubicBezTo>
                    <a:pt x="120037" y="39688"/>
                    <a:pt x="129638" y="49289"/>
                    <a:pt x="129638" y="61735"/>
                  </a:cubicBezTo>
                  <a:cubicBezTo>
                    <a:pt x="129638" y="74181"/>
                    <a:pt x="120037" y="83782"/>
                    <a:pt x="107591" y="83782"/>
                  </a:cubicBezTo>
                  <a:cubicBezTo>
                    <a:pt x="95145" y="83782"/>
                    <a:pt x="85544" y="74181"/>
                    <a:pt x="85544" y="61735"/>
                  </a:cubicBezTo>
                  <a:cubicBezTo>
                    <a:pt x="85544" y="59246"/>
                    <a:pt x="86966" y="57468"/>
                    <a:pt x="89811" y="57468"/>
                  </a:cubicBezTo>
                  <a:cubicBezTo>
                    <a:pt x="92300" y="57468"/>
                    <a:pt x="94434" y="59246"/>
                    <a:pt x="94434" y="61735"/>
                  </a:cubicBezTo>
                  <a:cubicBezTo>
                    <a:pt x="94434" y="68847"/>
                    <a:pt x="100479" y="74892"/>
                    <a:pt x="107591" y="74892"/>
                  </a:cubicBezTo>
                  <a:cubicBezTo>
                    <a:pt x="114703" y="74892"/>
                    <a:pt x="121104" y="68847"/>
                    <a:pt x="121104" y="61735"/>
                  </a:cubicBezTo>
                  <a:cubicBezTo>
                    <a:pt x="121104" y="54623"/>
                    <a:pt x="114703" y="48578"/>
                    <a:pt x="107591" y="48578"/>
                  </a:cubicBezTo>
                  <a:cubicBezTo>
                    <a:pt x="105102" y="48578"/>
                    <a:pt x="103324" y="46800"/>
                    <a:pt x="103324" y="43955"/>
                  </a:cubicBezTo>
                  <a:cubicBezTo>
                    <a:pt x="103324" y="41466"/>
                    <a:pt x="105102" y="39688"/>
                    <a:pt x="107591" y="39688"/>
                  </a:cubicBezTo>
                  <a:close/>
                  <a:moveTo>
                    <a:pt x="106796" y="31221"/>
                  </a:moveTo>
                  <a:cubicBezTo>
                    <a:pt x="89883" y="31221"/>
                    <a:pt x="75490" y="45614"/>
                    <a:pt x="75490" y="62527"/>
                  </a:cubicBezTo>
                  <a:cubicBezTo>
                    <a:pt x="75490" y="79439"/>
                    <a:pt x="89883" y="93832"/>
                    <a:pt x="106796" y="93832"/>
                  </a:cubicBezTo>
                  <a:cubicBezTo>
                    <a:pt x="123708" y="93832"/>
                    <a:pt x="138101" y="79439"/>
                    <a:pt x="138101" y="62527"/>
                  </a:cubicBezTo>
                  <a:cubicBezTo>
                    <a:pt x="138101" y="45614"/>
                    <a:pt x="123708" y="31221"/>
                    <a:pt x="106796" y="31221"/>
                  </a:cubicBezTo>
                  <a:close/>
                  <a:moveTo>
                    <a:pt x="106796" y="22225"/>
                  </a:moveTo>
                  <a:cubicBezTo>
                    <a:pt x="129105" y="22225"/>
                    <a:pt x="147097" y="40217"/>
                    <a:pt x="147097" y="62527"/>
                  </a:cubicBezTo>
                  <a:cubicBezTo>
                    <a:pt x="147097" y="84836"/>
                    <a:pt x="129105" y="102828"/>
                    <a:pt x="106796" y="102828"/>
                  </a:cubicBezTo>
                  <a:cubicBezTo>
                    <a:pt x="84486" y="102828"/>
                    <a:pt x="66494" y="84836"/>
                    <a:pt x="66494" y="62527"/>
                  </a:cubicBezTo>
                  <a:cubicBezTo>
                    <a:pt x="66494" y="40217"/>
                    <a:pt x="84486" y="22225"/>
                    <a:pt x="106796" y="22225"/>
                  </a:cubicBezTo>
                  <a:close/>
                  <a:moveTo>
                    <a:pt x="107408" y="8984"/>
                  </a:moveTo>
                  <a:cubicBezTo>
                    <a:pt x="59751" y="8984"/>
                    <a:pt x="19676" y="51028"/>
                    <a:pt x="10650" y="62527"/>
                  </a:cubicBezTo>
                  <a:cubicBezTo>
                    <a:pt x="20398" y="74026"/>
                    <a:pt x="60834" y="116070"/>
                    <a:pt x="107408" y="116070"/>
                  </a:cubicBezTo>
                  <a:cubicBezTo>
                    <a:pt x="155065" y="116070"/>
                    <a:pt x="194418" y="74026"/>
                    <a:pt x="204527" y="62527"/>
                  </a:cubicBezTo>
                  <a:cubicBezTo>
                    <a:pt x="194418" y="51028"/>
                    <a:pt x="154343" y="8984"/>
                    <a:pt x="107408" y="8984"/>
                  </a:cubicBezTo>
                  <a:close/>
                  <a:moveTo>
                    <a:pt x="107408" y="0"/>
                  </a:moveTo>
                  <a:cubicBezTo>
                    <a:pt x="165896" y="0"/>
                    <a:pt x="212470" y="57137"/>
                    <a:pt x="214275" y="60011"/>
                  </a:cubicBezTo>
                  <a:cubicBezTo>
                    <a:pt x="215358" y="61449"/>
                    <a:pt x="215358" y="63246"/>
                    <a:pt x="214275" y="65042"/>
                  </a:cubicBezTo>
                  <a:cubicBezTo>
                    <a:pt x="212470" y="67917"/>
                    <a:pt x="166618" y="125054"/>
                    <a:pt x="107408" y="125054"/>
                  </a:cubicBezTo>
                  <a:cubicBezTo>
                    <a:pt x="48198" y="125054"/>
                    <a:pt x="2346" y="67917"/>
                    <a:pt x="541" y="65042"/>
                  </a:cubicBezTo>
                  <a:cubicBezTo>
                    <a:pt x="-181" y="63246"/>
                    <a:pt x="-181" y="61449"/>
                    <a:pt x="541" y="60011"/>
                  </a:cubicBezTo>
                  <a:cubicBezTo>
                    <a:pt x="2346" y="57137"/>
                    <a:pt x="48198" y="0"/>
                    <a:pt x="107408" y="0"/>
                  </a:cubicBezTo>
                  <a:close/>
                </a:path>
              </a:pathLst>
            </a:custGeom>
            <a:solidFill>
              <a:schemeClr val="bg1">
                <a:lumMod val="50000"/>
              </a:schemeClr>
            </a:solidFill>
            <a:ln>
              <a:noFill/>
            </a:ln>
            <a:effectLst/>
          </p:spPr>
          <p:txBody>
            <a:bodyPr anchor="ctr"/>
            <a:lstStyle/>
            <a:p>
              <a:endParaRPr lang="en-US"/>
            </a:p>
          </p:txBody>
        </p:sp>
      </p:grpSp>
      <p:grpSp>
        <p:nvGrpSpPr>
          <p:cNvPr id="778" name="Group 777">
            <a:extLst>
              <a:ext uri="{FF2B5EF4-FFF2-40B4-BE49-F238E27FC236}">
                <a16:creationId xmlns:a16="http://schemas.microsoft.com/office/drawing/2014/main" id="{81772871-03C3-4B4B-B03E-35CC9B435FC5}"/>
              </a:ext>
            </a:extLst>
          </p:cNvPr>
          <p:cNvGrpSpPr>
            <a:grpSpLocks noChangeAspect="1"/>
          </p:cNvGrpSpPr>
          <p:nvPr/>
        </p:nvGrpSpPr>
        <p:grpSpPr>
          <a:xfrm>
            <a:off x="3058197" y="3188538"/>
            <a:ext cx="296574" cy="172461"/>
            <a:chOff x="2411784" y="981846"/>
            <a:chExt cx="1644740" cy="956436"/>
          </a:xfrm>
        </p:grpSpPr>
        <p:sp>
          <p:nvSpPr>
            <p:cNvPr id="779" name="Oval 3">
              <a:extLst>
                <a:ext uri="{FF2B5EF4-FFF2-40B4-BE49-F238E27FC236}">
                  <a16:creationId xmlns:a16="http://schemas.microsoft.com/office/drawing/2014/main" id="{28B8C4CD-5215-1A47-9D70-C812D927FDC6}"/>
                </a:ext>
              </a:extLst>
            </p:cNvPr>
            <p:cNvSpPr/>
            <p:nvPr/>
          </p:nvSpPr>
          <p:spPr>
            <a:xfrm>
              <a:off x="2411784" y="981846"/>
              <a:ext cx="1640900" cy="953174"/>
            </a:xfrm>
            <a:custGeom>
              <a:avLst/>
              <a:gdLst>
                <a:gd name="connsiteX0" fmla="*/ 0 w 1640899"/>
                <a:gd name="connsiteY0" fmla="*/ 476587 h 953173"/>
                <a:gd name="connsiteX1" fmla="*/ 820450 w 1640899"/>
                <a:gd name="connsiteY1" fmla="*/ 0 h 953173"/>
                <a:gd name="connsiteX2" fmla="*/ 1640900 w 1640899"/>
                <a:gd name="connsiteY2" fmla="*/ 476587 h 953173"/>
                <a:gd name="connsiteX3" fmla="*/ 820450 w 1640899"/>
                <a:gd name="connsiteY3" fmla="*/ 953174 h 953173"/>
                <a:gd name="connsiteX4" fmla="*/ 0 w 1640899"/>
                <a:gd name="connsiteY4" fmla="*/ 476587 h 953173"/>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35451 w 1676351"/>
                <a:gd name="connsiteY0" fmla="*/ 476587 h 953174"/>
                <a:gd name="connsiteX1" fmla="*/ 855901 w 1676351"/>
                <a:gd name="connsiteY1" fmla="*/ 0 h 953174"/>
                <a:gd name="connsiteX2" fmla="*/ 1676351 w 1676351"/>
                <a:gd name="connsiteY2" fmla="*/ 476587 h 953174"/>
                <a:gd name="connsiteX3" fmla="*/ 855901 w 1676351"/>
                <a:gd name="connsiteY3" fmla="*/ 953174 h 953174"/>
                <a:gd name="connsiteX4" fmla="*/ 35451 w 1676351"/>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00" h="953174">
                  <a:moveTo>
                    <a:pt x="0" y="476587"/>
                  </a:moveTo>
                  <a:cubicBezTo>
                    <a:pt x="149225" y="314975"/>
                    <a:pt x="373678" y="66675"/>
                    <a:pt x="820450" y="0"/>
                  </a:cubicBezTo>
                  <a:cubicBezTo>
                    <a:pt x="1257697" y="66675"/>
                    <a:pt x="1409125" y="203850"/>
                    <a:pt x="1640900" y="476587"/>
                  </a:cubicBezTo>
                  <a:cubicBezTo>
                    <a:pt x="1491675" y="650899"/>
                    <a:pt x="1264047" y="921424"/>
                    <a:pt x="820450" y="953174"/>
                  </a:cubicBezTo>
                  <a:cubicBezTo>
                    <a:pt x="348278" y="905549"/>
                    <a:pt x="152400" y="641374"/>
                    <a:pt x="0" y="47658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0" name="Freeform 779">
              <a:extLst>
                <a:ext uri="{FF2B5EF4-FFF2-40B4-BE49-F238E27FC236}">
                  <a16:creationId xmlns:a16="http://schemas.microsoft.com/office/drawing/2014/main" id="{3702003D-441D-8946-9940-4E259266EB40}"/>
                </a:ext>
              </a:extLst>
            </p:cNvPr>
            <p:cNvSpPr>
              <a:spLocks noChangeArrowheads="1"/>
            </p:cNvSpPr>
            <p:nvPr/>
          </p:nvSpPr>
          <p:spPr bwMode="auto">
            <a:xfrm>
              <a:off x="2415625" y="985109"/>
              <a:ext cx="1640899" cy="953173"/>
            </a:xfrm>
            <a:custGeom>
              <a:avLst/>
              <a:gdLst>
                <a:gd name="T0" fmla="*/ 107998 w 215087"/>
                <a:gd name="T1" fmla="*/ 39802 h 125054"/>
                <a:gd name="T2" fmla="*/ 130128 w 215087"/>
                <a:gd name="T3" fmla="*/ 61912 h 125054"/>
                <a:gd name="T4" fmla="*/ 107998 w 215087"/>
                <a:gd name="T5" fmla="*/ 84023 h 125054"/>
                <a:gd name="T6" fmla="*/ 85867 w 215087"/>
                <a:gd name="T7" fmla="*/ 61912 h 125054"/>
                <a:gd name="T8" fmla="*/ 90150 w 215087"/>
                <a:gd name="T9" fmla="*/ 57633 h 125054"/>
                <a:gd name="T10" fmla="*/ 94791 w 215087"/>
                <a:gd name="T11" fmla="*/ 61912 h 125054"/>
                <a:gd name="T12" fmla="*/ 107998 w 215087"/>
                <a:gd name="T13" fmla="*/ 75107 h 125054"/>
                <a:gd name="T14" fmla="*/ 121562 w 215087"/>
                <a:gd name="T15" fmla="*/ 61912 h 125054"/>
                <a:gd name="T16" fmla="*/ 107998 w 215087"/>
                <a:gd name="T17" fmla="*/ 48717 h 125054"/>
                <a:gd name="T18" fmla="*/ 103715 w 215087"/>
                <a:gd name="T19" fmla="*/ 44081 h 125054"/>
                <a:gd name="T20" fmla="*/ 107998 w 215087"/>
                <a:gd name="T21" fmla="*/ 39802 h 125054"/>
                <a:gd name="T22" fmla="*/ 107200 w 215087"/>
                <a:gd name="T23" fmla="*/ 31311 h 125054"/>
                <a:gd name="T24" fmla="*/ 75775 w 215087"/>
                <a:gd name="T25" fmla="*/ 62707 h 125054"/>
                <a:gd name="T26" fmla="*/ 107200 w 215087"/>
                <a:gd name="T27" fmla="*/ 94101 h 125054"/>
                <a:gd name="T28" fmla="*/ 138623 w 215087"/>
                <a:gd name="T29" fmla="*/ 62707 h 125054"/>
                <a:gd name="T30" fmla="*/ 107200 w 215087"/>
                <a:gd name="T31" fmla="*/ 31311 h 125054"/>
                <a:gd name="T32" fmla="*/ 107200 w 215087"/>
                <a:gd name="T33" fmla="*/ 22289 h 125054"/>
                <a:gd name="T34" fmla="*/ 147653 w 215087"/>
                <a:gd name="T35" fmla="*/ 62707 h 125054"/>
                <a:gd name="T36" fmla="*/ 107200 w 215087"/>
                <a:gd name="T37" fmla="*/ 103123 h 125054"/>
                <a:gd name="T38" fmla="*/ 66745 w 215087"/>
                <a:gd name="T39" fmla="*/ 62707 h 125054"/>
                <a:gd name="T40" fmla="*/ 107200 w 215087"/>
                <a:gd name="T41" fmla="*/ 22289 h 125054"/>
                <a:gd name="T42" fmla="*/ 107814 w 215087"/>
                <a:gd name="T43" fmla="*/ 9010 h 125054"/>
                <a:gd name="T44" fmla="*/ 10690 w 215087"/>
                <a:gd name="T45" fmla="*/ 62707 h 125054"/>
                <a:gd name="T46" fmla="*/ 107814 w 215087"/>
                <a:gd name="T47" fmla="*/ 116403 h 125054"/>
                <a:gd name="T48" fmla="*/ 205300 w 215087"/>
                <a:gd name="T49" fmla="*/ 62707 h 125054"/>
                <a:gd name="T50" fmla="*/ 107814 w 215087"/>
                <a:gd name="T51" fmla="*/ 9010 h 125054"/>
                <a:gd name="T52" fmla="*/ 107814 w 215087"/>
                <a:gd name="T53" fmla="*/ 0 h 125054"/>
                <a:gd name="T54" fmla="*/ 215085 w 215087"/>
                <a:gd name="T55" fmla="*/ 60183 h 125054"/>
                <a:gd name="T56" fmla="*/ 215085 w 215087"/>
                <a:gd name="T57" fmla="*/ 65229 h 125054"/>
                <a:gd name="T58" fmla="*/ 107814 w 215087"/>
                <a:gd name="T59" fmla="*/ 125413 h 125054"/>
                <a:gd name="T60" fmla="*/ 543 w 215087"/>
                <a:gd name="T61" fmla="*/ 65229 h 125054"/>
                <a:gd name="T62" fmla="*/ 543 w 215087"/>
                <a:gd name="T63" fmla="*/ 60183 h 125054"/>
                <a:gd name="T64" fmla="*/ 107814 w 215087"/>
                <a:gd name="T65" fmla="*/ 0 h 1250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5087" h="125054">
                  <a:moveTo>
                    <a:pt x="107591" y="39688"/>
                  </a:moveTo>
                  <a:cubicBezTo>
                    <a:pt x="120037" y="39688"/>
                    <a:pt x="129638" y="49289"/>
                    <a:pt x="129638" y="61735"/>
                  </a:cubicBezTo>
                  <a:cubicBezTo>
                    <a:pt x="129638" y="74181"/>
                    <a:pt x="120037" y="83782"/>
                    <a:pt x="107591" y="83782"/>
                  </a:cubicBezTo>
                  <a:cubicBezTo>
                    <a:pt x="95145" y="83782"/>
                    <a:pt x="85544" y="74181"/>
                    <a:pt x="85544" y="61735"/>
                  </a:cubicBezTo>
                  <a:cubicBezTo>
                    <a:pt x="85544" y="59246"/>
                    <a:pt x="86966" y="57468"/>
                    <a:pt x="89811" y="57468"/>
                  </a:cubicBezTo>
                  <a:cubicBezTo>
                    <a:pt x="92300" y="57468"/>
                    <a:pt x="94434" y="59246"/>
                    <a:pt x="94434" y="61735"/>
                  </a:cubicBezTo>
                  <a:cubicBezTo>
                    <a:pt x="94434" y="68847"/>
                    <a:pt x="100479" y="74892"/>
                    <a:pt x="107591" y="74892"/>
                  </a:cubicBezTo>
                  <a:cubicBezTo>
                    <a:pt x="114703" y="74892"/>
                    <a:pt x="121104" y="68847"/>
                    <a:pt x="121104" y="61735"/>
                  </a:cubicBezTo>
                  <a:cubicBezTo>
                    <a:pt x="121104" y="54623"/>
                    <a:pt x="114703" y="48578"/>
                    <a:pt x="107591" y="48578"/>
                  </a:cubicBezTo>
                  <a:cubicBezTo>
                    <a:pt x="105102" y="48578"/>
                    <a:pt x="103324" y="46800"/>
                    <a:pt x="103324" y="43955"/>
                  </a:cubicBezTo>
                  <a:cubicBezTo>
                    <a:pt x="103324" y="41466"/>
                    <a:pt x="105102" y="39688"/>
                    <a:pt x="107591" y="39688"/>
                  </a:cubicBezTo>
                  <a:close/>
                  <a:moveTo>
                    <a:pt x="106796" y="31221"/>
                  </a:moveTo>
                  <a:cubicBezTo>
                    <a:pt x="89883" y="31221"/>
                    <a:pt x="75490" y="45614"/>
                    <a:pt x="75490" y="62527"/>
                  </a:cubicBezTo>
                  <a:cubicBezTo>
                    <a:pt x="75490" y="79439"/>
                    <a:pt x="89883" y="93832"/>
                    <a:pt x="106796" y="93832"/>
                  </a:cubicBezTo>
                  <a:cubicBezTo>
                    <a:pt x="123708" y="93832"/>
                    <a:pt x="138101" y="79439"/>
                    <a:pt x="138101" y="62527"/>
                  </a:cubicBezTo>
                  <a:cubicBezTo>
                    <a:pt x="138101" y="45614"/>
                    <a:pt x="123708" y="31221"/>
                    <a:pt x="106796" y="31221"/>
                  </a:cubicBezTo>
                  <a:close/>
                  <a:moveTo>
                    <a:pt x="106796" y="22225"/>
                  </a:moveTo>
                  <a:cubicBezTo>
                    <a:pt x="129105" y="22225"/>
                    <a:pt x="147097" y="40217"/>
                    <a:pt x="147097" y="62527"/>
                  </a:cubicBezTo>
                  <a:cubicBezTo>
                    <a:pt x="147097" y="84836"/>
                    <a:pt x="129105" y="102828"/>
                    <a:pt x="106796" y="102828"/>
                  </a:cubicBezTo>
                  <a:cubicBezTo>
                    <a:pt x="84486" y="102828"/>
                    <a:pt x="66494" y="84836"/>
                    <a:pt x="66494" y="62527"/>
                  </a:cubicBezTo>
                  <a:cubicBezTo>
                    <a:pt x="66494" y="40217"/>
                    <a:pt x="84486" y="22225"/>
                    <a:pt x="106796" y="22225"/>
                  </a:cubicBezTo>
                  <a:close/>
                  <a:moveTo>
                    <a:pt x="107408" y="8984"/>
                  </a:moveTo>
                  <a:cubicBezTo>
                    <a:pt x="59751" y="8984"/>
                    <a:pt x="19676" y="51028"/>
                    <a:pt x="10650" y="62527"/>
                  </a:cubicBezTo>
                  <a:cubicBezTo>
                    <a:pt x="20398" y="74026"/>
                    <a:pt x="60834" y="116070"/>
                    <a:pt x="107408" y="116070"/>
                  </a:cubicBezTo>
                  <a:cubicBezTo>
                    <a:pt x="155065" y="116070"/>
                    <a:pt x="194418" y="74026"/>
                    <a:pt x="204527" y="62527"/>
                  </a:cubicBezTo>
                  <a:cubicBezTo>
                    <a:pt x="194418" y="51028"/>
                    <a:pt x="154343" y="8984"/>
                    <a:pt x="107408" y="8984"/>
                  </a:cubicBezTo>
                  <a:close/>
                  <a:moveTo>
                    <a:pt x="107408" y="0"/>
                  </a:moveTo>
                  <a:cubicBezTo>
                    <a:pt x="165896" y="0"/>
                    <a:pt x="212470" y="57137"/>
                    <a:pt x="214275" y="60011"/>
                  </a:cubicBezTo>
                  <a:cubicBezTo>
                    <a:pt x="215358" y="61449"/>
                    <a:pt x="215358" y="63246"/>
                    <a:pt x="214275" y="65042"/>
                  </a:cubicBezTo>
                  <a:cubicBezTo>
                    <a:pt x="212470" y="67917"/>
                    <a:pt x="166618" y="125054"/>
                    <a:pt x="107408" y="125054"/>
                  </a:cubicBezTo>
                  <a:cubicBezTo>
                    <a:pt x="48198" y="125054"/>
                    <a:pt x="2346" y="67917"/>
                    <a:pt x="541" y="65042"/>
                  </a:cubicBezTo>
                  <a:cubicBezTo>
                    <a:pt x="-181" y="63246"/>
                    <a:pt x="-181" y="61449"/>
                    <a:pt x="541" y="60011"/>
                  </a:cubicBezTo>
                  <a:cubicBezTo>
                    <a:pt x="2346" y="57137"/>
                    <a:pt x="48198" y="0"/>
                    <a:pt x="107408" y="0"/>
                  </a:cubicBezTo>
                  <a:close/>
                </a:path>
              </a:pathLst>
            </a:custGeom>
            <a:solidFill>
              <a:schemeClr val="bg1">
                <a:lumMod val="50000"/>
              </a:schemeClr>
            </a:solidFill>
            <a:ln>
              <a:noFill/>
            </a:ln>
            <a:effectLst/>
          </p:spPr>
          <p:txBody>
            <a:bodyPr anchor="ctr"/>
            <a:lstStyle/>
            <a:p>
              <a:endParaRPr lang="en-US"/>
            </a:p>
          </p:txBody>
        </p:sp>
      </p:grpSp>
      <p:grpSp>
        <p:nvGrpSpPr>
          <p:cNvPr id="781" name="Group 780">
            <a:extLst>
              <a:ext uri="{FF2B5EF4-FFF2-40B4-BE49-F238E27FC236}">
                <a16:creationId xmlns:a16="http://schemas.microsoft.com/office/drawing/2014/main" id="{8D4C3EB5-76F4-7749-990E-ABDD8751B2F4}"/>
              </a:ext>
            </a:extLst>
          </p:cNvPr>
          <p:cNvGrpSpPr>
            <a:grpSpLocks noChangeAspect="1"/>
          </p:cNvGrpSpPr>
          <p:nvPr/>
        </p:nvGrpSpPr>
        <p:grpSpPr>
          <a:xfrm>
            <a:off x="3817982" y="3190600"/>
            <a:ext cx="296574" cy="172461"/>
            <a:chOff x="2411784" y="981846"/>
            <a:chExt cx="1644740" cy="956436"/>
          </a:xfrm>
        </p:grpSpPr>
        <p:sp>
          <p:nvSpPr>
            <p:cNvPr id="782" name="Oval 3">
              <a:extLst>
                <a:ext uri="{FF2B5EF4-FFF2-40B4-BE49-F238E27FC236}">
                  <a16:creationId xmlns:a16="http://schemas.microsoft.com/office/drawing/2014/main" id="{F995F243-BEC9-C743-B01E-E698144EEE6F}"/>
                </a:ext>
              </a:extLst>
            </p:cNvPr>
            <p:cNvSpPr/>
            <p:nvPr/>
          </p:nvSpPr>
          <p:spPr>
            <a:xfrm>
              <a:off x="2411784" y="981846"/>
              <a:ext cx="1640900" cy="953174"/>
            </a:xfrm>
            <a:custGeom>
              <a:avLst/>
              <a:gdLst>
                <a:gd name="connsiteX0" fmla="*/ 0 w 1640899"/>
                <a:gd name="connsiteY0" fmla="*/ 476587 h 953173"/>
                <a:gd name="connsiteX1" fmla="*/ 820450 w 1640899"/>
                <a:gd name="connsiteY1" fmla="*/ 0 h 953173"/>
                <a:gd name="connsiteX2" fmla="*/ 1640900 w 1640899"/>
                <a:gd name="connsiteY2" fmla="*/ 476587 h 953173"/>
                <a:gd name="connsiteX3" fmla="*/ 820450 w 1640899"/>
                <a:gd name="connsiteY3" fmla="*/ 953174 h 953173"/>
                <a:gd name="connsiteX4" fmla="*/ 0 w 1640899"/>
                <a:gd name="connsiteY4" fmla="*/ 476587 h 953173"/>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35451 w 1676351"/>
                <a:gd name="connsiteY0" fmla="*/ 476587 h 953174"/>
                <a:gd name="connsiteX1" fmla="*/ 855901 w 1676351"/>
                <a:gd name="connsiteY1" fmla="*/ 0 h 953174"/>
                <a:gd name="connsiteX2" fmla="*/ 1676351 w 1676351"/>
                <a:gd name="connsiteY2" fmla="*/ 476587 h 953174"/>
                <a:gd name="connsiteX3" fmla="*/ 855901 w 1676351"/>
                <a:gd name="connsiteY3" fmla="*/ 953174 h 953174"/>
                <a:gd name="connsiteX4" fmla="*/ 35451 w 1676351"/>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177 w 1641077"/>
                <a:gd name="connsiteY0" fmla="*/ 476587 h 953174"/>
                <a:gd name="connsiteX1" fmla="*/ 820627 w 1641077"/>
                <a:gd name="connsiteY1" fmla="*/ 0 h 953174"/>
                <a:gd name="connsiteX2" fmla="*/ 1641077 w 1641077"/>
                <a:gd name="connsiteY2" fmla="*/ 476587 h 953174"/>
                <a:gd name="connsiteX3" fmla="*/ 820627 w 1641077"/>
                <a:gd name="connsiteY3" fmla="*/ 953174 h 953174"/>
                <a:gd name="connsiteX4" fmla="*/ 177 w 1641077"/>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 name="connsiteX0" fmla="*/ 0 w 1640900"/>
                <a:gd name="connsiteY0" fmla="*/ 476587 h 953174"/>
                <a:gd name="connsiteX1" fmla="*/ 820450 w 1640900"/>
                <a:gd name="connsiteY1" fmla="*/ 0 h 953174"/>
                <a:gd name="connsiteX2" fmla="*/ 1640900 w 1640900"/>
                <a:gd name="connsiteY2" fmla="*/ 476587 h 953174"/>
                <a:gd name="connsiteX3" fmla="*/ 820450 w 1640900"/>
                <a:gd name="connsiteY3" fmla="*/ 953174 h 953174"/>
                <a:gd name="connsiteX4" fmla="*/ 0 w 1640900"/>
                <a:gd name="connsiteY4" fmla="*/ 476587 h 953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900" h="953174">
                  <a:moveTo>
                    <a:pt x="0" y="476587"/>
                  </a:moveTo>
                  <a:cubicBezTo>
                    <a:pt x="149225" y="314975"/>
                    <a:pt x="373678" y="66675"/>
                    <a:pt x="820450" y="0"/>
                  </a:cubicBezTo>
                  <a:cubicBezTo>
                    <a:pt x="1257697" y="66675"/>
                    <a:pt x="1409125" y="203850"/>
                    <a:pt x="1640900" y="476587"/>
                  </a:cubicBezTo>
                  <a:cubicBezTo>
                    <a:pt x="1491675" y="650899"/>
                    <a:pt x="1264047" y="921424"/>
                    <a:pt x="820450" y="953174"/>
                  </a:cubicBezTo>
                  <a:cubicBezTo>
                    <a:pt x="348278" y="905549"/>
                    <a:pt x="152400" y="641374"/>
                    <a:pt x="0" y="476587"/>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3" name="Freeform 782">
              <a:extLst>
                <a:ext uri="{FF2B5EF4-FFF2-40B4-BE49-F238E27FC236}">
                  <a16:creationId xmlns:a16="http://schemas.microsoft.com/office/drawing/2014/main" id="{8BBA0303-62B7-8240-B356-39EE437A4F52}"/>
                </a:ext>
              </a:extLst>
            </p:cNvPr>
            <p:cNvSpPr>
              <a:spLocks noChangeArrowheads="1"/>
            </p:cNvSpPr>
            <p:nvPr/>
          </p:nvSpPr>
          <p:spPr bwMode="auto">
            <a:xfrm>
              <a:off x="2415625" y="985109"/>
              <a:ext cx="1640899" cy="953173"/>
            </a:xfrm>
            <a:custGeom>
              <a:avLst/>
              <a:gdLst>
                <a:gd name="T0" fmla="*/ 107998 w 215087"/>
                <a:gd name="T1" fmla="*/ 39802 h 125054"/>
                <a:gd name="T2" fmla="*/ 130128 w 215087"/>
                <a:gd name="T3" fmla="*/ 61912 h 125054"/>
                <a:gd name="T4" fmla="*/ 107998 w 215087"/>
                <a:gd name="T5" fmla="*/ 84023 h 125054"/>
                <a:gd name="T6" fmla="*/ 85867 w 215087"/>
                <a:gd name="T7" fmla="*/ 61912 h 125054"/>
                <a:gd name="T8" fmla="*/ 90150 w 215087"/>
                <a:gd name="T9" fmla="*/ 57633 h 125054"/>
                <a:gd name="T10" fmla="*/ 94791 w 215087"/>
                <a:gd name="T11" fmla="*/ 61912 h 125054"/>
                <a:gd name="T12" fmla="*/ 107998 w 215087"/>
                <a:gd name="T13" fmla="*/ 75107 h 125054"/>
                <a:gd name="T14" fmla="*/ 121562 w 215087"/>
                <a:gd name="T15" fmla="*/ 61912 h 125054"/>
                <a:gd name="T16" fmla="*/ 107998 w 215087"/>
                <a:gd name="T17" fmla="*/ 48717 h 125054"/>
                <a:gd name="T18" fmla="*/ 103715 w 215087"/>
                <a:gd name="T19" fmla="*/ 44081 h 125054"/>
                <a:gd name="T20" fmla="*/ 107998 w 215087"/>
                <a:gd name="T21" fmla="*/ 39802 h 125054"/>
                <a:gd name="T22" fmla="*/ 107200 w 215087"/>
                <a:gd name="T23" fmla="*/ 31311 h 125054"/>
                <a:gd name="T24" fmla="*/ 75775 w 215087"/>
                <a:gd name="T25" fmla="*/ 62707 h 125054"/>
                <a:gd name="T26" fmla="*/ 107200 w 215087"/>
                <a:gd name="T27" fmla="*/ 94101 h 125054"/>
                <a:gd name="T28" fmla="*/ 138623 w 215087"/>
                <a:gd name="T29" fmla="*/ 62707 h 125054"/>
                <a:gd name="T30" fmla="*/ 107200 w 215087"/>
                <a:gd name="T31" fmla="*/ 31311 h 125054"/>
                <a:gd name="T32" fmla="*/ 107200 w 215087"/>
                <a:gd name="T33" fmla="*/ 22289 h 125054"/>
                <a:gd name="T34" fmla="*/ 147653 w 215087"/>
                <a:gd name="T35" fmla="*/ 62707 h 125054"/>
                <a:gd name="T36" fmla="*/ 107200 w 215087"/>
                <a:gd name="T37" fmla="*/ 103123 h 125054"/>
                <a:gd name="T38" fmla="*/ 66745 w 215087"/>
                <a:gd name="T39" fmla="*/ 62707 h 125054"/>
                <a:gd name="T40" fmla="*/ 107200 w 215087"/>
                <a:gd name="T41" fmla="*/ 22289 h 125054"/>
                <a:gd name="T42" fmla="*/ 107814 w 215087"/>
                <a:gd name="T43" fmla="*/ 9010 h 125054"/>
                <a:gd name="T44" fmla="*/ 10690 w 215087"/>
                <a:gd name="T45" fmla="*/ 62707 h 125054"/>
                <a:gd name="T46" fmla="*/ 107814 w 215087"/>
                <a:gd name="T47" fmla="*/ 116403 h 125054"/>
                <a:gd name="T48" fmla="*/ 205300 w 215087"/>
                <a:gd name="T49" fmla="*/ 62707 h 125054"/>
                <a:gd name="T50" fmla="*/ 107814 w 215087"/>
                <a:gd name="T51" fmla="*/ 9010 h 125054"/>
                <a:gd name="T52" fmla="*/ 107814 w 215087"/>
                <a:gd name="T53" fmla="*/ 0 h 125054"/>
                <a:gd name="T54" fmla="*/ 215085 w 215087"/>
                <a:gd name="T55" fmla="*/ 60183 h 125054"/>
                <a:gd name="T56" fmla="*/ 215085 w 215087"/>
                <a:gd name="T57" fmla="*/ 65229 h 125054"/>
                <a:gd name="T58" fmla="*/ 107814 w 215087"/>
                <a:gd name="T59" fmla="*/ 125413 h 125054"/>
                <a:gd name="T60" fmla="*/ 543 w 215087"/>
                <a:gd name="T61" fmla="*/ 65229 h 125054"/>
                <a:gd name="T62" fmla="*/ 543 w 215087"/>
                <a:gd name="T63" fmla="*/ 60183 h 125054"/>
                <a:gd name="T64" fmla="*/ 107814 w 215087"/>
                <a:gd name="T65" fmla="*/ 0 h 1250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5087" h="125054">
                  <a:moveTo>
                    <a:pt x="107591" y="39688"/>
                  </a:moveTo>
                  <a:cubicBezTo>
                    <a:pt x="120037" y="39688"/>
                    <a:pt x="129638" y="49289"/>
                    <a:pt x="129638" y="61735"/>
                  </a:cubicBezTo>
                  <a:cubicBezTo>
                    <a:pt x="129638" y="74181"/>
                    <a:pt x="120037" y="83782"/>
                    <a:pt x="107591" y="83782"/>
                  </a:cubicBezTo>
                  <a:cubicBezTo>
                    <a:pt x="95145" y="83782"/>
                    <a:pt x="85544" y="74181"/>
                    <a:pt x="85544" y="61735"/>
                  </a:cubicBezTo>
                  <a:cubicBezTo>
                    <a:pt x="85544" y="59246"/>
                    <a:pt x="86966" y="57468"/>
                    <a:pt x="89811" y="57468"/>
                  </a:cubicBezTo>
                  <a:cubicBezTo>
                    <a:pt x="92300" y="57468"/>
                    <a:pt x="94434" y="59246"/>
                    <a:pt x="94434" y="61735"/>
                  </a:cubicBezTo>
                  <a:cubicBezTo>
                    <a:pt x="94434" y="68847"/>
                    <a:pt x="100479" y="74892"/>
                    <a:pt x="107591" y="74892"/>
                  </a:cubicBezTo>
                  <a:cubicBezTo>
                    <a:pt x="114703" y="74892"/>
                    <a:pt x="121104" y="68847"/>
                    <a:pt x="121104" y="61735"/>
                  </a:cubicBezTo>
                  <a:cubicBezTo>
                    <a:pt x="121104" y="54623"/>
                    <a:pt x="114703" y="48578"/>
                    <a:pt x="107591" y="48578"/>
                  </a:cubicBezTo>
                  <a:cubicBezTo>
                    <a:pt x="105102" y="48578"/>
                    <a:pt x="103324" y="46800"/>
                    <a:pt x="103324" y="43955"/>
                  </a:cubicBezTo>
                  <a:cubicBezTo>
                    <a:pt x="103324" y="41466"/>
                    <a:pt x="105102" y="39688"/>
                    <a:pt x="107591" y="39688"/>
                  </a:cubicBezTo>
                  <a:close/>
                  <a:moveTo>
                    <a:pt x="106796" y="31221"/>
                  </a:moveTo>
                  <a:cubicBezTo>
                    <a:pt x="89883" y="31221"/>
                    <a:pt x="75490" y="45614"/>
                    <a:pt x="75490" y="62527"/>
                  </a:cubicBezTo>
                  <a:cubicBezTo>
                    <a:pt x="75490" y="79439"/>
                    <a:pt x="89883" y="93832"/>
                    <a:pt x="106796" y="93832"/>
                  </a:cubicBezTo>
                  <a:cubicBezTo>
                    <a:pt x="123708" y="93832"/>
                    <a:pt x="138101" y="79439"/>
                    <a:pt x="138101" y="62527"/>
                  </a:cubicBezTo>
                  <a:cubicBezTo>
                    <a:pt x="138101" y="45614"/>
                    <a:pt x="123708" y="31221"/>
                    <a:pt x="106796" y="31221"/>
                  </a:cubicBezTo>
                  <a:close/>
                  <a:moveTo>
                    <a:pt x="106796" y="22225"/>
                  </a:moveTo>
                  <a:cubicBezTo>
                    <a:pt x="129105" y="22225"/>
                    <a:pt x="147097" y="40217"/>
                    <a:pt x="147097" y="62527"/>
                  </a:cubicBezTo>
                  <a:cubicBezTo>
                    <a:pt x="147097" y="84836"/>
                    <a:pt x="129105" y="102828"/>
                    <a:pt x="106796" y="102828"/>
                  </a:cubicBezTo>
                  <a:cubicBezTo>
                    <a:pt x="84486" y="102828"/>
                    <a:pt x="66494" y="84836"/>
                    <a:pt x="66494" y="62527"/>
                  </a:cubicBezTo>
                  <a:cubicBezTo>
                    <a:pt x="66494" y="40217"/>
                    <a:pt x="84486" y="22225"/>
                    <a:pt x="106796" y="22225"/>
                  </a:cubicBezTo>
                  <a:close/>
                  <a:moveTo>
                    <a:pt x="107408" y="8984"/>
                  </a:moveTo>
                  <a:cubicBezTo>
                    <a:pt x="59751" y="8984"/>
                    <a:pt x="19676" y="51028"/>
                    <a:pt x="10650" y="62527"/>
                  </a:cubicBezTo>
                  <a:cubicBezTo>
                    <a:pt x="20398" y="74026"/>
                    <a:pt x="60834" y="116070"/>
                    <a:pt x="107408" y="116070"/>
                  </a:cubicBezTo>
                  <a:cubicBezTo>
                    <a:pt x="155065" y="116070"/>
                    <a:pt x="194418" y="74026"/>
                    <a:pt x="204527" y="62527"/>
                  </a:cubicBezTo>
                  <a:cubicBezTo>
                    <a:pt x="194418" y="51028"/>
                    <a:pt x="154343" y="8984"/>
                    <a:pt x="107408" y="8984"/>
                  </a:cubicBezTo>
                  <a:close/>
                  <a:moveTo>
                    <a:pt x="107408" y="0"/>
                  </a:moveTo>
                  <a:cubicBezTo>
                    <a:pt x="165896" y="0"/>
                    <a:pt x="212470" y="57137"/>
                    <a:pt x="214275" y="60011"/>
                  </a:cubicBezTo>
                  <a:cubicBezTo>
                    <a:pt x="215358" y="61449"/>
                    <a:pt x="215358" y="63246"/>
                    <a:pt x="214275" y="65042"/>
                  </a:cubicBezTo>
                  <a:cubicBezTo>
                    <a:pt x="212470" y="67917"/>
                    <a:pt x="166618" y="125054"/>
                    <a:pt x="107408" y="125054"/>
                  </a:cubicBezTo>
                  <a:cubicBezTo>
                    <a:pt x="48198" y="125054"/>
                    <a:pt x="2346" y="67917"/>
                    <a:pt x="541" y="65042"/>
                  </a:cubicBezTo>
                  <a:cubicBezTo>
                    <a:pt x="-181" y="63246"/>
                    <a:pt x="-181" y="61449"/>
                    <a:pt x="541" y="60011"/>
                  </a:cubicBezTo>
                  <a:cubicBezTo>
                    <a:pt x="2346" y="57137"/>
                    <a:pt x="48198" y="0"/>
                    <a:pt x="107408" y="0"/>
                  </a:cubicBezTo>
                  <a:close/>
                </a:path>
              </a:pathLst>
            </a:custGeom>
            <a:solidFill>
              <a:schemeClr val="bg1">
                <a:lumMod val="50000"/>
              </a:schemeClr>
            </a:solidFill>
            <a:ln>
              <a:noFill/>
            </a:ln>
            <a:effectLst/>
          </p:spPr>
          <p:txBody>
            <a:bodyPr anchor="ctr"/>
            <a:lstStyle/>
            <a:p>
              <a:endParaRPr lang="en-US"/>
            </a:p>
          </p:txBody>
        </p:sp>
      </p:grpSp>
      <p:pic>
        <p:nvPicPr>
          <p:cNvPr id="226" name="Picture 225">
            <a:extLst>
              <a:ext uri="{FF2B5EF4-FFF2-40B4-BE49-F238E27FC236}">
                <a16:creationId xmlns:a16="http://schemas.microsoft.com/office/drawing/2014/main" id="{E95C78BC-33CA-4B07-87D0-79F4E1933471}"/>
              </a:ext>
            </a:extLst>
          </p:cNvPr>
          <p:cNvPicPr>
            <a:picLocks noChangeAspect="1"/>
          </p:cNvPicPr>
          <p:nvPr/>
        </p:nvPicPr>
        <p:blipFill>
          <a:blip r:embed="rId21"/>
          <a:stretch>
            <a:fillRect/>
          </a:stretch>
        </p:blipFill>
        <p:spPr>
          <a:xfrm>
            <a:off x="4678846" y="2219589"/>
            <a:ext cx="201185" cy="1914310"/>
          </a:xfrm>
          <a:prstGeom prst="rect">
            <a:avLst/>
          </a:prstGeom>
        </p:spPr>
      </p:pic>
    </p:spTree>
    <p:extLst>
      <p:ext uri="{BB962C8B-B14F-4D97-AF65-F5344CB8AC3E}">
        <p14:creationId xmlns:p14="http://schemas.microsoft.com/office/powerpoint/2010/main" val="36313472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19"/>
                                        </p:tgtEl>
                                        <p:attrNameLst>
                                          <p:attrName>style.visibility</p:attrName>
                                        </p:attrNameLst>
                                      </p:cBhvr>
                                      <p:to>
                                        <p:strVal val="visible"/>
                                      </p:to>
                                    </p:set>
                                    <p:animEffect transition="in" filter="fade">
                                      <p:cBhvr>
                                        <p:cTn id="7" dur="500"/>
                                        <p:tgtEl>
                                          <p:spTgt spid="7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AC1C1-AB3F-9147-8229-53AD7A7F96E4}"/>
              </a:ext>
            </a:extLst>
          </p:cNvPr>
          <p:cNvSpPr>
            <a:spLocks noGrp="1"/>
          </p:cNvSpPr>
          <p:nvPr>
            <p:ph type="title"/>
          </p:nvPr>
        </p:nvSpPr>
        <p:spPr/>
        <p:txBody>
          <a:bodyPr/>
          <a:lstStyle/>
          <a:p>
            <a:pPr marL="687388"/>
            <a:r>
              <a:rPr lang="en-US"/>
              <a:t> What unified </a:t>
            </a:r>
            <a:r>
              <a:rPr lang="en-US">
                <a:solidFill>
                  <a:schemeClr val="accent2"/>
                </a:solidFill>
                <a:latin typeface="CiscoSansTT" panose="020B0503020201020303" pitchFamily="34" charset="0"/>
                <a:cs typeface="CiscoSansTT" panose="020B0503020201020303" pitchFamily="34" charset="0"/>
              </a:rPr>
              <a:t>visibility</a:t>
            </a:r>
            <a:r>
              <a:rPr lang="en-US"/>
              <a:t> looks like</a:t>
            </a:r>
          </a:p>
        </p:txBody>
      </p:sp>
      <p:grpSp>
        <p:nvGrpSpPr>
          <p:cNvPr id="57" name="Group 56">
            <a:extLst>
              <a:ext uri="{FF2B5EF4-FFF2-40B4-BE49-F238E27FC236}">
                <a16:creationId xmlns:a16="http://schemas.microsoft.com/office/drawing/2014/main" id="{D50541B2-35B2-7A4B-920D-738BCFDF99EB}"/>
              </a:ext>
            </a:extLst>
          </p:cNvPr>
          <p:cNvGrpSpPr>
            <a:grpSpLocks noChangeAspect="1"/>
          </p:cNvGrpSpPr>
          <p:nvPr/>
        </p:nvGrpSpPr>
        <p:grpSpPr>
          <a:xfrm>
            <a:off x="527141" y="282078"/>
            <a:ext cx="667094" cy="644905"/>
            <a:chOff x="6159182" y="1273837"/>
            <a:chExt cx="1608153" cy="1503716"/>
          </a:xfrm>
        </p:grpSpPr>
        <p:sp>
          <p:nvSpPr>
            <p:cNvPr id="58" name="Oval 57">
              <a:extLst>
                <a:ext uri="{FF2B5EF4-FFF2-40B4-BE49-F238E27FC236}">
                  <a16:creationId xmlns:a16="http://schemas.microsoft.com/office/drawing/2014/main" id="{A081BE69-073C-FC48-B57E-6F5AD17C4882}"/>
                </a:ext>
              </a:extLst>
            </p:cNvPr>
            <p:cNvSpPr/>
            <p:nvPr/>
          </p:nvSpPr>
          <p:spPr>
            <a:xfrm>
              <a:off x="6159182" y="1795878"/>
              <a:ext cx="866556" cy="866556"/>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59" name="Arc 58">
              <a:extLst>
                <a:ext uri="{FF2B5EF4-FFF2-40B4-BE49-F238E27FC236}">
                  <a16:creationId xmlns:a16="http://schemas.microsoft.com/office/drawing/2014/main" id="{2DA019E4-193A-EE41-A9D8-6EF248C68A41}"/>
                </a:ext>
              </a:extLst>
            </p:cNvPr>
            <p:cNvSpPr/>
            <p:nvPr/>
          </p:nvSpPr>
          <p:spPr>
            <a:xfrm>
              <a:off x="6326358" y="1468366"/>
              <a:ext cx="1228004" cy="1228004"/>
            </a:xfrm>
            <a:prstGeom prst="arc">
              <a:avLst>
                <a:gd name="adj1" fmla="val 1761019"/>
                <a:gd name="adj2" fmla="val 15841988"/>
              </a:avLst>
            </a:prstGeom>
            <a:noFill/>
            <a:ln w="9525" cap="flat" cmpd="sng" algn="ctr">
              <a:solidFill>
                <a:srgbClr val="6EBE4A"/>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60" name="Isosceles Triangle 49">
              <a:extLst>
                <a:ext uri="{FF2B5EF4-FFF2-40B4-BE49-F238E27FC236}">
                  <a16:creationId xmlns:a16="http://schemas.microsoft.com/office/drawing/2014/main" id="{9A8AB57A-4BA5-2A4B-995A-97DCC5C07362}"/>
                </a:ext>
              </a:extLst>
            </p:cNvPr>
            <p:cNvSpPr/>
            <p:nvPr/>
          </p:nvSpPr>
          <p:spPr>
            <a:xfrm rot="5989115">
              <a:off x="6864813" y="1425383"/>
              <a:ext cx="104112" cy="9080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6EBE4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cxnSp>
          <p:nvCxnSpPr>
            <p:cNvPr id="61" name="Straight Connector 60">
              <a:extLst>
                <a:ext uri="{FF2B5EF4-FFF2-40B4-BE49-F238E27FC236}">
                  <a16:creationId xmlns:a16="http://schemas.microsoft.com/office/drawing/2014/main" id="{2D1E72FE-62B4-FE47-9837-ECC45E2543FE}"/>
                </a:ext>
              </a:extLst>
            </p:cNvPr>
            <p:cNvCxnSpPr/>
            <p:nvPr/>
          </p:nvCxnSpPr>
          <p:spPr>
            <a:xfrm flipH="1" flipV="1">
              <a:off x="6596063" y="1565536"/>
              <a:ext cx="28575" cy="59036"/>
            </a:xfrm>
            <a:prstGeom prst="line">
              <a:avLst/>
            </a:prstGeom>
            <a:noFill/>
            <a:ln w="9525" cap="flat" cmpd="sng" algn="ctr">
              <a:solidFill>
                <a:srgbClr val="FFFFFF"/>
              </a:solidFill>
              <a:prstDash val="solid"/>
            </a:ln>
            <a:effectLst/>
          </p:spPr>
        </p:cxnSp>
        <p:cxnSp>
          <p:nvCxnSpPr>
            <p:cNvPr id="62" name="Straight Connector 61">
              <a:extLst>
                <a:ext uri="{FF2B5EF4-FFF2-40B4-BE49-F238E27FC236}">
                  <a16:creationId xmlns:a16="http://schemas.microsoft.com/office/drawing/2014/main" id="{4180AFC4-64A8-7F4D-97E8-49DAAD7B74F2}"/>
                </a:ext>
              </a:extLst>
            </p:cNvPr>
            <p:cNvCxnSpPr>
              <a:cxnSpLocks/>
            </p:cNvCxnSpPr>
            <p:nvPr/>
          </p:nvCxnSpPr>
          <p:spPr>
            <a:xfrm flipH="1" flipV="1">
              <a:off x="6330587" y="1927472"/>
              <a:ext cx="61103" cy="15935"/>
            </a:xfrm>
            <a:prstGeom prst="line">
              <a:avLst/>
            </a:prstGeom>
            <a:noFill/>
            <a:ln w="9525" cap="flat" cmpd="sng" algn="ctr">
              <a:solidFill>
                <a:srgbClr val="FFFFFF"/>
              </a:solidFill>
              <a:prstDash val="solid"/>
            </a:ln>
            <a:effectLst/>
          </p:spPr>
        </p:cxnSp>
        <p:cxnSp>
          <p:nvCxnSpPr>
            <p:cNvPr id="63" name="Straight Connector 62">
              <a:extLst>
                <a:ext uri="{FF2B5EF4-FFF2-40B4-BE49-F238E27FC236}">
                  <a16:creationId xmlns:a16="http://schemas.microsoft.com/office/drawing/2014/main" id="{7A545549-B671-4742-A366-C26FD8645791}"/>
                </a:ext>
              </a:extLst>
            </p:cNvPr>
            <p:cNvCxnSpPr>
              <a:cxnSpLocks/>
            </p:cNvCxnSpPr>
            <p:nvPr/>
          </p:nvCxnSpPr>
          <p:spPr>
            <a:xfrm flipH="1">
              <a:off x="6383819" y="2330834"/>
              <a:ext cx="55158" cy="21494"/>
            </a:xfrm>
            <a:prstGeom prst="line">
              <a:avLst/>
            </a:prstGeom>
            <a:noFill/>
            <a:ln w="9525" cap="flat" cmpd="sng" algn="ctr">
              <a:solidFill>
                <a:srgbClr val="FFFFFF"/>
              </a:solidFill>
              <a:prstDash val="solid"/>
            </a:ln>
            <a:effectLst/>
          </p:spPr>
        </p:cxnSp>
        <p:cxnSp>
          <p:nvCxnSpPr>
            <p:cNvPr id="64" name="Straight Connector 63">
              <a:extLst>
                <a:ext uri="{FF2B5EF4-FFF2-40B4-BE49-F238E27FC236}">
                  <a16:creationId xmlns:a16="http://schemas.microsoft.com/office/drawing/2014/main" id="{533EB72E-9266-A14D-A6B2-D3D14DB66BD2}"/>
                </a:ext>
              </a:extLst>
            </p:cNvPr>
            <p:cNvCxnSpPr>
              <a:cxnSpLocks/>
            </p:cNvCxnSpPr>
            <p:nvPr/>
          </p:nvCxnSpPr>
          <p:spPr>
            <a:xfrm flipH="1">
              <a:off x="6691535" y="2595608"/>
              <a:ext cx="18904" cy="51584"/>
            </a:xfrm>
            <a:prstGeom prst="line">
              <a:avLst/>
            </a:prstGeom>
            <a:noFill/>
            <a:ln w="9525" cap="flat" cmpd="sng" algn="ctr">
              <a:solidFill>
                <a:srgbClr val="FFFFFF"/>
              </a:solidFill>
              <a:prstDash val="solid"/>
            </a:ln>
            <a:effectLst/>
          </p:spPr>
        </p:cxnSp>
        <p:cxnSp>
          <p:nvCxnSpPr>
            <p:cNvPr id="65" name="Straight Connector 64">
              <a:extLst>
                <a:ext uri="{FF2B5EF4-FFF2-40B4-BE49-F238E27FC236}">
                  <a16:creationId xmlns:a16="http://schemas.microsoft.com/office/drawing/2014/main" id="{6B25C7C7-FAE5-A047-9F4E-8662A51350B0}"/>
                </a:ext>
              </a:extLst>
            </p:cNvPr>
            <p:cNvCxnSpPr>
              <a:cxnSpLocks/>
            </p:cNvCxnSpPr>
            <p:nvPr/>
          </p:nvCxnSpPr>
          <p:spPr>
            <a:xfrm>
              <a:off x="7215779" y="2571188"/>
              <a:ext cx="25602" cy="50212"/>
            </a:xfrm>
            <a:prstGeom prst="line">
              <a:avLst/>
            </a:prstGeom>
            <a:noFill/>
            <a:ln w="9525" cap="flat" cmpd="sng" algn="ctr">
              <a:solidFill>
                <a:srgbClr val="FFFFFF"/>
              </a:solidFill>
              <a:prstDash val="solid"/>
            </a:ln>
            <a:effectLst/>
          </p:spPr>
        </p:cxnSp>
        <p:pic>
          <p:nvPicPr>
            <p:cNvPr id="66" name="Picture 65" descr="A close up of electronics&#10;&#10;Description automatically generated">
              <a:extLst>
                <a:ext uri="{FF2B5EF4-FFF2-40B4-BE49-F238E27FC236}">
                  <a16:creationId xmlns:a16="http://schemas.microsoft.com/office/drawing/2014/main" id="{2445185F-4652-6343-A4CA-600B0DCF93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19619711" flipH="1">
              <a:off x="6546894" y="1508963"/>
              <a:ext cx="1220441" cy="996109"/>
            </a:xfrm>
            <a:prstGeom prst="rect">
              <a:avLst/>
            </a:prstGeom>
          </p:spPr>
        </p:pic>
        <p:sp>
          <p:nvSpPr>
            <p:cNvPr id="67" name="Arc 66">
              <a:extLst>
                <a:ext uri="{FF2B5EF4-FFF2-40B4-BE49-F238E27FC236}">
                  <a16:creationId xmlns:a16="http://schemas.microsoft.com/office/drawing/2014/main" id="{756551AB-9869-A44D-96DB-BBABE02C9349}"/>
                </a:ext>
              </a:extLst>
            </p:cNvPr>
            <p:cNvSpPr/>
            <p:nvPr/>
          </p:nvSpPr>
          <p:spPr>
            <a:xfrm>
              <a:off x="6235057" y="1387183"/>
              <a:ext cx="1390370" cy="1390370"/>
            </a:xfrm>
            <a:prstGeom prst="arc">
              <a:avLst>
                <a:gd name="adj1" fmla="val 2013146"/>
                <a:gd name="adj2" fmla="val 15684940"/>
              </a:avLst>
            </a:prstGeom>
            <a:noFill/>
            <a:ln w="9525" cap="flat" cmpd="sng" algn="ctr">
              <a:solidFill>
                <a:srgbClr val="6EBE4A">
                  <a:alpha val="60000"/>
                </a:srgbClr>
              </a:solidFill>
              <a:prstDash val="solid"/>
              <a:headEnd type="none" w="med" len="med"/>
              <a:tailEnd type="none" w="med"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cxnSp>
          <p:nvCxnSpPr>
            <p:cNvPr id="68" name="Straight Connector 67">
              <a:extLst>
                <a:ext uri="{FF2B5EF4-FFF2-40B4-BE49-F238E27FC236}">
                  <a16:creationId xmlns:a16="http://schemas.microsoft.com/office/drawing/2014/main" id="{C2F2565C-B5A8-A24F-A4FA-BBCB28F6E954}"/>
                </a:ext>
              </a:extLst>
            </p:cNvPr>
            <p:cNvCxnSpPr>
              <a:cxnSpLocks/>
            </p:cNvCxnSpPr>
            <p:nvPr/>
          </p:nvCxnSpPr>
          <p:spPr>
            <a:xfrm flipV="1">
              <a:off x="6982418" y="1273837"/>
              <a:ext cx="172576" cy="324429"/>
            </a:xfrm>
            <a:prstGeom prst="line">
              <a:avLst/>
            </a:prstGeom>
            <a:noFill/>
            <a:ln w="9525" cap="flat" cmpd="sng" algn="ctr">
              <a:solidFill>
                <a:srgbClr val="00BCEB">
                  <a:shade val="95000"/>
                  <a:satMod val="105000"/>
                </a:srgbClr>
              </a:solidFill>
              <a:prstDash val="solid"/>
            </a:ln>
            <a:effectLst/>
          </p:spPr>
        </p:cxnSp>
        <p:cxnSp>
          <p:nvCxnSpPr>
            <p:cNvPr id="69" name="Straight Connector 68">
              <a:extLst>
                <a:ext uri="{FF2B5EF4-FFF2-40B4-BE49-F238E27FC236}">
                  <a16:creationId xmlns:a16="http://schemas.microsoft.com/office/drawing/2014/main" id="{D8502E88-7777-4447-8CBE-D168781870C8}"/>
                </a:ext>
              </a:extLst>
            </p:cNvPr>
            <p:cNvCxnSpPr>
              <a:cxnSpLocks/>
            </p:cNvCxnSpPr>
            <p:nvPr/>
          </p:nvCxnSpPr>
          <p:spPr>
            <a:xfrm>
              <a:off x="7375423" y="2327858"/>
              <a:ext cx="315553" cy="76874"/>
            </a:xfrm>
            <a:prstGeom prst="line">
              <a:avLst/>
            </a:prstGeom>
            <a:noFill/>
            <a:ln w="9525" cap="flat" cmpd="sng" algn="ctr">
              <a:solidFill>
                <a:srgbClr val="00BCEB">
                  <a:shade val="95000"/>
                  <a:satMod val="105000"/>
                </a:srgbClr>
              </a:solidFill>
              <a:prstDash val="solid"/>
            </a:ln>
            <a:effectLst/>
          </p:spPr>
        </p:cxnSp>
        <p:cxnSp>
          <p:nvCxnSpPr>
            <p:cNvPr id="70" name="Straight Connector 69">
              <a:extLst>
                <a:ext uri="{FF2B5EF4-FFF2-40B4-BE49-F238E27FC236}">
                  <a16:creationId xmlns:a16="http://schemas.microsoft.com/office/drawing/2014/main" id="{461452D2-DC1A-FF4A-BBE0-B18D2788DB97}"/>
                </a:ext>
              </a:extLst>
            </p:cNvPr>
            <p:cNvCxnSpPr>
              <a:cxnSpLocks/>
            </p:cNvCxnSpPr>
            <p:nvPr/>
          </p:nvCxnSpPr>
          <p:spPr>
            <a:xfrm flipV="1">
              <a:off x="6993460" y="1294329"/>
              <a:ext cx="110105" cy="205848"/>
            </a:xfrm>
            <a:prstGeom prst="line">
              <a:avLst/>
            </a:prstGeom>
            <a:noFill/>
            <a:ln w="9525" cap="flat" cmpd="sng" algn="ctr">
              <a:solidFill>
                <a:srgbClr val="00BCEB">
                  <a:shade val="95000"/>
                  <a:satMod val="105000"/>
                </a:srgbClr>
              </a:solidFill>
              <a:prstDash val="solid"/>
            </a:ln>
            <a:effectLst/>
          </p:spPr>
        </p:cxnSp>
        <p:cxnSp>
          <p:nvCxnSpPr>
            <p:cNvPr id="71" name="Straight Connector 70">
              <a:extLst>
                <a:ext uri="{FF2B5EF4-FFF2-40B4-BE49-F238E27FC236}">
                  <a16:creationId xmlns:a16="http://schemas.microsoft.com/office/drawing/2014/main" id="{DA348662-8E68-7443-88CE-3D3A12A066BE}"/>
                </a:ext>
              </a:extLst>
            </p:cNvPr>
            <p:cNvCxnSpPr>
              <a:cxnSpLocks/>
            </p:cNvCxnSpPr>
            <p:nvPr/>
          </p:nvCxnSpPr>
          <p:spPr>
            <a:xfrm>
              <a:off x="7415173" y="2373197"/>
              <a:ext cx="212453" cy="53478"/>
            </a:xfrm>
            <a:prstGeom prst="line">
              <a:avLst/>
            </a:prstGeom>
            <a:noFill/>
            <a:ln w="9525" cap="flat" cmpd="sng" algn="ctr">
              <a:solidFill>
                <a:srgbClr val="00BCEB">
                  <a:shade val="95000"/>
                  <a:satMod val="105000"/>
                </a:srgbClr>
              </a:solidFill>
              <a:prstDash val="solid"/>
            </a:ln>
            <a:effectLst/>
          </p:spPr>
        </p:cxnSp>
      </p:grpSp>
      <p:grpSp>
        <p:nvGrpSpPr>
          <p:cNvPr id="1049" name="Group 1048">
            <a:extLst>
              <a:ext uri="{FF2B5EF4-FFF2-40B4-BE49-F238E27FC236}">
                <a16:creationId xmlns:a16="http://schemas.microsoft.com/office/drawing/2014/main" id="{EE50D30C-CFAF-4F92-9C3E-01278BFD646E}"/>
              </a:ext>
            </a:extLst>
          </p:cNvPr>
          <p:cNvGrpSpPr/>
          <p:nvPr/>
        </p:nvGrpSpPr>
        <p:grpSpPr>
          <a:xfrm>
            <a:off x="437766" y="1917554"/>
            <a:ext cx="2106598" cy="2106598"/>
            <a:chOff x="1912542" y="784608"/>
            <a:chExt cx="2106598" cy="2106598"/>
          </a:xfrm>
        </p:grpSpPr>
        <p:pic>
          <p:nvPicPr>
            <p:cNvPr id="1050" name="Picture 1049">
              <a:extLst>
                <a:ext uri="{FF2B5EF4-FFF2-40B4-BE49-F238E27FC236}">
                  <a16:creationId xmlns:a16="http://schemas.microsoft.com/office/drawing/2014/main" id="{445DC2B9-5DEE-4856-8C52-3DFF83318406}"/>
                </a:ext>
              </a:extLst>
            </p:cNvPr>
            <p:cNvPicPr>
              <a:picLocks noChangeAspect="1"/>
            </p:cNvPicPr>
            <p:nvPr/>
          </p:nvPicPr>
          <p:blipFill rotWithShape="1">
            <a:blip r:embed="rId4"/>
            <a:srcRect l="10187" r="10187"/>
            <a:stretch/>
          </p:blipFill>
          <p:spPr>
            <a:xfrm>
              <a:off x="1929431" y="801497"/>
              <a:ext cx="2072820" cy="2072820"/>
            </a:xfrm>
            <a:prstGeom prst="ellipse">
              <a:avLst/>
            </a:prstGeom>
          </p:spPr>
        </p:pic>
        <p:sp>
          <p:nvSpPr>
            <p:cNvPr id="1051" name="Oval 1050">
              <a:extLst>
                <a:ext uri="{FF2B5EF4-FFF2-40B4-BE49-F238E27FC236}">
                  <a16:creationId xmlns:a16="http://schemas.microsoft.com/office/drawing/2014/main" id="{5A98BAD3-83B2-4518-A583-82BB04218480}"/>
                </a:ext>
              </a:extLst>
            </p:cNvPr>
            <p:cNvSpPr/>
            <p:nvPr/>
          </p:nvSpPr>
          <p:spPr>
            <a:xfrm>
              <a:off x="1912542" y="784608"/>
              <a:ext cx="2106598" cy="2106598"/>
            </a:xfrm>
            <a:prstGeom prst="ellipse">
              <a:avLst/>
            </a:prstGeom>
            <a:noFill/>
            <a:ln w="57150" cap="flat" cmpd="sng" algn="ctr">
              <a:solidFill>
                <a:schemeClr val="bg1">
                  <a:lumMod val="85000"/>
                </a:schemeClr>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1052" name="Text Placeholder 2">
            <a:extLst>
              <a:ext uri="{FF2B5EF4-FFF2-40B4-BE49-F238E27FC236}">
                <a16:creationId xmlns:a16="http://schemas.microsoft.com/office/drawing/2014/main" id="{CE4528DA-F6B8-4DEF-B5F2-0B3220E74C79}"/>
              </a:ext>
            </a:extLst>
          </p:cNvPr>
          <p:cNvSpPr txBox="1">
            <a:spLocks/>
          </p:cNvSpPr>
          <p:nvPr/>
        </p:nvSpPr>
        <p:spPr>
          <a:xfrm>
            <a:off x="549289" y="1189585"/>
            <a:ext cx="2106598" cy="475964"/>
          </a:xfrm>
          <a:prstGeom prst="rect">
            <a:avLst/>
          </a:prstGeom>
        </p:spPr>
        <p:txBody>
          <a:bodyPr lIns="0" tIns="45710" rIns="0" bIns="45710" anchor="t"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0" indent="0">
              <a:lnSpc>
                <a:spcPct val="100000"/>
              </a:lnSpc>
              <a:spcBef>
                <a:spcPts val="0"/>
              </a:spcBef>
              <a:spcAft>
                <a:spcPts val="600"/>
              </a:spcAft>
              <a:buClr>
                <a:srgbClr val="282828"/>
              </a:buClr>
              <a:buNone/>
              <a:defRPr/>
            </a:pPr>
            <a:r>
              <a:rPr kumimoji="0" lang="en-US" sz="1400" u="none" strike="noStrike" kern="1200" cap="none" spc="0" normalizeH="0" baseline="0" noProof="0" dirty="0">
                <a:ln>
                  <a:noFill/>
                </a:ln>
                <a:solidFill>
                  <a:schemeClr val="bg2">
                    <a:lumMod val="50000"/>
                  </a:schemeClr>
                </a:solidFill>
                <a:effectLst/>
                <a:uLnTx/>
                <a:uFillTx/>
                <a:latin typeface="CiscoSansTT Medium" panose="020B0903020201020303" pitchFamily="34" charset="0"/>
                <a:cs typeface="CiscoSansTT Medium" panose="020B0903020201020303" pitchFamily="34" charset="0"/>
              </a:rPr>
              <a:t>BEFORE: </a:t>
            </a:r>
            <a:r>
              <a:rPr lang="en-US" sz="1400" dirty="0">
                <a:solidFill>
                  <a:schemeClr val="bg2">
                    <a:lumMod val="50000"/>
                  </a:schemeClr>
                </a:solidFill>
                <a:latin typeface="+mj-lt"/>
                <a:cs typeface="CiscoSansTT" panose="020B0503020201020303" pitchFamily="34" charset="0"/>
              </a:rPr>
              <a:t>“We swivel our chair to see many views”</a:t>
            </a:r>
            <a:endParaRPr kumimoji="0" lang="en-US" sz="1400" u="none" strike="noStrike" kern="1200" cap="none" spc="0" normalizeH="0" baseline="0" noProof="0" dirty="0">
              <a:ln>
                <a:noFill/>
              </a:ln>
              <a:solidFill>
                <a:schemeClr val="bg2">
                  <a:lumMod val="50000"/>
                </a:schemeClr>
              </a:solidFill>
              <a:effectLst/>
              <a:uLnTx/>
              <a:uFillTx/>
              <a:latin typeface="+mj-lt"/>
              <a:cs typeface="CiscoSansTT" panose="020B0503020201020303" pitchFamily="34" charset="0"/>
            </a:endParaRPr>
          </a:p>
        </p:txBody>
      </p:sp>
      <p:sp>
        <p:nvSpPr>
          <p:cNvPr id="1355" name="Oval 1354">
            <a:extLst>
              <a:ext uri="{FF2B5EF4-FFF2-40B4-BE49-F238E27FC236}">
                <a16:creationId xmlns:a16="http://schemas.microsoft.com/office/drawing/2014/main" id="{30D11F64-9848-4F48-8478-2861E61ACF05}"/>
              </a:ext>
            </a:extLst>
          </p:cNvPr>
          <p:cNvSpPr/>
          <p:nvPr/>
        </p:nvSpPr>
        <p:spPr>
          <a:xfrm>
            <a:off x="740289" y="2081430"/>
            <a:ext cx="182536" cy="184529"/>
          </a:xfrm>
          <a:prstGeom prst="ellipse">
            <a:avLst/>
          </a:prstGeom>
          <a:solidFill>
            <a:srgbClr val="005073"/>
          </a:solidFill>
          <a:ln w="25400" cap="flat" cmpd="sng" algn="ctr">
            <a:noFill/>
            <a:prstDash val="solid"/>
          </a:ln>
          <a:effectLst/>
        </p:spPr>
        <p:txBody>
          <a:bodyPr rtlCol="0" anchor="ctr">
            <a:noAutofit/>
          </a:bodyPr>
          <a:lstStyle/>
          <a:p>
            <a:pPr marL="0" marR="0" lvl="0" indent="0" algn="ctr" defTabSz="3429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357" name="Picture 1356">
            <a:extLst>
              <a:ext uri="{FF2B5EF4-FFF2-40B4-BE49-F238E27FC236}">
                <a16:creationId xmlns:a16="http://schemas.microsoft.com/office/drawing/2014/main" id="{46D06AF3-149E-4271-A7F7-613166C6ED76}"/>
              </a:ext>
            </a:extLst>
          </p:cNvPr>
          <p:cNvPicPr>
            <a:picLocks noChangeAspect="1"/>
          </p:cNvPicPr>
          <p:nvPr/>
        </p:nvPicPr>
        <p:blipFill>
          <a:blip r:embed="rId5"/>
          <a:stretch>
            <a:fillRect/>
          </a:stretch>
        </p:blipFill>
        <p:spPr>
          <a:xfrm>
            <a:off x="2745265" y="2013698"/>
            <a:ext cx="201185" cy="1914310"/>
          </a:xfrm>
          <a:prstGeom prst="rect">
            <a:avLst/>
          </a:prstGeom>
        </p:spPr>
      </p:pic>
      <p:grpSp>
        <p:nvGrpSpPr>
          <p:cNvPr id="9" name="Group 8">
            <a:extLst>
              <a:ext uri="{FF2B5EF4-FFF2-40B4-BE49-F238E27FC236}">
                <a16:creationId xmlns:a16="http://schemas.microsoft.com/office/drawing/2014/main" id="{D35974BD-31D0-634B-B60F-DF6816651E27}"/>
              </a:ext>
            </a:extLst>
          </p:cNvPr>
          <p:cNvGrpSpPr/>
          <p:nvPr/>
        </p:nvGrpSpPr>
        <p:grpSpPr>
          <a:xfrm>
            <a:off x="3121200" y="848951"/>
            <a:ext cx="6022801" cy="4294550"/>
            <a:chOff x="3121200" y="848951"/>
            <a:chExt cx="6022801" cy="4294550"/>
          </a:xfrm>
        </p:grpSpPr>
        <p:sp>
          <p:nvSpPr>
            <p:cNvPr id="260" name="Trapezoid 259">
              <a:extLst>
                <a:ext uri="{FF2B5EF4-FFF2-40B4-BE49-F238E27FC236}">
                  <a16:creationId xmlns:a16="http://schemas.microsoft.com/office/drawing/2014/main" id="{276A0C4C-84F8-BB43-B673-6CDBFCF16341}"/>
                </a:ext>
              </a:extLst>
            </p:cNvPr>
            <p:cNvSpPr/>
            <p:nvPr/>
          </p:nvSpPr>
          <p:spPr>
            <a:xfrm rot="16200000">
              <a:off x="5692105" y="1691605"/>
              <a:ext cx="4294550" cy="2609242"/>
            </a:xfrm>
            <a:prstGeom prst="trapezoid">
              <a:avLst>
                <a:gd name="adj" fmla="val 32320"/>
              </a:avLst>
            </a:prstGeom>
            <a:gradFill>
              <a:gsLst>
                <a:gs pos="37000">
                  <a:schemeClr val="bg2">
                    <a:lumMod val="95000"/>
                  </a:schemeClr>
                </a:gs>
                <a:gs pos="0">
                  <a:schemeClr val="bg1">
                    <a:alpha val="50000"/>
                  </a:schemeClr>
                </a:gs>
                <a:gs pos="100000">
                  <a:schemeClr val="bg2">
                    <a:lumMod val="95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3" name="Text Placeholder 2">
              <a:extLst>
                <a:ext uri="{FF2B5EF4-FFF2-40B4-BE49-F238E27FC236}">
                  <a16:creationId xmlns:a16="http://schemas.microsoft.com/office/drawing/2014/main" id="{C8068CB3-70B2-4C02-B45C-4FC7043C50A6}"/>
                </a:ext>
              </a:extLst>
            </p:cNvPr>
            <p:cNvSpPr txBox="1">
              <a:spLocks/>
            </p:cNvSpPr>
            <p:nvPr/>
          </p:nvSpPr>
          <p:spPr>
            <a:xfrm>
              <a:off x="3136763" y="1197829"/>
              <a:ext cx="2534460" cy="527330"/>
            </a:xfrm>
            <a:prstGeom prst="rect">
              <a:avLst/>
            </a:prstGeom>
          </p:spPr>
          <p:txBody>
            <a:bodyPr lIns="0" tIns="45710" rIns="0" bIns="45710" anchor="t"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0" indent="0">
                <a:lnSpc>
                  <a:spcPct val="100000"/>
                </a:lnSpc>
                <a:spcBef>
                  <a:spcPts val="0"/>
                </a:spcBef>
                <a:spcAft>
                  <a:spcPts val="600"/>
                </a:spcAft>
                <a:buClr>
                  <a:srgbClr val="282828"/>
                </a:buClr>
                <a:buNone/>
                <a:defRPr/>
              </a:pPr>
              <a:r>
                <a:rPr kumimoji="0" lang="en-US" sz="1400" u="none" strike="noStrike" kern="1200" cap="none" spc="0" normalizeH="0" baseline="0" noProof="0" dirty="0">
                  <a:ln>
                    <a:noFill/>
                  </a:ln>
                  <a:effectLst/>
                  <a:uLnTx/>
                  <a:uFillTx/>
                  <a:latin typeface="CiscoSansTT Medium" panose="020B0903020201020303" pitchFamily="34" charset="0"/>
                  <a:cs typeface="CiscoSansTT Medium" panose="020B0903020201020303" pitchFamily="34" charset="0"/>
                </a:rPr>
                <a:t>AFTER</a:t>
              </a:r>
              <a:r>
                <a:rPr lang="en-US" sz="1400" dirty="0">
                  <a:latin typeface="CiscoSansTT Medium" panose="020B0903020201020303" pitchFamily="34" charset="0"/>
                  <a:cs typeface="CiscoSansTT Medium" panose="020B0903020201020303" pitchFamily="34" charset="0"/>
                </a:rPr>
                <a:t>:</a:t>
              </a:r>
              <a:r>
                <a:rPr lang="en-US" sz="1400" dirty="0">
                  <a:latin typeface="+mj-lt"/>
                  <a:cs typeface="CiscoSansTT" panose="020B0503020201020303" pitchFamily="34" charset="0"/>
                </a:rPr>
                <a:t> “We instantly see what matters to us in one view”</a:t>
              </a:r>
              <a:endParaRPr kumimoji="0" lang="en-US" sz="1400" u="none" strike="noStrike" kern="1200" cap="none" spc="0" normalizeH="0" baseline="0" noProof="0" dirty="0">
                <a:ln>
                  <a:noFill/>
                </a:ln>
                <a:effectLst/>
                <a:uLnTx/>
                <a:uFillTx/>
                <a:latin typeface="+mj-lt"/>
                <a:cs typeface="CiscoSansTT" panose="020B0503020201020303" pitchFamily="34" charset="0"/>
              </a:endParaRPr>
            </a:p>
          </p:txBody>
        </p:sp>
        <p:sp>
          <p:nvSpPr>
            <p:cNvPr id="42" name="Rectangle 41">
              <a:extLst>
                <a:ext uri="{FF2B5EF4-FFF2-40B4-BE49-F238E27FC236}">
                  <a16:creationId xmlns:a16="http://schemas.microsoft.com/office/drawing/2014/main" id="{C9153A9B-B96E-F240-B41A-ACDA97D59BDD}"/>
                </a:ext>
              </a:extLst>
            </p:cNvPr>
            <p:cNvSpPr/>
            <p:nvPr/>
          </p:nvSpPr>
          <p:spPr>
            <a:xfrm>
              <a:off x="7404725" y="1463723"/>
              <a:ext cx="1363916" cy="784830"/>
            </a:xfrm>
            <a:prstGeom prst="rect">
              <a:avLst/>
            </a:prstGeom>
          </p:spPr>
          <p:txBody>
            <a:bodyPr wrap="square" lIns="0" rIns="0">
              <a:spAutoFit/>
            </a:bodyPr>
            <a:lstStyle/>
            <a:p>
              <a:pPr lvl="0">
                <a:spcBef>
                  <a:spcPts val="600"/>
                </a:spcBef>
                <a:spcAft>
                  <a:spcPts val="600"/>
                </a:spcAft>
                <a:defRPr/>
              </a:pPr>
              <a:r>
                <a:rPr lang="en-US" sz="900" dirty="0">
                  <a:solidFill>
                    <a:srgbClr val="0D274D"/>
                  </a:solidFill>
                  <a:latin typeface="+mj-lt"/>
                  <a:cs typeface="CiscoSansTT" panose="020B0503020201020303" pitchFamily="34" charset="0"/>
                </a:rPr>
                <a:t>“We can view ROI metrics and operational measures across many products in </a:t>
              </a:r>
              <a:r>
                <a:rPr lang="en-US" sz="900" dirty="0">
                  <a:solidFill>
                    <a:schemeClr val="tx2"/>
                  </a:solidFill>
                  <a:latin typeface="+mj-lt"/>
                  <a:cs typeface="CiscoSansTT" panose="020B0503020201020303" pitchFamily="34" charset="0"/>
                </a:rPr>
                <a:t>one or more customizable dashboards</a:t>
              </a:r>
              <a:r>
                <a:rPr lang="en-US" sz="900" dirty="0">
                  <a:solidFill>
                    <a:srgbClr val="0D274D"/>
                  </a:solidFill>
                  <a:latin typeface="+mj-lt"/>
                  <a:cs typeface="CiscoSansTT" panose="020B0503020201020303" pitchFamily="34" charset="0"/>
                </a:rPr>
                <a:t>”</a:t>
              </a:r>
            </a:p>
          </p:txBody>
        </p:sp>
        <p:sp>
          <p:nvSpPr>
            <p:cNvPr id="43" name="Rectangle 42">
              <a:extLst>
                <a:ext uri="{FF2B5EF4-FFF2-40B4-BE49-F238E27FC236}">
                  <a16:creationId xmlns:a16="http://schemas.microsoft.com/office/drawing/2014/main" id="{D479E557-BDF1-474E-B6A4-7BE203338C76}"/>
                </a:ext>
              </a:extLst>
            </p:cNvPr>
            <p:cNvSpPr/>
            <p:nvPr/>
          </p:nvSpPr>
          <p:spPr>
            <a:xfrm>
              <a:off x="7408907" y="2359567"/>
              <a:ext cx="1353373" cy="784830"/>
            </a:xfrm>
            <a:prstGeom prst="rect">
              <a:avLst/>
            </a:prstGeom>
          </p:spPr>
          <p:txBody>
            <a:bodyPr wrap="square" lIns="0" rIns="0">
              <a:spAutoFit/>
            </a:bodyPr>
            <a:lstStyle/>
            <a:p>
              <a:pPr>
                <a:spcBef>
                  <a:spcPts val="600"/>
                </a:spcBef>
                <a:spcAft>
                  <a:spcPts val="600"/>
                </a:spcAft>
                <a:defRPr/>
              </a:pPr>
              <a:r>
                <a:rPr lang="en-US" sz="900" dirty="0">
                  <a:solidFill>
                    <a:srgbClr val="0D274D"/>
                  </a:solidFill>
                  <a:latin typeface="+mj-lt"/>
                  <a:cs typeface="CiscoSansTT" panose="020B0503020201020303" pitchFamily="34" charset="0"/>
                </a:rPr>
                <a:t>“We </a:t>
              </a:r>
              <a:r>
                <a:rPr lang="en-US" sz="900" dirty="0">
                  <a:solidFill>
                    <a:schemeClr val="tx2"/>
                  </a:solidFill>
                  <a:latin typeface="+mj-lt"/>
                  <a:cs typeface="CiscoSansTT" panose="020B0503020201020303" pitchFamily="34" charset="0"/>
                </a:rPr>
                <a:t>never lose context </a:t>
              </a:r>
              <a:r>
                <a:rPr lang="en-US" sz="900" dirty="0">
                  <a:solidFill>
                    <a:srgbClr val="0D274D"/>
                  </a:solidFill>
                  <a:latin typeface="+mj-lt"/>
                  <a:cs typeface="CiscoSansTT" panose="020B0503020201020303" pitchFamily="34" charset="0"/>
                </a:rPr>
                <a:t>as the ribbon </a:t>
              </a:r>
              <a:r>
                <a:rPr lang="en-US" sz="900" dirty="0">
                  <a:latin typeface="+mj-lt"/>
                  <a:cs typeface="CiscoSansTT" panose="020B0503020201020303" pitchFamily="34" charset="0"/>
                </a:rPr>
                <a:t>follows us everywhere</a:t>
              </a:r>
              <a:r>
                <a:rPr lang="en-US" sz="900" dirty="0">
                  <a:solidFill>
                    <a:schemeClr val="tx2"/>
                  </a:solidFill>
                  <a:latin typeface="+mj-lt"/>
                  <a:cs typeface="CiscoSansTT" panose="020B0503020201020303" pitchFamily="34" charset="0"/>
                </a:rPr>
                <a:t> </a:t>
              </a:r>
              <a:r>
                <a:rPr lang="en-US" sz="900" dirty="0">
                  <a:solidFill>
                    <a:srgbClr val="0D274D"/>
                  </a:solidFill>
                  <a:latin typeface="+mj-lt"/>
                  <a:cs typeface="CiscoSansTT" panose="020B0503020201020303" pitchFamily="34" charset="0"/>
                </a:rPr>
                <a:t>when we use the Cisco Secure portfolio”</a:t>
              </a:r>
            </a:p>
          </p:txBody>
        </p:sp>
        <p:sp>
          <p:nvSpPr>
            <p:cNvPr id="44" name="Rectangle 43">
              <a:extLst>
                <a:ext uri="{FF2B5EF4-FFF2-40B4-BE49-F238E27FC236}">
                  <a16:creationId xmlns:a16="http://schemas.microsoft.com/office/drawing/2014/main" id="{0E8B11D4-9FAA-6F4B-B447-EE73B12AF359}"/>
                </a:ext>
              </a:extLst>
            </p:cNvPr>
            <p:cNvSpPr/>
            <p:nvPr/>
          </p:nvSpPr>
          <p:spPr>
            <a:xfrm>
              <a:off x="7398363" y="3874257"/>
              <a:ext cx="1363917" cy="646331"/>
            </a:xfrm>
            <a:prstGeom prst="rect">
              <a:avLst/>
            </a:prstGeom>
          </p:spPr>
          <p:txBody>
            <a:bodyPr wrap="square" lIns="0" rIns="0">
              <a:spAutoFit/>
            </a:bodyPr>
            <a:lstStyle/>
            <a:p>
              <a:pPr lvl="0">
                <a:spcBef>
                  <a:spcPts val="600"/>
                </a:spcBef>
                <a:spcAft>
                  <a:spcPts val="600"/>
                </a:spcAft>
                <a:defRPr/>
              </a:pPr>
              <a:r>
                <a:rPr lang="en-US" sz="900" dirty="0">
                  <a:solidFill>
                    <a:srgbClr val="0D274D"/>
                  </a:solidFill>
                  <a:latin typeface="+mj-lt"/>
                  <a:cs typeface="CiscoSansTT" panose="020B0503020201020303" pitchFamily="34" charset="0"/>
                </a:rPr>
                <a:t>“Our </a:t>
              </a:r>
              <a:r>
                <a:rPr lang="en-US" sz="900" dirty="0">
                  <a:solidFill>
                    <a:schemeClr val="tx2"/>
                  </a:solidFill>
                  <a:latin typeface="+mj-lt"/>
                  <a:cs typeface="CiscoSansTT" panose="020B0503020201020303" pitchFamily="34" charset="0"/>
                </a:rPr>
                <a:t>SOC knows latest intel </a:t>
              </a:r>
              <a:r>
                <a:rPr lang="en-US" sz="900" dirty="0">
                  <a:solidFill>
                    <a:srgbClr val="0D274D"/>
                  </a:solidFill>
                  <a:latin typeface="+mj-lt"/>
                  <a:cs typeface="CiscoSansTT" panose="020B0503020201020303" pitchFamily="34" charset="0"/>
                </a:rPr>
                <a:t>from the largest threat research team on the planet”</a:t>
              </a:r>
            </a:p>
          </p:txBody>
        </p:sp>
        <p:sp>
          <p:nvSpPr>
            <p:cNvPr id="45" name="Rectangle 44">
              <a:extLst>
                <a:ext uri="{FF2B5EF4-FFF2-40B4-BE49-F238E27FC236}">
                  <a16:creationId xmlns:a16="http://schemas.microsoft.com/office/drawing/2014/main" id="{0898EEFF-CF36-5946-AD64-42276175757F}"/>
                </a:ext>
              </a:extLst>
            </p:cNvPr>
            <p:cNvSpPr/>
            <p:nvPr/>
          </p:nvSpPr>
          <p:spPr>
            <a:xfrm>
              <a:off x="7403659" y="3255411"/>
              <a:ext cx="1364982" cy="507831"/>
            </a:xfrm>
            <a:prstGeom prst="rect">
              <a:avLst/>
            </a:prstGeom>
          </p:spPr>
          <p:txBody>
            <a:bodyPr wrap="square" lIns="0" rIns="0">
              <a:spAutoFit/>
            </a:bodyPr>
            <a:lstStyle/>
            <a:p>
              <a:pPr lvl="0">
                <a:spcBef>
                  <a:spcPts val="600"/>
                </a:spcBef>
                <a:spcAft>
                  <a:spcPts val="600"/>
                </a:spcAft>
                <a:defRPr/>
              </a:pPr>
              <a:r>
                <a:rPr lang="en-US" sz="900" dirty="0">
                  <a:solidFill>
                    <a:srgbClr val="0D274D"/>
                  </a:solidFill>
                  <a:latin typeface="+mj-lt"/>
                  <a:cs typeface="CiscoSansTT" panose="020B0503020201020303" pitchFamily="34" charset="0"/>
                </a:rPr>
                <a:t>“We can try other platform integrations </a:t>
              </a:r>
              <a:r>
                <a:rPr lang="en-US" sz="900" dirty="0">
                  <a:solidFill>
                    <a:schemeClr val="tx2"/>
                  </a:solidFill>
                  <a:latin typeface="+mj-lt"/>
                  <a:cs typeface="CiscoSansTT" panose="020B0503020201020303" pitchFamily="34" charset="0"/>
                </a:rPr>
                <a:t>with a click</a:t>
              </a:r>
              <a:r>
                <a:rPr lang="en-US" sz="900" dirty="0">
                  <a:solidFill>
                    <a:srgbClr val="0D274D"/>
                  </a:solidFill>
                  <a:latin typeface="+mj-lt"/>
                  <a:cs typeface="CiscoSansTT" panose="020B0503020201020303" pitchFamily="34" charset="0"/>
                </a:rPr>
                <a:t> before we buy”</a:t>
              </a:r>
            </a:p>
          </p:txBody>
        </p:sp>
        <p:grpSp>
          <p:nvGrpSpPr>
            <p:cNvPr id="161" name="Group 160">
              <a:extLst>
                <a:ext uri="{FF2B5EF4-FFF2-40B4-BE49-F238E27FC236}">
                  <a16:creationId xmlns:a16="http://schemas.microsoft.com/office/drawing/2014/main" id="{47C5607E-CB36-464A-8622-603CA6984D2B}"/>
                </a:ext>
              </a:extLst>
            </p:cNvPr>
            <p:cNvGrpSpPr/>
            <p:nvPr/>
          </p:nvGrpSpPr>
          <p:grpSpPr>
            <a:xfrm>
              <a:off x="3121200" y="1820886"/>
              <a:ext cx="4148102" cy="2314531"/>
              <a:chOff x="541185" y="1322311"/>
              <a:chExt cx="4148102" cy="2314531"/>
            </a:xfrm>
          </p:grpSpPr>
          <p:grpSp>
            <p:nvGrpSpPr>
              <p:cNvPr id="162" name="Group 161">
                <a:extLst>
                  <a:ext uri="{FF2B5EF4-FFF2-40B4-BE49-F238E27FC236}">
                    <a16:creationId xmlns:a16="http://schemas.microsoft.com/office/drawing/2014/main" id="{3908B11B-FB6F-8F42-856C-BB0FCACD318C}"/>
                  </a:ext>
                </a:extLst>
              </p:cNvPr>
              <p:cNvGrpSpPr/>
              <p:nvPr/>
            </p:nvGrpSpPr>
            <p:grpSpPr>
              <a:xfrm>
                <a:off x="541185" y="1322311"/>
                <a:ext cx="4148102" cy="2314531"/>
                <a:chOff x="541185" y="1322311"/>
                <a:chExt cx="4148102" cy="2314531"/>
              </a:xfrm>
            </p:grpSpPr>
            <p:sp>
              <p:nvSpPr>
                <p:cNvPr id="164" name="Rounded Rectangle 224">
                  <a:extLst>
                    <a:ext uri="{FF2B5EF4-FFF2-40B4-BE49-F238E27FC236}">
                      <a16:creationId xmlns:a16="http://schemas.microsoft.com/office/drawing/2014/main" id="{8CCE3799-94FD-8C4E-A70C-B816817E6C4F}"/>
                    </a:ext>
                  </a:extLst>
                </p:cNvPr>
                <p:cNvSpPr/>
                <p:nvPr/>
              </p:nvSpPr>
              <p:spPr>
                <a:xfrm>
                  <a:off x="553677" y="1322311"/>
                  <a:ext cx="4127927" cy="2285670"/>
                </a:xfrm>
                <a:prstGeom prst="roundRect">
                  <a:avLst>
                    <a:gd name="adj" fmla="val 2971"/>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kern="0">
                    <a:solidFill>
                      <a:schemeClr val="bg1"/>
                    </a:solidFill>
                    <a:latin typeface="CiscoSansTT Light"/>
                    <a:ea typeface="ＭＳ Ｐゴシック" charset="0"/>
                  </a:endParaRPr>
                </a:p>
              </p:txBody>
            </p:sp>
            <p:cxnSp>
              <p:nvCxnSpPr>
                <p:cNvPr id="165" name="Straight Connector 164">
                  <a:extLst>
                    <a:ext uri="{FF2B5EF4-FFF2-40B4-BE49-F238E27FC236}">
                      <a16:creationId xmlns:a16="http://schemas.microsoft.com/office/drawing/2014/main" id="{31B47E83-8B0A-4C49-B881-9EE573415EF1}"/>
                    </a:ext>
                  </a:extLst>
                </p:cNvPr>
                <p:cNvCxnSpPr>
                  <a:cxnSpLocks/>
                </p:cNvCxnSpPr>
                <p:nvPr/>
              </p:nvCxnSpPr>
              <p:spPr>
                <a:xfrm>
                  <a:off x="541185" y="1573970"/>
                  <a:ext cx="414227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6" name="Round Same Side Corner Rectangle 146">
                  <a:extLst>
                    <a:ext uri="{FF2B5EF4-FFF2-40B4-BE49-F238E27FC236}">
                      <a16:creationId xmlns:a16="http://schemas.microsoft.com/office/drawing/2014/main" id="{115B3CF6-1B73-7F43-A6BA-19A854EAF5BA}"/>
                    </a:ext>
                  </a:extLst>
                </p:cNvPr>
                <p:cNvSpPr/>
                <p:nvPr/>
              </p:nvSpPr>
              <p:spPr>
                <a:xfrm flipV="1">
                  <a:off x="541185" y="1581208"/>
                  <a:ext cx="4140422" cy="2055632"/>
                </a:xfrm>
                <a:prstGeom prst="round2SameRect">
                  <a:avLst>
                    <a:gd name="adj1" fmla="val 2819"/>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67" name="Rectangle 166">
                  <a:extLst>
                    <a:ext uri="{FF2B5EF4-FFF2-40B4-BE49-F238E27FC236}">
                      <a16:creationId xmlns:a16="http://schemas.microsoft.com/office/drawing/2014/main" id="{A14715B2-47C7-C242-B2A6-B4FAA15ADB4B}"/>
                    </a:ext>
                  </a:extLst>
                </p:cNvPr>
                <p:cNvSpPr/>
                <p:nvPr/>
              </p:nvSpPr>
              <p:spPr>
                <a:xfrm>
                  <a:off x="1271824" y="1380537"/>
                  <a:ext cx="3409780" cy="161466"/>
                </a:xfrm>
                <a:prstGeom prst="rect">
                  <a:avLst/>
                </a:prstGeom>
                <a:noFill/>
                <a:ln w="6350">
                  <a:noFill/>
                </a:ln>
              </p:spPr>
              <p:txBody>
                <a:bodyPr wrap="square" lIns="45720" tIns="18288" rIns="45720" bIns="18288">
                  <a:spAutoFit/>
                </a:bodyPr>
                <a:lstStyle/>
                <a:p>
                  <a:r>
                    <a:rPr lang="en-US" sz="700" b="1">
                      <a:solidFill>
                        <a:srgbClr val="0D274D"/>
                      </a:solidFill>
                      <a:latin typeface="+mj-lt"/>
                      <a:cs typeface="CiscoSansTT Medium" panose="020B0903020201020303" pitchFamily="34" charset="0"/>
                    </a:rPr>
                    <a:t>   Dashboard</a:t>
                  </a:r>
                  <a:r>
                    <a:rPr lang="en-US" sz="700" b="1">
                      <a:solidFill>
                        <a:srgbClr val="0D274D"/>
                      </a:solidFill>
                      <a:latin typeface="+mj-lt"/>
                      <a:cs typeface="CiscoSansTT" panose="020B0503020201020303" pitchFamily="34" charset="0"/>
                    </a:rPr>
                    <a:t>    </a:t>
                  </a:r>
                  <a:r>
                    <a:rPr lang="en-US" sz="700">
                      <a:solidFill>
                        <a:schemeClr val="bg1">
                          <a:lumMod val="50000"/>
                        </a:schemeClr>
                      </a:solidFill>
                      <a:latin typeface="+mj-lt"/>
                      <a:cs typeface="CiscoSansTT" panose="020B0503020201020303" pitchFamily="34" charset="0"/>
                    </a:rPr>
                    <a:t>Integrations   Orchestration   Administration</a:t>
                  </a:r>
                </a:p>
              </p:txBody>
            </p:sp>
            <p:pic>
              <p:nvPicPr>
                <p:cNvPr id="168" name="Picture 167" descr="A picture containing flower&#10;&#10;Description generated with very high confidence">
                  <a:extLst>
                    <a:ext uri="{FF2B5EF4-FFF2-40B4-BE49-F238E27FC236}">
                      <a16:creationId xmlns:a16="http://schemas.microsoft.com/office/drawing/2014/main" id="{B322370B-28C1-4E47-ACB6-ACD22BF3B1E1}"/>
                    </a:ext>
                  </a:extLst>
                </p:cNvPr>
                <p:cNvPicPr>
                  <a:picLocks noChangeAspect="1"/>
                </p:cNvPicPr>
                <p:nvPr/>
              </p:nvPicPr>
              <p:blipFill rotWithShape="1">
                <a:blip r:embed="rId6" cstate="screen">
                  <a:extLst>
                    <a:ext uri="{28A0092B-C50C-407E-A947-70E740481C1C}">
                      <a14:useLocalDpi xmlns:a14="http://schemas.microsoft.com/office/drawing/2010/main"/>
                    </a:ext>
                  </a:extLst>
                </a:blip>
                <a:stretch/>
              </p:blipFill>
              <p:spPr>
                <a:xfrm>
                  <a:off x="590683" y="1371908"/>
                  <a:ext cx="775880" cy="173202"/>
                </a:xfrm>
                <a:prstGeom prst="rect">
                  <a:avLst/>
                </a:prstGeom>
              </p:spPr>
            </p:pic>
            <p:cxnSp>
              <p:nvCxnSpPr>
                <p:cNvPr id="169" name="Straight Connector 168">
                  <a:extLst>
                    <a:ext uri="{FF2B5EF4-FFF2-40B4-BE49-F238E27FC236}">
                      <a16:creationId xmlns:a16="http://schemas.microsoft.com/office/drawing/2014/main" id="{767AA776-BBFA-F547-B41B-BBA1FE0363E2}"/>
                    </a:ext>
                  </a:extLst>
                </p:cNvPr>
                <p:cNvCxnSpPr>
                  <a:cxnSpLocks/>
                </p:cNvCxnSpPr>
                <p:nvPr/>
              </p:nvCxnSpPr>
              <p:spPr>
                <a:xfrm>
                  <a:off x="1334823" y="1562011"/>
                  <a:ext cx="59140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0" name="Rectangle 169">
                  <a:extLst>
                    <a:ext uri="{FF2B5EF4-FFF2-40B4-BE49-F238E27FC236}">
                      <a16:creationId xmlns:a16="http://schemas.microsoft.com/office/drawing/2014/main" id="{5879BCAD-A57E-0D44-B748-C718BECBEAAE}"/>
                    </a:ext>
                  </a:extLst>
                </p:cNvPr>
                <p:cNvSpPr/>
                <p:nvPr/>
              </p:nvSpPr>
              <p:spPr>
                <a:xfrm>
                  <a:off x="1400031" y="1654701"/>
                  <a:ext cx="2620077" cy="144655"/>
                </a:xfrm>
                <a:prstGeom prst="rect">
                  <a:avLst/>
                </a:prstGeom>
                <a:noFill/>
                <a:ln w="6350">
                  <a:noFill/>
                </a:ln>
              </p:spPr>
              <p:txBody>
                <a:bodyPr wrap="square" lIns="45720" tIns="18288" rIns="45720" bIns="18288">
                  <a:spAutoFit/>
                </a:bodyPr>
                <a:lstStyle/>
                <a:p>
                  <a:r>
                    <a:rPr lang="en-US" sz="700" dirty="0">
                      <a:solidFill>
                        <a:schemeClr val="bg1">
                          <a:lumMod val="50000"/>
                        </a:schemeClr>
                      </a:solidFill>
                      <a:latin typeface="+mj-lt"/>
                      <a:cs typeface="CiscoSansTT" panose="020B0503020201020303" pitchFamily="34" charset="0"/>
                    </a:rPr>
                    <a:t>NetOps</a:t>
                  </a:r>
                  <a:r>
                    <a:rPr lang="en-US" sz="700" dirty="0">
                      <a:solidFill>
                        <a:srgbClr val="0D274D"/>
                      </a:solidFill>
                      <a:latin typeface="+mj-lt"/>
                      <a:cs typeface="CiscoSansTT" panose="020B0503020201020303" pitchFamily="34" charset="0"/>
                    </a:rPr>
                    <a:t>     SecOps     </a:t>
                  </a:r>
                  <a:r>
                    <a:rPr lang="en-US" sz="700" dirty="0">
                      <a:solidFill>
                        <a:schemeClr val="bg1">
                          <a:lumMod val="50000"/>
                        </a:schemeClr>
                      </a:solidFill>
                      <a:latin typeface="+mj-lt"/>
                      <a:cs typeface="CiscoSansTT" panose="020B0503020201020303" pitchFamily="34" charset="0"/>
                    </a:rPr>
                    <a:t>ITOps</a:t>
                  </a:r>
                  <a:r>
                    <a:rPr lang="en-US" sz="700" dirty="0">
                      <a:solidFill>
                        <a:srgbClr val="0D274D"/>
                      </a:solidFill>
                      <a:latin typeface="+mj-lt"/>
                      <a:cs typeface="CiscoSansTT" panose="020B0503020201020303" pitchFamily="34" charset="0"/>
                    </a:rPr>
                    <a:t>                                 </a:t>
                  </a:r>
                  <a:r>
                    <a:rPr lang="en-US" sz="700" dirty="0">
                      <a:solidFill>
                        <a:srgbClr val="0D274D"/>
                      </a:solidFill>
                      <a:cs typeface="CiscoSansTT" panose="020B0503020201020303" pitchFamily="34" charset="0"/>
                    </a:rPr>
                    <a:t>🁢</a:t>
                  </a:r>
                  <a:r>
                    <a:rPr lang="en-US" sz="700" dirty="0">
                      <a:solidFill>
                        <a:schemeClr val="bg1">
                          <a:lumMod val="50000"/>
                        </a:schemeClr>
                      </a:solidFill>
                      <a:latin typeface="+mj-lt"/>
                      <a:cs typeface="CiscoSansTT" panose="020B0503020201020303" pitchFamily="34" charset="0"/>
                    </a:rPr>
                    <a:t>Customize</a:t>
                  </a:r>
                </a:p>
              </p:txBody>
            </p:sp>
            <p:cxnSp>
              <p:nvCxnSpPr>
                <p:cNvPr id="171" name="Straight Connector 170">
                  <a:extLst>
                    <a:ext uri="{FF2B5EF4-FFF2-40B4-BE49-F238E27FC236}">
                      <a16:creationId xmlns:a16="http://schemas.microsoft.com/office/drawing/2014/main" id="{864A6D15-6D36-DB4F-A1B2-14C776CF94BB}"/>
                    </a:ext>
                  </a:extLst>
                </p:cNvPr>
                <p:cNvCxnSpPr>
                  <a:cxnSpLocks/>
                </p:cNvCxnSpPr>
                <p:nvPr/>
              </p:nvCxnSpPr>
              <p:spPr>
                <a:xfrm>
                  <a:off x="1455703" y="1859880"/>
                  <a:ext cx="250216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F7BB7430-90AF-9840-980E-24787B5755C3}"/>
                    </a:ext>
                  </a:extLst>
                </p:cNvPr>
                <p:cNvCxnSpPr>
                  <a:cxnSpLocks/>
                </p:cNvCxnSpPr>
                <p:nvPr/>
              </p:nvCxnSpPr>
              <p:spPr>
                <a:xfrm>
                  <a:off x="1816861" y="1844766"/>
                  <a:ext cx="478816"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915A15A9-7B9E-4240-BAC4-479A28FB129E}"/>
                    </a:ext>
                  </a:extLst>
                </p:cNvPr>
                <p:cNvSpPr/>
                <p:nvPr/>
              </p:nvSpPr>
              <p:spPr>
                <a:xfrm>
                  <a:off x="4084651" y="1987834"/>
                  <a:ext cx="603576" cy="302954"/>
                </a:xfrm>
                <a:prstGeom prst="rect">
                  <a:avLst/>
                </a:prstGeom>
                <a:solidFill>
                  <a:schemeClr val="bg1"/>
                </a:solidFill>
                <a:ln w="6350">
                  <a:solidFill>
                    <a:schemeClr val="bg1">
                      <a:lumMod val="85000"/>
                    </a:schemeClr>
                  </a:solidFill>
                </a:ln>
              </p:spPr>
              <p:txBody>
                <a:bodyPr wrap="square" lIns="45720" tIns="18288" rIns="45720" bIns="18288">
                  <a:sp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175" name="Rectangle 174">
                  <a:extLst>
                    <a:ext uri="{FF2B5EF4-FFF2-40B4-BE49-F238E27FC236}">
                      <a16:creationId xmlns:a16="http://schemas.microsoft.com/office/drawing/2014/main" id="{DEAD2A55-E750-1D4B-9509-077F2CE4A1E9}"/>
                    </a:ext>
                  </a:extLst>
                </p:cNvPr>
                <p:cNvSpPr/>
                <p:nvPr/>
              </p:nvSpPr>
              <p:spPr>
                <a:xfrm>
                  <a:off x="4084650" y="1835337"/>
                  <a:ext cx="603576" cy="144655"/>
                </a:xfrm>
                <a:prstGeom prst="rect">
                  <a:avLst/>
                </a:prstGeom>
                <a:solidFill>
                  <a:schemeClr val="tx2">
                    <a:lumMod val="50000"/>
                  </a:schemeClr>
                </a:solidFill>
                <a:ln w="6350">
                  <a:solidFill>
                    <a:schemeClr val="bg1">
                      <a:lumMod val="85000"/>
                    </a:schemeClr>
                  </a:solidFill>
                </a:ln>
              </p:spPr>
              <p:txBody>
                <a:bodyPr wrap="square" lIns="45720" tIns="18288" rIns="45720" bIns="18288" anchor="ctr">
                  <a:spAutoFit/>
                </a:bodyPr>
                <a:lstStyle/>
                <a:p>
                  <a:r>
                    <a:rPr lang="en-US" sz="700">
                      <a:solidFill>
                        <a:schemeClr val="bg1"/>
                      </a:solidFill>
                      <a:cs typeface="CiscoSansTT" panose="020B0503020201020303" pitchFamily="34" charset="0"/>
                    </a:rPr>
                    <a:t>News</a:t>
                  </a:r>
                </a:p>
              </p:txBody>
            </p:sp>
            <p:sp>
              <p:nvSpPr>
                <p:cNvPr id="176" name="Rectangle 175">
                  <a:extLst>
                    <a:ext uri="{FF2B5EF4-FFF2-40B4-BE49-F238E27FC236}">
                      <a16:creationId xmlns:a16="http://schemas.microsoft.com/office/drawing/2014/main" id="{BA162124-E66B-5C46-877A-5C11ADDA0303}"/>
                    </a:ext>
                  </a:extLst>
                </p:cNvPr>
                <p:cNvSpPr/>
                <p:nvPr/>
              </p:nvSpPr>
              <p:spPr>
                <a:xfrm>
                  <a:off x="1452579" y="1933315"/>
                  <a:ext cx="1222881" cy="914824"/>
                </a:xfrm>
                <a:prstGeom prst="rect">
                  <a:avLst/>
                </a:prstGeom>
                <a:solidFill>
                  <a:srgbClr val="FEE4E4"/>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177" name="Rectangle 176">
                  <a:extLst>
                    <a:ext uri="{FF2B5EF4-FFF2-40B4-BE49-F238E27FC236}">
                      <a16:creationId xmlns:a16="http://schemas.microsoft.com/office/drawing/2014/main" id="{254CA3BF-9FE6-D442-B13A-ADCF4A9C0BBF}"/>
                    </a:ext>
                  </a:extLst>
                </p:cNvPr>
                <p:cNvSpPr/>
                <p:nvPr/>
              </p:nvSpPr>
              <p:spPr>
                <a:xfrm>
                  <a:off x="2731863" y="1933217"/>
                  <a:ext cx="1222881" cy="663319"/>
                </a:xfrm>
                <a:prstGeom prst="rect">
                  <a:avLst/>
                </a:prstGeom>
                <a:solidFill>
                  <a:srgbClr val="EDE5F9"/>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178" name="Rectangle 177">
                  <a:extLst>
                    <a:ext uri="{FF2B5EF4-FFF2-40B4-BE49-F238E27FC236}">
                      <a16:creationId xmlns:a16="http://schemas.microsoft.com/office/drawing/2014/main" id="{D8EAE369-50C6-444A-B0A9-52467AAD6613}"/>
                    </a:ext>
                  </a:extLst>
                </p:cNvPr>
                <p:cNvSpPr/>
                <p:nvPr/>
              </p:nvSpPr>
              <p:spPr>
                <a:xfrm>
                  <a:off x="1452579" y="2914004"/>
                  <a:ext cx="1222881" cy="629678"/>
                </a:xfrm>
                <a:prstGeom prst="rect">
                  <a:avLst/>
                </a:prstGeom>
                <a:solidFill>
                  <a:srgbClr val="E0EBDF"/>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179" name="Rectangle 178">
                  <a:extLst>
                    <a:ext uri="{FF2B5EF4-FFF2-40B4-BE49-F238E27FC236}">
                      <a16:creationId xmlns:a16="http://schemas.microsoft.com/office/drawing/2014/main" id="{F6EB3E7E-56D5-1345-A16A-976B12B50745}"/>
                    </a:ext>
                  </a:extLst>
                </p:cNvPr>
                <p:cNvSpPr/>
                <p:nvPr/>
              </p:nvSpPr>
              <p:spPr>
                <a:xfrm>
                  <a:off x="2731863" y="2656476"/>
                  <a:ext cx="579732" cy="887207"/>
                </a:xfrm>
                <a:prstGeom prst="rect">
                  <a:avLst/>
                </a:prstGeom>
                <a:solidFill>
                  <a:srgbClr val="E4EEF2"/>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180" name="Rectangle 179">
                  <a:extLst>
                    <a:ext uri="{FF2B5EF4-FFF2-40B4-BE49-F238E27FC236}">
                      <a16:creationId xmlns:a16="http://schemas.microsoft.com/office/drawing/2014/main" id="{0219AA0F-7FC7-7748-86DF-2C2D4662D15A}"/>
                    </a:ext>
                  </a:extLst>
                </p:cNvPr>
                <p:cNvSpPr/>
                <p:nvPr/>
              </p:nvSpPr>
              <p:spPr>
                <a:xfrm>
                  <a:off x="3367998" y="2662399"/>
                  <a:ext cx="579732" cy="881282"/>
                </a:xfrm>
                <a:prstGeom prst="rect">
                  <a:avLst/>
                </a:prstGeom>
                <a:solidFill>
                  <a:srgbClr val="E9EAFA"/>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grpSp>
              <p:nvGrpSpPr>
                <p:cNvPr id="181" name="Group 180">
                  <a:extLst>
                    <a:ext uri="{FF2B5EF4-FFF2-40B4-BE49-F238E27FC236}">
                      <a16:creationId xmlns:a16="http://schemas.microsoft.com/office/drawing/2014/main" id="{E23F1B39-3E1B-A74F-A42A-0D4BD6B6F45D}"/>
                    </a:ext>
                  </a:extLst>
                </p:cNvPr>
                <p:cNvGrpSpPr/>
                <p:nvPr/>
              </p:nvGrpSpPr>
              <p:grpSpPr>
                <a:xfrm>
                  <a:off x="1624184" y="2291759"/>
                  <a:ext cx="879679" cy="487361"/>
                  <a:chOff x="1565651" y="2162590"/>
                  <a:chExt cx="788612" cy="545303"/>
                </a:xfrm>
              </p:grpSpPr>
              <p:grpSp>
                <p:nvGrpSpPr>
                  <p:cNvPr id="249" name="Group 248">
                    <a:extLst>
                      <a:ext uri="{FF2B5EF4-FFF2-40B4-BE49-F238E27FC236}">
                        <a16:creationId xmlns:a16="http://schemas.microsoft.com/office/drawing/2014/main" id="{7E9D29BB-0DD4-0B44-A531-15DAE9BDBBE1}"/>
                      </a:ext>
                    </a:extLst>
                  </p:cNvPr>
                  <p:cNvGrpSpPr/>
                  <p:nvPr/>
                </p:nvGrpSpPr>
                <p:grpSpPr>
                  <a:xfrm>
                    <a:off x="1586058" y="2221677"/>
                    <a:ext cx="768205" cy="440851"/>
                    <a:chOff x="1713058" y="2221677"/>
                    <a:chExt cx="768205" cy="440851"/>
                  </a:xfrm>
                </p:grpSpPr>
                <p:cxnSp>
                  <p:nvCxnSpPr>
                    <p:cNvPr id="251" name="Straight Connector 250">
                      <a:extLst>
                        <a:ext uri="{FF2B5EF4-FFF2-40B4-BE49-F238E27FC236}">
                          <a16:creationId xmlns:a16="http://schemas.microsoft.com/office/drawing/2014/main" id="{70BD8C28-8C5D-1E42-A527-A608F013E9F6}"/>
                        </a:ext>
                      </a:extLst>
                    </p:cNvPr>
                    <p:cNvCxnSpPr/>
                    <p:nvPr/>
                  </p:nvCxnSpPr>
                  <p:spPr>
                    <a:xfrm>
                      <a:off x="1713058" y="2221677"/>
                      <a:ext cx="3671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9D1A6171-B172-D74B-A5B5-97E3ECC88F5A}"/>
                        </a:ext>
                      </a:extLst>
                    </p:cNvPr>
                    <p:cNvCxnSpPr>
                      <a:cxnSpLocks/>
                    </p:cNvCxnSpPr>
                    <p:nvPr/>
                  </p:nvCxnSpPr>
                  <p:spPr>
                    <a:xfrm>
                      <a:off x="1713058" y="2331890"/>
                      <a:ext cx="76820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5E1D7444-69C9-5645-BD76-B6B897537DE8}"/>
                        </a:ext>
                      </a:extLst>
                    </p:cNvPr>
                    <p:cNvCxnSpPr>
                      <a:cxnSpLocks/>
                    </p:cNvCxnSpPr>
                    <p:nvPr/>
                  </p:nvCxnSpPr>
                  <p:spPr>
                    <a:xfrm>
                      <a:off x="1713058" y="2442103"/>
                      <a:ext cx="587436"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2ED10641-6614-4D4A-8DC8-92972D46CED4}"/>
                        </a:ext>
                      </a:extLst>
                    </p:cNvPr>
                    <p:cNvCxnSpPr>
                      <a:cxnSpLocks/>
                    </p:cNvCxnSpPr>
                    <p:nvPr/>
                  </p:nvCxnSpPr>
                  <p:spPr>
                    <a:xfrm>
                      <a:off x="1713058" y="2552316"/>
                      <a:ext cx="367175"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8CF841CC-212F-2243-9258-27E6531A4F82}"/>
                        </a:ext>
                      </a:extLst>
                    </p:cNvPr>
                    <p:cNvCxnSpPr>
                      <a:cxnSpLocks/>
                    </p:cNvCxnSpPr>
                    <p:nvPr/>
                  </p:nvCxnSpPr>
                  <p:spPr>
                    <a:xfrm>
                      <a:off x="1713058" y="2662528"/>
                      <a:ext cx="219136"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cxnSp>
                <p:nvCxnSpPr>
                  <p:cNvPr id="250" name="Straight Connector 249">
                    <a:extLst>
                      <a:ext uri="{FF2B5EF4-FFF2-40B4-BE49-F238E27FC236}">
                        <a16:creationId xmlns:a16="http://schemas.microsoft.com/office/drawing/2014/main" id="{6F7465E9-1EDE-F245-8BE9-E991D8A88C50}"/>
                      </a:ext>
                    </a:extLst>
                  </p:cNvPr>
                  <p:cNvCxnSpPr>
                    <a:cxnSpLocks/>
                  </p:cNvCxnSpPr>
                  <p:nvPr/>
                </p:nvCxnSpPr>
                <p:spPr>
                  <a:xfrm>
                    <a:off x="1565651" y="2162590"/>
                    <a:ext cx="0" cy="545303"/>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182" name="Straight Connector 181">
                  <a:extLst>
                    <a:ext uri="{FF2B5EF4-FFF2-40B4-BE49-F238E27FC236}">
                      <a16:creationId xmlns:a16="http://schemas.microsoft.com/office/drawing/2014/main" id="{26D0D28B-FD2E-014F-B7E2-B3F393A897DA}"/>
                    </a:ext>
                  </a:extLst>
                </p:cNvPr>
                <p:cNvCxnSpPr>
                  <a:cxnSpLocks/>
                </p:cNvCxnSpPr>
                <p:nvPr/>
              </p:nvCxnSpPr>
              <p:spPr>
                <a:xfrm>
                  <a:off x="2794207" y="2012759"/>
                  <a:ext cx="806238"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183" name="Group 182">
                  <a:extLst>
                    <a:ext uri="{FF2B5EF4-FFF2-40B4-BE49-F238E27FC236}">
                      <a16:creationId xmlns:a16="http://schemas.microsoft.com/office/drawing/2014/main" id="{E6DE5D01-759D-6F42-BE98-6B114D570272}"/>
                    </a:ext>
                  </a:extLst>
                </p:cNvPr>
                <p:cNvGrpSpPr/>
                <p:nvPr/>
              </p:nvGrpSpPr>
              <p:grpSpPr>
                <a:xfrm>
                  <a:off x="2854728" y="2141020"/>
                  <a:ext cx="456876" cy="330330"/>
                  <a:chOff x="2686957" y="2413248"/>
                  <a:chExt cx="276436" cy="330330"/>
                </a:xfrm>
              </p:grpSpPr>
              <p:cxnSp>
                <p:nvCxnSpPr>
                  <p:cNvPr id="242" name="Straight Connector 241">
                    <a:extLst>
                      <a:ext uri="{FF2B5EF4-FFF2-40B4-BE49-F238E27FC236}">
                        <a16:creationId xmlns:a16="http://schemas.microsoft.com/office/drawing/2014/main" id="{27D52658-F2C4-3441-BB84-2B7F2F654E16}"/>
                      </a:ext>
                    </a:extLst>
                  </p:cNvPr>
                  <p:cNvCxnSpPr>
                    <a:cxnSpLocks/>
                  </p:cNvCxnSpPr>
                  <p:nvPr/>
                </p:nvCxnSpPr>
                <p:spPr>
                  <a:xfrm>
                    <a:off x="2686957" y="2413248"/>
                    <a:ext cx="2764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E432B95F-689E-CA4C-B1AB-0DB25356C05E}"/>
                      </a:ext>
                    </a:extLst>
                  </p:cNvPr>
                  <p:cNvCxnSpPr>
                    <a:cxnSpLocks/>
                  </p:cNvCxnSpPr>
                  <p:nvPr/>
                </p:nvCxnSpPr>
                <p:spPr>
                  <a:xfrm>
                    <a:off x="2686957" y="2468303"/>
                    <a:ext cx="2002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570D286B-9EC6-7144-9275-A0DAE3BAB77F}"/>
                      </a:ext>
                    </a:extLst>
                  </p:cNvPr>
                  <p:cNvCxnSpPr>
                    <a:cxnSpLocks/>
                  </p:cNvCxnSpPr>
                  <p:nvPr/>
                </p:nvCxnSpPr>
                <p:spPr>
                  <a:xfrm>
                    <a:off x="2686957" y="2523358"/>
                    <a:ext cx="14308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D12FC88D-4DFC-8A4D-B3C6-644C3BD9C3EF}"/>
                      </a:ext>
                    </a:extLst>
                  </p:cNvPr>
                  <p:cNvCxnSpPr>
                    <a:cxnSpLocks/>
                  </p:cNvCxnSpPr>
                  <p:nvPr/>
                </p:nvCxnSpPr>
                <p:spPr>
                  <a:xfrm>
                    <a:off x="2686957" y="2578413"/>
                    <a:ext cx="235953"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EBC6BE0A-9BC9-ED42-B711-DFA470D66119}"/>
                      </a:ext>
                    </a:extLst>
                  </p:cNvPr>
                  <p:cNvCxnSpPr>
                    <a:cxnSpLocks/>
                  </p:cNvCxnSpPr>
                  <p:nvPr/>
                </p:nvCxnSpPr>
                <p:spPr>
                  <a:xfrm>
                    <a:off x="2686957" y="2633468"/>
                    <a:ext cx="2002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A675BF46-6D3C-EA44-9194-3349881AD707}"/>
                      </a:ext>
                    </a:extLst>
                  </p:cNvPr>
                  <p:cNvCxnSpPr>
                    <a:cxnSpLocks/>
                  </p:cNvCxnSpPr>
                  <p:nvPr/>
                </p:nvCxnSpPr>
                <p:spPr>
                  <a:xfrm>
                    <a:off x="2686959" y="2688523"/>
                    <a:ext cx="2764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4B7691BB-21BB-854E-9B59-E8CFD236B1E4}"/>
                      </a:ext>
                    </a:extLst>
                  </p:cNvPr>
                  <p:cNvCxnSpPr>
                    <a:cxnSpLocks/>
                  </p:cNvCxnSpPr>
                  <p:nvPr/>
                </p:nvCxnSpPr>
                <p:spPr>
                  <a:xfrm>
                    <a:off x="2686958" y="2743578"/>
                    <a:ext cx="2764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84" name="Group 183">
                  <a:extLst>
                    <a:ext uri="{FF2B5EF4-FFF2-40B4-BE49-F238E27FC236}">
                      <a16:creationId xmlns:a16="http://schemas.microsoft.com/office/drawing/2014/main" id="{7B6AEAFB-CBB9-C148-9F6D-837391C0EF25}"/>
                    </a:ext>
                  </a:extLst>
                </p:cNvPr>
                <p:cNvGrpSpPr/>
                <p:nvPr/>
              </p:nvGrpSpPr>
              <p:grpSpPr>
                <a:xfrm>
                  <a:off x="3413568" y="2126205"/>
                  <a:ext cx="417783" cy="416018"/>
                  <a:chOff x="3217939" y="2132110"/>
                  <a:chExt cx="374534" cy="372952"/>
                </a:xfrm>
              </p:grpSpPr>
              <p:sp>
                <p:nvSpPr>
                  <p:cNvPr id="237" name="Block Arc 236">
                    <a:extLst>
                      <a:ext uri="{FF2B5EF4-FFF2-40B4-BE49-F238E27FC236}">
                        <a16:creationId xmlns:a16="http://schemas.microsoft.com/office/drawing/2014/main" id="{53CFDEF5-A5B6-1644-A557-9036C783B7D1}"/>
                      </a:ext>
                    </a:extLst>
                  </p:cNvPr>
                  <p:cNvSpPr/>
                  <p:nvPr/>
                </p:nvSpPr>
                <p:spPr>
                  <a:xfrm rot="4034695">
                    <a:off x="3217939" y="2132110"/>
                    <a:ext cx="372952" cy="372952"/>
                  </a:xfrm>
                  <a:prstGeom prst="blockArc">
                    <a:avLst>
                      <a:gd name="adj1" fmla="val 11441416"/>
                      <a:gd name="adj2" fmla="val 16290209"/>
                      <a:gd name="adj3" fmla="val 21897"/>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grpSp>
                <p:nvGrpSpPr>
                  <p:cNvPr id="238" name="Group 237">
                    <a:extLst>
                      <a:ext uri="{FF2B5EF4-FFF2-40B4-BE49-F238E27FC236}">
                        <a16:creationId xmlns:a16="http://schemas.microsoft.com/office/drawing/2014/main" id="{77477782-5642-7344-A7EC-D9748067598A}"/>
                      </a:ext>
                    </a:extLst>
                  </p:cNvPr>
                  <p:cNvGrpSpPr/>
                  <p:nvPr/>
                </p:nvGrpSpPr>
                <p:grpSpPr>
                  <a:xfrm>
                    <a:off x="3219521" y="2132110"/>
                    <a:ext cx="372952" cy="372952"/>
                    <a:chOff x="3219521" y="2132110"/>
                    <a:chExt cx="372952" cy="372952"/>
                  </a:xfrm>
                </p:grpSpPr>
                <p:sp>
                  <p:nvSpPr>
                    <p:cNvPr id="239" name="Block Arc 238">
                      <a:extLst>
                        <a:ext uri="{FF2B5EF4-FFF2-40B4-BE49-F238E27FC236}">
                          <a16:creationId xmlns:a16="http://schemas.microsoft.com/office/drawing/2014/main" id="{2D21005B-BFEB-A54A-B15E-AA3CB63D83E2}"/>
                        </a:ext>
                      </a:extLst>
                    </p:cNvPr>
                    <p:cNvSpPr/>
                    <p:nvPr/>
                  </p:nvSpPr>
                  <p:spPr>
                    <a:xfrm>
                      <a:off x="3219521" y="2132110"/>
                      <a:ext cx="372952" cy="372952"/>
                    </a:xfrm>
                    <a:prstGeom prst="blockArc">
                      <a:avLst>
                        <a:gd name="adj1" fmla="val 10800000"/>
                        <a:gd name="adj2" fmla="val 16290209"/>
                        <a:gd name="adj3" fmla="val 21897"/>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40" name="Block Arc 239">
                      <a:extLst>
                        <a:ext uri="{FF2B5EF4-FFF2-40B4-BE49-F238E27FC236}">
                          <a16:creationId xmlns:a16="http://schemas.microsoft.com/office/drawing/2014/main" id="{2EC31E23-B72A-C848-B8B6-27F32EC09B69}"/>
                        </a:ext>
                      </a:extLst>
                    </p:cNvPr>
                    <p:cNvSpPr/>
                    <p:nvPr/>
                  </p:nvSpPr>
                  <p:spPr>
                    <a:xfrm rot="17100000">
                      <a:off x="3219521" y="2132110"/>
                      <a:ext cx="372952" cy="372952"/>
                    </a:xfrm>
                    <a:prstGeom prst="blockArc">
                      <a:avLst>
                        <a:gd name="adj1" fmla="val 4033828"/>
                        <a:gd name="adj2" fmla="val 16290209"/>
                        <a:gd name="adj3" fmla="val 21897"/>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sp>
                  <p:nvSpPr>
                    <p:cNvPr id="241" name="Block Arc 240">
                      <a:extLst>
                        <a:ext uri="{FF2B5EF4-FFF2-40B4-BE49-F238E27FC236}">
                          <a16:creationId xmlns:a16="http://schemas.microsoft.com/office/drawing/2014/main" id="{8CFDA25D-EB05-3A46-ADB9-A2405A8A7E73}"/>
                        </a:ext>
                      </a:extLst>
                    </p:cNvPr>
                    <p:cNvSpPr/>
                    <p:nvPr/>
                  </p:nvSpPr>
                  <p:spPr>
                    <a:xfrm rot="4895389">
                      <a:off x="3219521" y="2132110"/>
                      <a:ext cx="372952" cy="372952"/>
                    </a:xfrm>
                    <a:prstGeom prst="blockArc">
                      <a:avLst>
                        <a:gd name="adj1" fmla="val 15075972"/>
                        <a:gd name="adj2" fmla="val 16290209"/>
                        <a:gd name="adj3" fmla="val 21897"/>
                      </a:avLst>
                    </a:prstGeom>
                    <a:solidFill>
                      <a:schemeClr val="accent3">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chemeClr val="tx1"/>
                        </a:solidFill>
                      </a:endParaRPr>
                    </a:p>
                  </p:txBody>
                </p:sp>
              </p:grpSp>
            </p:grpSp>
            <p:cxnSp>
              <p:nvCxnSpPr>
                <p:cNvPr id="185" name="Straight Connector 184">
                  <a:extLst>
                    <a:ext uri="{FF2B5EF4-FFF2-40B4-BE49-F238E27FC236}">
                      <a16:creationId xmlns:a16="http://schemas.microsoft.com/office/drawing/2014/main" id="{8FB7EAAA-215B-CE4C-9D4C-2F8C3AAFFFB1}"/>
                    </a:ext>
                  </a:extLst>
                </p:cNvPr>
                <p:cNvCxnSpPr>
                  <a:cxnSpLocks/>
                </p:cNvCxnSpPr>
                <p:nvPr/>
              </p:nvCxnSpPr>
              <p:spPr>
                <a:xfrm>
                  <a:off x="3566564" y="2336817"/>
                  <a:ext cx="111795"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86" name="Rectangle 102">
                  <a:extLst>
                    <a:ext uri="{FF2B5EF4-FFF2-40B4-BE49-F238E27FC236}">
                      <a16:creationId xmlns:a16="http://schemas.microsoft.com/office/drawing/2014/main" id="{BA69695F-348F-8E45-9FE1-3EC6E2F9C764}"/>
                    </a:ext>
                  </a:extLst>
                </p:cNvPr>
                <p:cNvSpPr/>
                <p:nvPr/>
              </p:nvSpPr>
              <p:spPr>
                <a:xfrm>
                  <a:off x="1554693" y="3164311"/>
                  <a:ext cx="1037873" cy="245796"/>
                </a:xfrm>
                <a:custGeom>
                  <a:avLst/>
                  <a:gdLst>
                    <a:gd name="connsiteX0" fmla="*/ 0 w 423040"/>
                    <a:gd name="connsiteY0" fmla="*/ 0 h 287826"/>
                    <a:gd name="connsiteX1" fmla="*/ 423040 w 423040"/>
                    <a:gd name="connsiteY1" fmla="*/ 0 h 287826"/>
                    <a:gd name="connsiteX2" fmla="*/ 423040 w 423040"/>
                    <a:gd name="connsiteY2" fmla="*/ 287826 h 287826"/>
                    <a:gd name="connsiteX3" fmla="*/ 0 w 423040"/>
                    <a:gd name="connsiteY3" fmla="*/ 287826 h 287826"/>
                    <a:gd name="connsiteX4" fmla="*/ 0 w 423040"/>
                    <a:gd name="connsiteY4" fmla="*/ 0 h 287826"/>
                    <a:gd name="connsiteX0" fmla="*/ 0 w 423040"/>
                    <a:gd name="connsiteY0" fmla="*/ 5491 h 293317"/>
                    <a:gd name="connsiteX1" fmla="*/ 254157 w 423040"/>
                    <a:gd name="connsiteY1" fmla="*/ 0 h 293317"/>
                    <a:gd name="connsiteX2" fmla="*/ 423040 w 423040"/>
                    <a:gd name="connsiteY2" fmla="*/ 5491 h 293317"/>
                    <a:gd name="connsiteX3" fmla="*/ 423040 w 423040"/>
                    <a:gd name="connsiteY3" fmla="*/ 293317 h 293317"/>
                    <a:gd name="connsiteX4" fmla="*/ 0 w 423040"/>
                    <a:gd name="connsiteY4" fmla="*/ 293317 h 293317"/>
                    <a:gd name="connsiteX5" fmla="*/ 0 w 423040"/>
                    <a:gd name="connsiteY5" fmla="*/ 5491 h 293317"/>
                    <a:gd name="connsiteX0" fmla="*/ 0 w 533557"/>
                    <a:gd name="connsiteY0" fmla="*/ 151541 h 439367"/>
                    <a:gd name="connsiteX1" fmla="*/ 533557 w 533557"/>
                    <a:gd name="connsiteY1" fmla="*/ 0 h 439367"/>
                    <a:gd name="connsiteX2" fmla="*/ 423040 w 533557"/>
                    <a:gd name="connsiteY2" fmla="*/ 151541 h 439367"/>
                    <a:gd name="connsiteX3" fmla="*/ 423040 w 533557"/>
                    <a:gd name="connsiteY3" fmla="*/ 439367 h 439367"/>
                    <a:gd name="connsiteX4" fmla="*/ 0 w 533557"/>
                    <a:gd name="connsiteY4" fmla="*/ 439367 h 439367"/>
                    <a:gd name="connsiteX5" fmla="*/ 0 w 533557"/>
                    <a:gd name="connsiteY5" fmla="*/ 151541 h 439367"/>
                    <a:gd name="connsiteX0" fmla="*/ 0 w 533557"/>
                    <a:gd name="connsiteY0" fmla="*/ 151541 h 439367"/>
                    <a:gd name="connsiteX1" fmla="*/ 533557 w 533557"/>
                    <a:gd name="connsiteY1" fmla="*/ 0 h 439367"/>
                    <a:gd name="connsiteX2" fmla="*/ 423040 w 533557"/>
                    <a:gd name="connsiteY2" fmla="*/ 151541 h 439367"/>
                    <a:gd name="connsiteX3" fmla="*/ 423040 w 533557"/>
                    <a:gd name="connsiteY3" fmla="*/ 439367 h 439367"/>
                    <a:gd name="connsiteX4" fmla="*/ 0 w 533557"/>
                    <a:gd name="connsiteY4" fmla="*/ 439367 h 439367"/>
                    <a:gd name="connsiteX5" fmla="*/ 91440 w 533557"/>
                    <a:gd name="connsiteY5" fmla="*/ 242981 h 439367"/>
                    <a:gd name="connsiteX0" fmla="*/ 127635 w 661192"/>
                    <a:gd name="connsiteY0" fmla="*/ 151541 h 439367"/>
                    <a:gd name="connsiteX1" fmla="*/ 661192 w 661192"/>
                    <a:gd name="connsiteY1" fmla="*/ 0 h 439367"/>
                    <a:gd name="connsiteX2" fmla="*/ 550675 w 661192"/>
                    <a:gd name="connsiteY2" fmla="*/ 151541 h 439367"/>
                    <a:gd name="connsiteX3" fmla="*/ 550675 w 661192"/>
                    <a:gd name="connsiteY3" fmla="*/ 439367 h 439367"/>
                    <a:gd name="connsiteX4" fmla="*/ 127635 w 661192"/>
                    <a:gd name="connsiteY4" fmla="*/ 439367 h 439367"/>
                    <a:gd name="connsiteX5" fmla="*/ 0 w 661192"/>
                    <a:gd name="connsiteY5" fmla="*/ 290606 h 439367"/>
                    <a:gd name="connsiteX0" fmla="*/ 0 w 533557"/>
                    <a:gd name="connsiteY0" fmla="*/ 151541 h 439367"/>
                    <a:gd name="connsiteX1" fmla="*/ 533557 w 533557"/>
                    <a:gd name="connsiteY1" fmla="*/ 0 h 439367"/>
                    <a:gd name="connsiteX2" fmla="*/ 423040 w 533557"/>
                    <a:gd name="connsiteY2" fmla="*/ 151541 h 439367"/>
                    <a:gd name="connsiteX3" fmla="*/ 423040 w 533557"/>
                    <a:gd name="connsiteY3" fmla="*/ 439367 h 439367"/>
                    <a:gd name="connsiteX4" fmla="*/ 0 w 533557"/>
                    <a:gd name="connsiteY4" fmla="*/ 439367 h 439367"/>
                    <a:gd name="connsiteX0" fmla="*/ 0 w 616107"/>
                    <a:gd name="connsiteY0" fmla="*/ 354741 h 439367"/>
                    <a:gd name="connsiteX1" fmla="*/ 616107 w 616107"/>
                    <a:gd name="connsiteY1" fmla="*/ 0 h 439367"/>
                    <a:gd name="connsiteX2" fmla="*/ 505590 w 616107"/>
                    <a:gd name="connsiteY2" fmla="*/ 151541 h 439367"/>
                    <a:gd name="connsiteX3" fmla="*/ 505590 w 616107"/>
                    <a:gd name="connsiteY3" fmla="*/ 439367 h 439367"/>
                    <a:gd name="connsiteX4" fmla="*/ 82550 w 616107"/>
                    <a:gd name="connsiteY4" fmla="*/ 439367 h 439367"/>
                    <a:gd name="connsiteX0" fmla="*/ 0 w 505590"/>
                    <a:gd name="connsiteY0" fmla="*/ 203200 h 287826"/>
                    <a:gd name="connsiteX1" fmla="*/ 98582 w 505590"/>
                    <a:gd name="connsiteY1" fmla="*/ 859 h 287826"/>
                    <a:gd name="connsiteX2" fmla="*/ 505590 w 505590"/>
                    <a:gd name="connsiteY2" fmla="*/ 0 h 287826"/>
                    <a:gd name="connsiteX3" fmla="*/ 505590 w 505590"/>
                    <a:gd name="connsiteY3" fmla="*/ 287826 h 287826"/>
                    <a:gd name="connsiteX4" fmla="*/ 82550 w 505590"/>
                    <a:gd name="connsiteY4" fmla="*/ 287826 h 287826"/>
                    <a:gd name="connsiteX0" fmla="*/ 0 w 505590"/>
                    <a:gd name="connsiteY0" fmla="*/ 202341 h 286967"/>
                    <a:gd name="connsiteX1" fmla="*/ 98582 w 505590"/>
                    <a:gd name="connsiteY1" fmla="*/ 0 h 286967"/>
                    <a:gd name="connsiteX2" fmla="*/ 197615 w 505590"/>
                    <a:gd name="connsiteY2" fmla="*/ 157891 h 286967"/>
                    <a:gd name="connsiteX3" fmla="*/ 505590 w 505590"/>
                    <a:gd name="connsiteY3" fmla="*/ 286967 h 286967"/>
                    <a:gd name="connsiteX4" fmla="*/ 82550 w 505590"/>
                    <a:gd name="connsiteY4" fmla="*/ 286967 h 286967"/>
                    <a:gd name="connsiteX0" fmla="*/ 0 w 270640"/>
                    <a:gd name="connsiteY0" fmla="*/ 299549 h 384175"/>
                    <a:gd name="connsiteX1" fmla="*/ 98582 w 270640"/>
                    <a:gd name="connsiteY1" fmla="*/ 97208 h 384175"/>
                    <a:gd name="connsiteX2" fmla="*/ 197615 w 270640"/>
                    <a:gd name="connsiteY2" fmla="*/ 255099 h 384175"/>
                    <a:gd name="connsiteX3" fmla="*/ 270640 w 270640"/>
                    <a:gd name="connsiteY3" fmla="*/ 0 h 384175"/>
                    <a:gd name="connsiteX4" fmla="*/ 82550 w 270640"/>
                    <a:gd name="connsiteY4" fmla="*/ 384175 h 384175"/>
                    <a:gd name="connsiteX0" fmla="*/ 0 w 365125"/>
                    <a:gd name="connsiteY0" fmla="*/ 299549 h 301625"/>
                    <a:gd name="connsiteX1" fmla="*/ 98582 w 365125"/>
                    <a:gd name="connsiteY1" fmla="*/ 97208 h 301625"/>
                    <a:gd name="connsiteX2" fmla="*/ 197615 w 365125"/>
                    <a:gd name="connsiteY2" fmla="*/ 255099 h 301625"/>
                    <a:gd name="connsiteX3" fmla="*/ 270640 w 365125"/>
                    <a:gd name="connsiteY3" fmla="*/ 0 h 301625"/>
                    <a:gd name="connsiteX4" fmla="*/ 365125 w 365125"/>
                    <a:gd name="connsiteY4" fmla="*/ 301625 h 301625"/>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692150 w 692150"/>
                    <a:gd name="connsiteY4" fmla="*/ 295275 h 299549"/>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603406 w 692150"/>
                    <a:gd name="connsiteY4" fmla="*/ 233733 h 299549"/>
                    <a:gd name="connsiteX5" fmla="*/ 692150 w 692150"/>
                    <a:gd name="connsiteY5" fmla="*/ 295275 h 299549"/>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692150 w 692150"/>
                    <a:gd name="connsiteY4" fmla="*/ 295275 h 299549"/>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606581 w 692150"/>
                    <a:gd name="connsiteY4" fmla="*/ 230558 h 299549"/>
                    <a:gd name="connsiteX5" fmla="*/ 692150 w 692150"/>
                    <a:gd name="connsiteY5" fmla="*/ 295275 h 299549"/>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625631 w 692150"/>
                    <a:gd name="connsiteY4" fmla="*/ 122608 h 299549"/>
                    <a:gd name="connsiteX5" fmla="*/ 692150 w 692150"/>
                    <a:gd name="connsiteY5" fmla="*/ 295275 h 299549"/>
                    <a:gd name="connsiteX0" fmla="*/ 0 w 692150"/>
                    <a:gd name="connsiteY0" fmla="*/ 299549 h 299549"/>
                    <a:gd name="connsiteX1" fmla="*/ 98582 w 692150"/>
                    <a:gd name="connsiteY1" fmla="*/ 97208 h 299549"/>
                    <a:gd name="connsiteX2" fmla="*/ 197615 w 692150"/>
                    <a:gd name="connsiteY2" fmla="*/ 255099 h 299549"/>
                    <a:gd name="connsiteX3" fmla="*/ 270640 w 692150"/>
                    <a:gd name="connsiteY3" fmla="*/ 0 h 299549"/>
                    <a:gd name="connsiteX4" fmla="*/ 555781 w 692150"/>
                    <a:gd name="connsiteY4" fmla="*/ 167058 h 299549"/>
                    <a:gd name="connsiteX5" fmla="*/ 625631 w 692150"/>
                    <a:gd name="connsiteY5" fmla="*/ 122608 h 299549"/>
                    <a:gd name="connsiteX6" fmla="*/ 692150 w 692150"/>
                    <a:gd name="connsiteY6" fmla="*/ 295275 h 299549"/>
                    <a:gd name="connsiteX0" fmla="*/ 0 w 692150"/>
                    <a:gd name="connsiteY0" fmla="*/ 304995 h 304995"/>
                    <a:gd name="connsiteX1" fmla="*/ 98582 w 692150"/>
                    <a:gd name="connsiteY1" fmla="*/ 102654 h 304995"/>
                    <a:gd name="connsiteX2" fmla="*/ 197615 w 692150"/>
                    <a:gd name="connsiteY2" fmla="*/ 260545 h 304995"/>
                    <a:gd name="connsiteX3" fmla="*/ 270640 w 692150"/>
                    <a:gd name="connsiteY3" fmla="*/ 5446 h 304995"/>
                    <a:gd name="connsiteX4" fmla="*/ 466881 w 692150"/>
                    <a:gd name="connsiteY4" fmla="*/ 77254 h 304995"/>
                    <a:gd name="connsiteX5" fmla="*/ 555781 w 692150"/>
                    <a:gd name="connsiteY5" fmla="*/ 172504 h 304995"/>
                    <a:gd name="connsiteX6" fmla="*/ 625631 w 692150"/>
                    <a:gd name="connsiteY6" fmla="*/ 128054 h 304995"/>
                    <a:gd name="connsiteX7" fmla="*/ 692150 w 692150"/>
                    <a:gd name="connsiteY7" fmla="*/ 300721 h 304995"/>
                    <a:gd name="connsiteX0" fmla="*/ 0 w 692150"/>
                    <a:gd name="connsiteY0" fmla="*/ 311580 h 311580"/>
                    <a:gd name="connsiteX1" fmla="*/ 98582 w 692150"/>
                    <a:gd name="connsiteY1" fmla="*/ 109239 h 311580"/>
                    <a:gd name="connsiteX2" fmla="*/ 197615 w 692150"/>
                    <a:gd name="connsiteY2" fmla="*/ 267130 h 311580"/>
                    <a:gd name="connsiteX3" fmla="*/ 270640 w 692150"/>
                    <a:gd name="connsiteY3" fmla="*/ 12031 h 311580"/>
                    <a:gd name="connsiteX4" fmla="*/ 400206 w 692150"/>
                    <a:gd name="connsiteY4" fmla="*/ 45739 h 311580"/>
                    <a:gd name="connsiteX5" fmla="*/ 466881 w 692150"/>
                    <a:gd name="connsiteY5" fmla="*/ 83839 h 311580"/>
                    <a:gd name="connsiteX6" fmla="*/ 555781 w 692150"/>
                    <a:gd name="connsiteY6" fmla="*/ 179089 h 311580"/>
                    <a:gd name="connsiteX7" fmla="*/ 625631 w 692150"/>
                    <a:gd name="connsiteY7" fmla="*/ 134639 h 311580"/>
                    <a:gd name="connsiteX8" fmla="*/ 692150 w 692150"/>
                    <a:gd name="connsiteY8" fmla="*/ 307306 h 311580"/>
                    <a:gd name="connsiteX0" fmla="*/ 0 w 692150"/>
                    <a:gd name="connsiteY0" fmla="*/ 303761 h 303761"/>
                    <a:gd name="connsiteX1" fmla="*/ 98582 w 692150"/>
                    <a:gd name="connsiteY1" fmla="*/ 101420 h 303761"/>
                    <a:gd name="connsiteX2" fmla="*/ 197615 w 692150"/>
                    <a:gd name="connsiteY2" fmla="*/ 259311 h 303761"/>
                    <a:gd name="connsiteX3" fmla="*/ 270640 w 692150"/>
                    <a:gd name="connsiteY3" fmla="*/ 4212 h 303761"/>
                    <a:gd name="connsiteX4" fmla="*/ 397031 w 692150"/>
                    <a:gd name="connsiteY4" fmla="*/ 196670 h 303761"/>
                    <a:gd name="connsiteX5" fmla="*/ 466881 w 692150"/>
                    <a:gd name="connsiteY5" fmla="*/ 76020 h 303761"/>
                    <a:gd name="connsiteX6" fmla="*/ 555781 w 692150"/>
                    <a:gd name="connsiteY6" fmla="*/ 171270 h 303761"/>
                    <a:gd name="connsiteX7" fmla="*/ 625631 w 692150"/>
                    <a:gd name="connsiteY7" fmla="*/ 126820 h 303761"/>
                    <a:gd name="connsiteX8" fmla="*/ 692150 w 692150"/>
                    <a:gd name="connsiteY8" fmla="*/ 299487 h 303761"/>
                    <a:gd name="connsiteX0" fmla="*/ 0 w 692150"/>
                    <a:gd name="connsiteY0" fmla="*/ 304841 h 304841"/>
                    <a:gd name="connsiteX1" fmla="*/ 98582 w 692150"/>
                    <a:gd name="connsiteY1" fmla="*/ 102500 h 304841"/>
                    <a:gd name="connsiteX2" fmla="*/ 197615 w 692150"/>
                    <a:gd name="connsiteY2" fmla="*/ 260391 h 304841"/>
                    <a:gd name="connsiteX3" fmla="*/ 270640 w 692150"/>
                    <a:gd name="connsiteY3" fmla="*/ 5292 h 304841"/>
                    <a:gd name="connsiteX4" fmla="*/ 339881 w 692150"/>
                    <a:gd name="connsiteY4" fmla="*/ 96150 h 304841"/>
                    <a:gd name="connsiteX5" fmla="*/ 397031 w 692150"/>
                    <a:gd name="connsiteY5" fmla="*/ 197750 h 304841"/>
                    <a:gd name="connsiteX6" fmla="*/ 466881 w 692150"/>
                    <a:gd name="connsiteY6" fmla="*/ 77100 h 304841"/>
                    <a:gd name="connsiteX7" fmla="*/ 555781 w 692150"/>
                    <a:gd name="connsiteY7" fmla="*/ 172350 h 304841"/>
                    <a:gd name="connsiteX8" fmla="*/ 625631 w 692150"/>
                    <a:gd name="connsiteY8" fmla="*/ 127900 h 304841"/>
                    <a:gd name="connsiteX9" fmla="*/ 692150 w 692150"/>
                    <a:gd name="connsiteY9" fmla="*/ 300567 h 304841"/>
                    <a:gd name="connsiteX0" fmla="*/ 0 w 692150"/>
                    <a:gd name="connsiteY0" fmla="*/ 308870 h 308870"/>
                    <a:gd name="connsiteX1" fmla="*/ 98582 w 692150"/>
                    <a:gd name="connsiteY1" fmla="*/ 106529 h 308870"/>
                    <a:gd name="connsiteX2" fmla="*/ 197615 w 692150"/>
                    <a:gd name="connsiteY2" fmla="*/ 264420 h 308870"/>
                    <a:gd name="connsiteX3" fmla="*/ 270640 w 692150"/>
                    <a:gd name="connsiteY3" fmla="*/ 9321 h 308870"/>
                    <a:gd name="connsiteX4" fmla="*/ 362106 w 692150"/>
                    <a:gd name="connsiteY4" fmla="*/ 52554 h 308870"/>
                    <a:gd name="connsiteX5" fmla="*/ 397031 w 692150"/>
                    <a:gd name="connsiteY5" fmla="*/ 201779 h 308870"/>
                    <a:gd name="connsiteX6" fmla="*/ 466881 w 692150"/>
                    <a:gd name="connsiteY6" fmla="*/ 81129 h 308870"/>
                    <a:gd name="connsiteX7" fmla="*/ 555781 w 692150"/>
                    <a:gd name="connsiteY7" fmla="*/ 176379 h 308870"/>
                    <a:gd name="connsiteX8" fmla="*/ 625631 w 692150"/>
                    <a:gd name="connsiteY8" fmla="*/ 131929 h 308870"/>
                    <a:gd name="connsiteX9" fmla="*/ 692150 w 692150"/>
                    <a:gd name="connsiteY9" fmla="*/ 304596 h 308870"/>
                    <a:gd name="connsiteX0" fmla="*/ 0 w 692150"/>
                    <a:gd name="connsiteY0" fmla="*/ 319435 h 319435"/>
                    <a:gd name="connsiteX1" fmla="*/ 98582 w 692150"/>
                    <a:gd name="connsiteY1" fmla="*/ 117094 h 319435"/>
                    <a:gd name="connsiteX2" fmla="*/ 197615 w 692150"/>
                    <a:gd name="connsiteY2" fmla="*/ 274985 h 319435"/>
                    <a:gd name="connsiteX3" fmla="*/ 270640 w 692150"/>
                    <a:gd name="connsiteY3" fmla="*/ 19886 h 319435"/>
                    <a:gd name="connsiteX4" fmla="*/ 311306 w 692150"/>
                    <a:gd name="connsiteY4" fmla="*/ 21844 h 319435"/>
                    <a:gd name="connsiteX5" fmla="*/ 362106 w 692150"/>
                    <a:gd name="connsiteY5" fmla="*/ 63119 h 319435"/>
                    <a:gd name="connsiteX6" fmla="*/ 397031 w 692150"/>
                    <a:gd name="connsiteY6" fmla="*/ 212344 h 319435"/>
                    <a:gd name="connsiteX7" fmla="*/ 466881 w 692150"/>
                    <a:gd name="connsiteY7" fmla="*/ 91694 h 319435"/>
                    <a:gd name="connsiteX8" fmla="*/ 555781 w 692150"/>
                    <a:gd name="connsiteY8" fmla="*/ 186944 h 319435"/>
                    <a:gd name="connsiteX9" fmla="*/ 625631 w 692150"/>
                    <a:gd name="connsiteY9" fmla="*/ 142494 h 319435"/>
                    <a:gd name="connsiteX10" fmla="*/ 692150 w 692150"/>
                    <a:gd name="connsiteY10" fmla="*/ 315161 h 319435"/>
                    <a:gd name="connsiteX0" fmla="*/ 0 w 692150"/>
                    <a:gd name="connsiteY0" fmla="*/ 308006 h 308006"/>
                    <a:gd name="connsiteX1" fmla="*/ 98582 w 692150"/>
                    <a:gd name="connsiteY1" fmla="*/ 105665 h 308006"/>
                    <a:gd name="connsiteX2" fmla="*/ 197615 w 692150"/>
                    <a:gd name="connsiteY2" fmla="*/ 263556 h 308006"/>
                    <a:gd name="connsiteX3" fmla="*/ 270640 w 692150"/>
                    <a:gd name="connsiteY3" fmla="*/ 8457 h 308006"/>
                    <a:gd name="connsiteX4" fmla="*/ 311306 w 692150"/>
                    <a:gd name="connsiteY4" fmla="*/ 102490 h 308006"/>
                    <a:gd name="connsiteX5" fmla="*/ 362106 w 692150"/>
                    <a:gd name="connsiteY5" fmla="*/ 51690 h 308006"/>
                    <a:gd name="connsiteX6" fmla="*/ 397031 w 692150"/>
                    <a:gd name="connsiteY6" fmla="*/ 200915 h 308006"/>
                    <a:gd name="connsiteX7" fmla="*/ 466881 w 692150"/>
                    <a:gd name="connsiteY7" fmla="*/ 80265 h 308006"/>
                    <a:gd name="connsiteX8" fmla="*/ 555781 w 692150"/>
                    <a:gd name="connsiteY8" fmla="*/ 175515 h 308006"/>
                    <a:gd name="connsiteX9" fmla="*/ 625631 w 692150"/>
                    <a:gd name="connsiteY9" fmla="*/ 131065 h 308006"/>
                    <a:gd name="connsiteX10" fmla="*/ 692150 w 692150"/>
                    <a:gd name="connsiteY10" fmla="*/ 303732 h 308006"/>
                    <a:gd name="connsiteX0" fmla="*/ 0 w 692150"/>
                    <a:gd name="connsiteY0" fmla="*/ 308006 h 308006"/>
                    <a:gd name="connsiteX1" fmla="*/ 98582 w 692150"/>
                    <a:gd name="connsiteY1" fmla="*/ 105665 h 308006"/>
                    <a:gd name="connsiteX2" fmla="*/ 136681 w 692150"/>
                    <a:gd name="connsiteY2" fmla="*/ 175515 h 308006"/>
                    <a:gd name="connsiteX3" fmla="*/ 197615 w 692150"/>
                    <a:gd name="connsiteY3" fmla="*/ 263556 h 308006"/>
                    <a:gd name="connsiteX4" fmla="*/ 270640 w 692150"/>
                    <a:gd name="connsiteY4" fmla="*/ 8457 h 308006"/>
                    <a:gd name="connsiteX5" fmla="*/ 311306 w 692150"/>
                    <a:gd name="connsiteY5" fmla="*/ 102490 h 308006"/>
                    <a:gd name="connsiteX6" fmla="*/ 362106 w 692150"/>
                    <a:gd name="connsiteY6" fmla="*/ 51690 h 308006"/>
                    <a:gd name="connsiteX7" fmla="*/ 397031 w 692150"/>
                    <a:gd name="connsiteY7" fmla="*/ 200915 h 308006"/>
                    <a:gd name="connsiteX8" fmla="*/ 466881 w 692150"/>
                    <a:gd name="connsiteY8" fmla="*/ 80265 h 308006"/>
                    <a:gd name="connsiteX9" fmla="*/ 555781 w 692150"/>
                    <a:gd name="connsiteY9" fmla="*/ 175515 h 308006"/>
                    <a:gd name="connsiteX10" fmla="*/ 625631 w 692150"/>
                    <a:gd name="connsiteY10" fmla="*/ 131065 h 308006"/>
                    <a:gd name="connsiteX11" fmla="*/ 692150 w 692150"/>
                    <a:gd name="connsiteY11" fmla="*/ 303732 h 308006"/>
                    <a:gd name="connsiteX0" fmla="*/ 0 w 692150"/>
                    <a:gd name="connsiteY0" fmla="*/ 308006 h 308006"/>
                    <a:gd name="connsiteX1" fmla="*/ 98582 w 692150"/>
                    <a:gd name="connsiteY1" fmla="*/ 105665 h 308006"/>
                    <a:gd name="connsiteX2" fmla="*/ 123981 w 692150"/>
                    <a:gd name="connsiteY2" fmla="*/ 226315 h 308006"/>
                    <a:gd name="connsiteX3" fmla="*/ 197615 w 692150"/>
                    <a:gd name="connsiteY3" fmla="*/ 263556 h 308006"/>
                    <a:gd name="connsiteX4" fmla="*/ 270640 w 692150"/>
                    <a:gd name="connsiteY4" fmla="*/ 8457 h 308006"/>
                    <a:gd name="connsiteX5" fmla="*/ 311306 w 692150"/>
                    <a:gd name="connsiteY5" fmla="*/ 102490 h 308006"/>
                    <a:gd name="connsiteX6" fmla="*/ 362106 w 692150"/>
                    <a:gd name="connsiteY6" fmla="*/ 51690 h 308006"/>
                    <a:gd name="connsiteX7" fmla="*/ 397031 w 692150"/>
                    <a:gd name="connsiteY7" fmla="*/ 200915 h 308006"/>
                    <a:gd name="connsiteX8" fmla="*/ 466881 w 692150"/>
                    <a:gd name="connsiteY8" fmla="*/ 80265 h 308006"/>
                    <a:gd name="connsiteX9" fmla="*/ 555781 w 692150"/>
                    <a:gd name="connsiteY9" fmla="*/ 175515 h 308006"/>
                    <a:gd name="connsiteX10" fmla="*/ 625631 w 692150"/>
                    <a:gd name="connsiteY10" fmla="*/ 131065 h 308006"/>
                    <a:gd name="connsiteX11" fmla="*/ 692150 w 692150"/>
                    <a:gd name="connsiteY11" fmla="*/ 303732 h 30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2150" h="308006">
                      <a:moveTo>
                        <a:pt x="0" y="308006"/>
                      </a:moveTo>
                      <a:lnTo>
                        <a:pt x="98582" y="105665"/>
                      </a:lnTo>
                      <a:lnTo>
                        <a:pt x="123981" y="226315"/>
                      </a:lnTo>
                      <a:lnTo>
                        <a:pt x="197615" y="263556"/>
                      </a:lnTo>
                      <a:lnTo>
                        <a:pt x="270640" y="8457"/>
                      </a:lnTo>
                      <a:cubicBezTo>
                        <a:pt x="289588" y="-33733"/>
                        <a:pt x="296062" y="95284"/>
                        <a:pt x="311306" y="102490"/>
                      </a:cubicBezTo>
                      <a:cubicBezTo>
                        <a:pt x="326550" y="109696"/>
                        <a:pt x="347819" y="19940"/>
                        <a:pt x="362106" y="51690"/>
                      </a:cubicBezTo>
                      <a:cubicBezTo>
                        <a:pt x="376394" y="83440"/>
                        <a:pt x="375864" y="204090"/>
                        <a:pt x="397031" y="200915"/>
                      </a:cubicBezTo>
                      <a:cubicBezTo>
                        <a:pt x="418198" y="197740"/>
                        <a:pt x="440952" y="58040"/>
                        <a:pt x="466881" y="80265"/>
                      </a:cubicBezTo>
                      <a:cubicBezTo>
                        <a:pt x="492810" y="102490"/>
                        <a:pt x="527206" y="172340"/>
                        <a:pt x="555781" y="175515"/>
                      </a:cubicBezTo>
                      <a:lnTo>
                        <a:pt x="625631" y="131065"/>
                      </a:lnTo>
                      <a:lnTo>
                        <a:pt x="692150" y="303732"/>
                      </a:lnTo>
                    </a:path>
                  </a:pathLst>
                </a:cu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cxnSp>
              <p:nvCxnSpPr>
                <p:cNvPr id="187" name="Straight Connector 186">
                  <a:extLst>
                    <a:ext uri="{FF2B5EF4-FFF2-40B4-BE49-F238E27FC236}">
                      <a16:creationId xmlns:a16="http://schemas.microsoft.com/office/drawing/2014/main" id="{665D2119-F1E1-0E44-B56E-3AF96D40A070}"/>
                    </a:ext>
                  </a:extLst>
                </p:cNvPr>
                <p:cNvCxnSpPr>
                  <a:cxnSpLocks/>
                </p:cNvCxnSpPr>
                <p:nvPr/>
              </p:nvCxnSpPr>
              <p:spPr>
                <a:xfrm>
                  <a:off x="2794207" y="2735253"/>
                  <a:ext cx="455957"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0B66BED6-28A4-CE4B-B7AD-5E753190F058}"/>
                    </a:ext>
                  </a:extLst>
                </p:cNvPr>
                <p:cNvCxnSpPr>
                  <a:cxnSpLocks/>
                </p:cNvCxnSpPr>
                <p:nvPr/>
              </p:nvCxnSpPr>
              <p:spPr>
                <a:xfrm>
                  <a:off x="2793293" y="3212641"/>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F6B6ADAC-F752-7049-927F-F46833B15A16}"/>
                    </a:ext>
                  </a:extLst>
                </p:cNvPr>
                <p:cNvCxnSpPr>
                  <a:cxnSpLocks/>
                </p:cNvCxnSpPr>
                <p:nvPr/>
              </p:nvCxnSpPr>
              <p:spPr>
                <a:xfrm>
                  <a:off x="2793293" y="3292329"/>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47061FA1-C91F-3A41-9620-3337EAF02FDB}"/>
                    </a:ext>
                  </a:extLst>
                </p:cNvPr>
                <p:cNvCxnSpPr>
                  <a:cxnSpLocks/>
                </p:cNvCxnSpPr>
                <p:nvPr/>
              </p:nvCxnSpPr>
              <p:spPr>
                <a:xfrm>
                  <a:off x="2793293" y="3377327"/>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491564A0-7D96-0947-8487-1B1B1C4E84F9}"/>
                    </a:ext>
                  </a:extLst>
                </p:cNvPr>
                <p:cNvCxnSpPr>
                  <a:cxnSpLocks/>
                </p:cNvCxnSpPr>
                <p:nvPr/>
              </p:nvCxnSpPr>
              <p:spPr>
                <a:xfrm>
                  <a:off x="3429426" y="3212641"/>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D52143E-F02C-9C4B-8E5E-049AAD79D7C8}"/>
                    </a:ext>
                  </a:extLst>
                </p:cNvPr>
                <p:cNvCxnSpPr>
                  <a:cxnSpLocks/>
                </p:cNvCxnSpPr>
                <p:nvPr/>
              </p:nvCxnSpPr>
              <p:spPr>
                <a:xfrm>
                  <a:off x="3429426" y="3292329"/>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FA7A5D7F-31A1-034F-8F1B-9A7E3817221A}"/>
                    </a:ext>
                  </a:extLst>
                </p:cNvPr>
                <p:cNvCxnSpPr>
                  <a:cxnSpLocks/>
                </p:cNvCxnSpPr>
                <p:nvPr/>
              </p:nvCxnSpPr>
              <p:spPr>
                <a:xfrm>
                  <a:off x="3429426" y="3377327"/>
                  <a:ext cx="45687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CBA1E891-1F4A-C348-B22E-8C556B6501A1}"/>
                    </a:ext>
                  </a:extLst>
                </p:cNvPr>
                <p:cNvCxnSpPr>
                  <a:cxnSpLocks/>
                </p:cNvCxnSpPr>
                <p:nvPr/>
              </p:nvCxnSpPr>
              <p:spPr>
                <a:xfrm>
                  <a:off x="3429884" y="2735253"/>
                  <a:ext cx="455957"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95" name="Oval 194">
                  <a:extLst>
                    <a:ext uri="{FF2B5EF4-FFF2-40B4-BE49-F238E27FC236}">
                      <a16:creationId xmlns:a16="http://schemas.microsoft.com/office/drawing/2014/main" id="{6DE52C51-865E-754C-B933-12F0B420FF11}"/>
                    </a:ext>
                  </a:extLst>
                </p:cNvPr>
                <p:cNvSpPr/>
                <p:nvPr/>
              </p:nvSpPr>
              <p:spPr>
                <a:xfrm>
                  <a:off x="2944436" y="2906467"/>
                  <a:ext cx="154584" cy="15458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sp>
              <p:nvSpPr>
                <p:cNvPr id="196" name="Oval 195">
                  <a:extLst>
                    <a:ext uri="{FF2B5EF4-FFF2-40B4-BE49-F238E27FC236}">
                      <a16:creationId xmlns:a16="http://schemas.microsoft.com/office/drawing/2014/main" id="{79D1B54F-DC96-E24E-9C44-0510620C552D}"/>
                    </a:ext>
                  </a:extLst>
                </p:cNvPr>
                <p:cNvSpPr/>
                <p:nvPr/>
              </p:nvSpPr>
              <p:spPr>
                <a:xfrm>
                  <a:off x="3580571" y="2906467"/>
                  <a:ext cx="154584" cy="15458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cxnSp>
              <p:nvCxnSpPr>
                <p:cNvPr id="197" name="Straight Connector 196">
                  <a:extLst>
                    <a:ext uri="{FF2B5EF4-FFF2-40B4-BE49-F238E27FC236}">
                      <a16:creationId xmlns:a16="http://schemas.microsoft.com/office/drawing/2014/main" id="{4732A1D4-B122-5F40-8A38-4FD02848E5F5}"/>
                    </a:ext>
                  </a:extLst>
                </p:cNvPr>
                <p:cNvCxnSpPr>
                  <a:cxnSpLocks/>
                </p:cNvCxnSpPr>
                <p:nvPr/>
              </p:nvCxnSpPr>
              <p:spPr>
                <a:xfrm>
                  <a:off x="4148864" y="2080081"/>
                  <a:ext cx="456872"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9128E830-AC06-604C-967A-3AB4FEED8D85}"/>
                    </a:ext>
                  </a:extLst>
                </p:cNvPr>
                <p:cNvCxnSpPr>
                  <a:cxnSpLocks/>
                </p:cNvCxnSpPr>
                <p:nvPr/>
              </p:nvCxnSpPr>
              <p:spPr>
                <a:xfrm>
                  <a:off x="4148864" y="2141494"/>
                  <a:ext cx="330934"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A1BDA4E1-368E-544C-B88B-EBEAB50F1532}"/>
                    </a:ext>
                  </a:extLst>
                </p:cNvPr>
                <p:cNvCxnSpPr>
                  <a:cxnSpLocks/>
                </p:cNvCxnSpPr>
                <p:nvPr/>
              </p:nvCxnSpPr>
              <p:spPr>
                <a:xfrm>
                  <a:off x="4148864" y="2202906"/>
                  <a:ext cx="23648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39C2708D-4AE8-D64C-9C58-81379E8C2F9E}"/>
                    </a:ext>
                  </a:extLst>
                </p:cNvPr>
                <p:cNvGrpSpPr/>
                <p:nvPr/>
              </p:nvGrpSpPr>
              <p:grpSpPr>
                <a:xfrm>
                  <a:off x="4085710" y="2385899"/>
                  <a:ext cx="603577" cy="455451"/>
                  <a:chOff x="4286910" y="2670151"/>
                  <a:chExt cx="629947" cy="475350"/>
                </a:xfrm>
              </p:grpSpPr>
              <p:sp>
                <p:nvSpPr>
                  <p:cNvPr id="232" name="Rectangle 231">
                    <a:extLst>
                      <a:ext uri="{FF2B5EF4-FFF2-40B4-BE49-F238E27FC236}">
                        <a16:creationId xmlns:a16="http://schemas.microsoft.com/office/drawing/2014/main" id="{D18D4528-2CA8-374F-A59F-77A4E82B75FD}"/>
                      </a:ext>
                    </a:extLst>
                  </p:cNvPr>
                  <p:cNvSpPr/>
                  <p:nvPr/>
                </p:nvSpPr>
                <p:spPr>
                  <a:xfrm>
                    <a:off x="4286911" y="2829311"/>
                    <a:ext cx="629946" cy="316190"/>
                  </a:xfrm>
                  <a:prstGeom prst="rect">
                    <a:avLst/>
                  </a:prstGeom>
                  <a:solidFill>
                    <a:schemeClr val="bg1"/>
                  </a:solidFill>
                  <a:ln w="6350">
                    <a:solidFill>
                      <a:schemeClr val="bg1">
                        <a:lumMod val="85000"/>
                      </a:schemeClr>
                    </a:solidFill>
                  </a:ln>
                </p:spPr>
                <p:txBody>
                  <a:bodyPr wrap="square" lIns="45720" tIns="18288" rIns="45720" bIns="18288">
                    <a:sp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33" name="Rectangle 232">
                    <a:extLst>
                      <a:ext uri="{FF2B5EF4-FFF2-40B4-BE49-F238E27FC236}">
                        <a16:creationId xmlns:a16="http://schemas.microsoft.com/office/drawing/2014/main" id="{473A63A2-036E-1942-AC2B-97CA144CA0C6}"/>
                      </a:ext>
                    </a:extLst>
                  </p:cNvPr>
                  <p:cNvSpPr/>
                  <p:nvPr/>
                </p:nvSpPr>
                <p:spPr>
                  <a:xfrm>
                    <a:off x="4286910" y="2670151"/>
                    <a:ext cx="629946" cy="150975"/>
                  </a:xfrm>
                  <a:prstGeom prst="rect">
                    <a:avLst/>
                  </a:prstGeom>
                  <a:solidFill>
                    <a:schemeClr val="accent1"/>
                  </a:solidFill>
                  <a:ln w="6350">
                    <a:solidFill>
                      <a:schemeClr val="bg1">
                        <a:lumMod val="85000"/>
                      </a:schemeClr>
                    </a:solidFill>
                  </a:ln>
                </p:spPr>
                <p:txBody>
                  <a:bodyPr wrap="square" lIns="45720" tIns="18288" rIns="45720" bIns="18288" anchor="ctr">
                    <a:spAutoFit/>
                  </a:bodyPr>
                  <a:lstStyle/>
                  <a:p>
                    <a:pPr marL="3175"/>
                    <a:r>
                      <a:rPr lang="en-US" sz="700" err="1">
                        <a:solidFill>
                          <a:schemeClr val="bg1"/>
                        </a:solidFill>
                        <a:cs typeface="CiscoSansTT" panose="020B0503020201020303" pitchFamily="34" charset="0"/>
                      </a:rPr>
                      <a:t>Talos</a:t>
                    </a:r>
                    <a:r>
                      <a:rPr lang="en-US" sz="700">
                        <a:solidFill>
                          <a:schemeClr val="bg1"/>
                        </a:solidFill>
                        <a:cs typeface="CiscoSansTT" panose="020B0503020201020303" pitchFamily="34" charset="0"/>
                      </a:rPr>
                      <a:t> Intel</a:t>
                    </a:r>
                  </a:p>
                </p:txBody>
              </p:sp>
              <p:cxnSp>
                <p:nvCxnSpPr>
                  <p:cNvPr id="234" name="Straight Connector 233">
                    <a:extLst>
                      <a:ext uri="{FF2B5EF4-FFF2-40B4-BE49-F238E27FC236}">
                        <a16:creationId xmlns:a16="http://schemas.microsoft.com/office/drawing/2014/main" id="{66355A73-2B0C-234E-8678-1D7AF5B0F699}"/>
                      </a:ext>
                    </a:extLst>
                  </p:cNvPr>
                  <p:cNvCxnSpPr>
                    <a:cxnSpLocks/>
                  </p:cNvCxnSpPr>
                  <p:nvPr/>
                </p:nvCxnSpPr>
                <p:spPr>
                  <a:xfrm>
                    <a:off x="4353929" y="2917709"/>
                    <a:ext cx="476833"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E8D3BF4F-4521-774D-9FE4-DDD33FE2D9C0}"/>
                      </a:ext>
                    </a:extLst>
                  </p:cNvPr>
                  <p:cNvCxnSpPr>
                    <a:cxnSpLocks/>
                  </p:cNvCxnSpPr>
                  <p:nvPr/>
                </p:nvCxnSpPr>
                <p:spPr>
                  <a:xfrm>
                    <a:off x="4353929" y="2981805"/>
                    <a:ext cx="345392"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4D183C78-23C9-F947-ACC6-3DD8252B02E8}"/>
                      </a:ext>
                    </a:extLst>
                  </p:cNvPr>
                  <p:cNvCxnSpPr>
                    <a:cxnSpLocks/>
                  </p:cNvCxnSpPr>
                  <p:nvPr/>
                </p:nvCxnSpPr>
                <p:spPr>
                  <a:xfrm>
                    <a:off x="4353929" y="3045900"/>
                    <a:ext cx="246812"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9E89201B-DE59-E748-8DD6-A25E87C1E9B7}"/>
                    </a:ext>
                  </a:extLst>
                </p:cNvPr>
                <p:cNvGrpSpPr/>
                <p:nvPr/>
              </p:nvGrpSpPr>
              <p:grpSpPr>
                <a:xfrm>
                  <a:off x="556347" y="1664100"/>
                  <a:ext cx="778463" cy="942853"/>
                  <a:chOff x="954127" y="2189514"/>
                  <a:chExt cx="697414" cy="844688"/>
                </a:xfrm>
              </p:grpSpPr>
              <p:sp>
                <p:nvSpPr>
                  <p:cNvPr id="219" name="Rectangle 218">
                    <a:extLst>
                      <a:ext uri="{FF2B5EF4-FFF2-40B4-BE49-F238E27FC236}">
                        <a16:creationId xmlns:a16="http://schemas.microsoft.com/office/drawing/2014/main" id="{C1384C13-F513-E24E-BF79-FE1C79561CE8}"/>
                      </a:ext>
                    </a:extLst>
                  </p:cNvPr>
                  <p:cNvSpPr/>
                  <p:nvPr/>
                </p:nvSpPr>
                <p:spPr>
                  <a:xfrm>
                    <a:off x="954128" y="2189514"/>
                    <a:ext cx="693066" cy="252377"/>
                  </a:xfrm>
                  <a:prstGeom prst="rect">
                    <a:avLst/>
                  </a:prstGeom>
                  <a:solidFill>
                    <a:schemeClr val="accent1"/>
                  </a:solidFill>
                  <a:ln w="6350">
                    <a:solidFill>
                      <a:schemeClr val="accent1"/>
                    </a:solidFill>
                  </a:ln>
                </p:spPr>
                <p:txBody>
                  <a:bodyPr wrap="square" lIns="45720" tIns="18288" rIns="45720" bIns="18288">
                    <a:spAutoFit/>
                  </a:bodyPr>
                  <a:lstStyle/>
                  <a:p>
                    <a:r>
                      <a:rPr lang="en-US" sz="700">
                        <a:solidFill>
                          <a:schemeClr val="bg1"/>
                        </a:solidFill>
                        <a:cs typeface="CiscoSansTT" panose="020B0503020201020303" pitchFamily="34" charset="0"/>
                      </a:rPr>
                      <a:t>My apps and integrations</a:t>
                    </a:r>
                  </a:p>
                </p:txBody>
              </p:sp>
              <p:sp>
                <p:nvSpPr>
                  <p:cNvPr id="220" name="Rectangle 219">
                    <a:extLst>
                      <a:ext uri="{FF2B5EF4-FFF2-40B4-BE49-F238E27FC236}">
                        <a16:creationId xmlns:a16="http://schemas.microsoft.com/office/drawing/2014/main" id="{6A9228C8-D152-794A-BB67-345E5DF0216B}"/>
                      </a:ext>
                    </a:extLst>
                  </p:cNvPr>
                  <p:cNvSpPr/>
                  <p:nvPr/>
                </p:nvSpPr>
                <p:spPr>
                  <a:xfrm>
                    <a:off x="954127" y="2445212"/>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21" name="Rectangle: Rounded Corners 784">
                    <a:extLst>
                      <a:ext uri="{FF2B5EF4-FFF2-40B4-BE49-F238E27FC236}">
                        <a16:creationId xmlns:a16="http://schemas.microsoft.com/office/drawing/2014/main" id="{555D0A70-1512-2547-8B6D-68E16816ACD3}"/>
                      </a:ext>
                    </a:extLst>
                  </p:cNvPr>
                  <p:cNvSpPr/>
                  <p:nvPr/>
                </p:nvSpPr>
                <p:spPr>
                  <a:xfrm>
                    <a:off x="990226" y="2482793"/>
                    <a:ext cx="114325" cy="121131"/>
                  </a:xfrm>
                  <a:prstGeom prst="roundRect">
                    <a:avLst>
                      <a:gd name="adj" fmla="val 10540"/>
                    </a:avLst>
                  </a:prstGeom>
                  <a:solidFill>
                    <a:srgbClr val="750B76"/>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22" name="Straight Connector 221">
                    <a:extLst>
                      <a:ext uri="{FF2B5EF4-FFF2-40B4-BE49-F238E27FC236}">
                        <a16:creationId xmlns:a16="http://schemas.microsoft.com/office/drawing/2014/main" id="{40E18B0D-7A64-CD47-A229-32AB5EFC28CD}"/>
                      </a:ext>
                    </a:extLst>
                  </p:cNvPr>
                  <p:cNvCxnSpPr/>
                  <p:nvPr/>
                </p:nvCxnSpPr>
                <p:spPr>
                  <a:xfrm>
                    <a:off x="1161100" y="2508857"/>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843D4E65-030F-1B44-A249-7061EB911584}"/>
                      </a:ext>
                    </a:extLst>
                  </p:cNvPr>
                  <p:cNvCxnSpPr>
                    <a:cxnSpLocks/>
                  </p:cNvCxnSpPr>
                  <p:nvPr/>
                </p:nvCxnSpPr>
                <p:spPr>
                  <a:xfrm>
                    <a:off x="1161100" y="2577859"/>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4" name="Rectangle 223">
                    <a:extLst>
                      <a:ext uri="{FF2B5EF4-FFF2-40B4-BE49-F238E27FC236}">
                        <a16:creationId xmlns:a16="http://schemas.microsoft.com/office/drawing/2014/main" id="{C70954B5-5E2B-9848-AF52-4606D63FCF88}"/>
                      </a:ext>
                    </a:extLst>
                  </p:cNvPr>
                  <p:cNvSpPr/>
                  <p:nvPr/>
                </p:nvSpPr>
                <p:spPr>
                  <a:xfrm>
                    <a:off x="954127" y="2642044"/>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25" name="Rectangle: Rounded Corners 784">
                    <a:extLst>
                      <a:ext uri="{FF2B5EF4-FFF2-40B4-BE49-F238E27FC236}">
                        <a16:creationId xmlns:a16="http://schemas.microsoft.com/office/drawing/2014/main" id="{C532D983-36F4-6F44-B5C4-CBCA6669424D}"/>
                      </a:ext>
                    </a:extLst>
                  </p:cNvPr>
                  <p:cNvSpPr/>
                  <p:nvPr/>
                </p:nvSpPr>
                <p:spPr>
                  <a:xfrm>
                    <a:off x="990226" y="2679625"/>
                    <a:ext cx="114325" cy="121131"/>
                  </a:xfrm>
                  <a:prstGeom prst="roundRect">
                    <a:avLst>
                      <a:gd name="adj" fmla="val 10540"/>
                    </a:avLst>
                  </a:prstGeom>
                  <a:solidFill>
                    <a:schemeClr val="tx2">
                      <a:lumMod val="50000"/>
                    </a:schemeClr>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26" name="Straight Connector 225">
                    <a:extLst>
                      <a:ext uri="{FF2B5EF4-FFF2-40B4-BE49-F238E27FC236}">
                        <a16:creationId xmlns:a16="http://schemas.microsoft.com/office/drawing/2014/main" id="{EA82A899-AEC7-604C-95FF-917FF40C8E41}"/>
                      </a:ext>
                    </a:extLst>
                  </p:cNvPr>
                  <p:cNvCxnSpPr/>
                  <p:nvPr/>
                </p:nvCxnSpPr>
                <p:spPr>
                  <a:xfrm>
                    <a:off x="1161100" y="2705689"/>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82A9F2FB-A42D-DB45-AFFF-A5F17BD97592}"/>
                      </a:ext>
                    </a:extLst>
                  </p:cNvPr>
                  <p:cNvCxnSpPr>
                    <a:cxnSpLocks/>
                  </p:cNvCxnSpPr>
                  <p:nvPr/>
                </p:nvCxnSpPr>
                <p:spPr>
                  <a:xfrm>
                    <a:off x="1161100" y="2774691"/>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8" name="Rectangle 227">
                    <a:extLst>
                      <a:ext uri="{FF2B5EF4-FFF2-40B4-BE49-F238E27FC236}">
                        <a16:creationId xmlns:a16="http://schemas.microsoft.com/office/drawing/2014/main" id="{A18767C7-97BC-8E44-9B06-AEBE7781CB81}"/>
                      </a:ext>
                    </a:extLst>
                  </p:cNvPr>
                  <p:cNvSpPr/>
                  <p:nvPr/>
                </p:nvSpPr>
                <p:spPr>
                  <a:xfrm>
                    <a:off x="954127" y="2837909"/>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29" name="Rectangle: Rounded Corners 784">
                    <a:extLst>
                      <a:ext uri="{FF2B5EF4-FFF2-40B4-BE49-F238E27FC236}">
                        <a16:creationId xmlns:a16="http://schemas.microsoft.com/office/drawing/2014/main" id="{FA7412BD-1945-E145-BA2B-9DEF3136A1F8}"/>
                      </a:ext>
                    </a:extLst>
                  </p:cNvPr>
                  <p:cNvSpPr/>
                  <p:nvPr/>
                </p:nvSpPr>
                <p:spPr>
                  <a:xfrm>
                    <a:off x="990226" y="2875490"/>
                    <a:ext cx="114325" cy="121131"/>
                  </a:xfrm>
                  <a:prstGeom prst="roundRect">
                    <a:avLst>
                      <a:gd name="adj" fmla="val 10540"/>
                    </a:avLst>
                  </a:prstGeom>
                  <a:solidFill>
                    <a:srgbClr val="1E4471"/>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30" name="Straight Connector 229">
                    <a:extLst>
                      <a:ext uri="{FF2B5EF4-FFF2-40B4-BE49-F238E27FC236}">
                        <a16:creationId xmlns:a16="http://schemas.microsoft.com/office/drawing/2014/main" id="{F4358CB9-1853-FD43-A193-A5E095C19488}"/>
                      </a:ext>
                    </a:extLst>
                  </p:cNvPr>
                  <p:cNvCxnSpPr/>
                  <p:nvPr/>
                </p:nvCxnSpPr>
                <p:spPr>
                  <a:xfrm>
                    <a:off x="1161100" y="2901554"/>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791A299-C64B-A948-A855-877BD433ED78}"/>
                      </a:ext>
                    </a:extLst>
                  </p:cNvPr>
                  <p:cNvCxnSpPr>
                    <a:cxnSpLocks/>
                  </p:cNvCxnSpPr>
                  <p:nvPr/>
                </p:nvCxnSpPr>
                <p:spPr>
                  <a:xfrm>
                    <a:off x="1161100" y="2970556"/>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02" name="Group 201">
                  <a:extLst>
                    <a:ext uri="{FF2B5EF4-FFF2-40B4-BE49-F238E27FC236}">
                      <a16:creationId xmlns:a16="http://schemas.microsoft.com/office/drawing/2014/main" id="{CD5EB55E-2CD5-264C-B0FD-B1274C665F30}"/>
                    </a:ext>
                  </a:extLst>
                </p:cNvPr>
                <p:cNvGrpSpPr/>
                <p:nvPr/>
              </p:nvGrpSpPr>
              <p:grpSpPr>
                <a:xfrm>
                  <a:off x="556347" y="2612138"/>
                  <a:ext cx="778463" cy="942853"/>
                  <a:chOff x="954127" y="2189514"/>
                  <a:chExt cx="697414" cy="844688"/>
                </a:xfrm>
              </p:grpSpPr>
              <p:sp>
                <p:nvSpPr>
                  <p:cNvPr id="206" name="Rectangle 205">
                    <a:extLst>
                      <a:ext uri="{FF2B5EF4-FFF2-40B4-BE49-F238E27FC236}">
                        <a16:creationId xmlns:a16="http://schemas.microsoft.com/office/drawing/2014/main" id="{D2509134-3745-7D42-BDEC-89CB96179527}"/>
                      </a:ext>
                    </a:extLst>
                  </p:cNvPr>
                  <p:cNvSpPr/>
                  <p:nvPr/>
                </p:nvSpPr>
                <p:spPr>
                  <a:xfrm>
                    <a:off x="954128" y="2189514"/>
                    <a:ext cx="693066" cy="252377"/>
                  </a:xfrm>
                  <a:prstGeom prst="rect">
                    <a:avLst/>
                  </a:prstGeom>
                  <a:solidFill>
                    <a:schemeClr val="accent1"/>
                  </a:solidFill>
                  <a:ln w="6350">
                    <a:solidFill>
                      <a:schemeClr val="accent1"/>
                    </a:solidFill>
                  </a:ln>
                </p:spPr>
                <p:txBody>
                  <a:bodyPr wrap="square" lIns="45720" tIns="18288" rIns="45720" bIns="18288">
                    <a:spAutoFit/>
                  </a:bodyPr>
                  <a:lstStyle/>
                  <a:p>
                    <a:r>
                      <a:rPr lang="en-US" sz="700">
                        <a:solidFill>
                          <a:schemeClr val="bg1"/>
                        </a:solidFill>
                        <a:cs typeface="CiscoSansTT" panose="020B0503020201020303" pitchFamily="34" charset="0"/>
                      </a:rPr>
                      <a:t>Integrations available</a:t>
                    </a:r>
                  </a:p>
                </p:txBody>
              </p:sp>
              <p:sp>
                <p:nvSpPr>
                  <p:cNvPr id="207" name="Rectangle 206">
                    <a:extLst>
                      <a:ext uri="{FF2B5EF4-FFF2-40B4-BE49-F238E27FC236}">
                        <a16:creationId xmlns:a16="http://schemas.microsoft.com/office/drawing/2014/main" id="{DBC2E8FE-B2ED-F04A-AB38-18FCF6B4FED6}"/>
                      </a:ext>
                    </a:extLst>
                  </p:cNvPr>
                  <p:cNvSpPr/>
                  <p:nvPr/>
                </p:nvSpPr>
                <p:spPr>
                  <a:xfrm>
                    <a:off x="954127" y="2445212"/>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08" name="Rectangle: Rounded Corners 784">
                    <a:extLst>
                      <a:ext uri="{FF2B5EF4-FFF2-40B4-BE49-F238E27FC236}">
                        <a16:creationId xmlns:a16="http://schemas.microsoft.com/office/drawing/2014/main" id="{BF2918D5-6D0E-DC4F-9E0C-104714F273DE}"/>
                      </a:ext>
                    </a:extLst>
                  </p:cNvPr>
                  <p:cNvSpPr/>
                  <p:nvPr/>
                </p:nvSpPr>
                <p:spPr>
                  <a:xfrm>
                    <a:off x="990226" y="2482793"/>
                    <a:ext cx="114325" cy="121131"/>
                  </a:xfrm>
                  <a:prstGeom prst="roundRect">
                    <a:avLst>
                      <a:gd name="adj" fmla="val 10540"/>
                    </a:avLst>
                  </a:prstGeom>
                  <a:solidFill>
                    <a:srgbClr val="750B76"/>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09" name="Straight Connector 208">
                    <a:extLst>
                      <a:ext uri="{FF2B5EF4-FFF2-40B4-BE49-F238E27FC236}">
                        <a16:creationId xmlns:a16="http://schemas.microsoft.com/office/drawing/2014/main" id="{4B4B2745-D69D-7E4E-9471-FC0F5FA369BA}"/>
                      </a:ext>
                    </a:extLst>
                  </p:cNvPr>
                  <p:cNvCxnSpPr/>
                  <p:nvPr/>
                </p:nvCxnSpPr>
                <p:spPr>
                  <a:xfrm>
                    <a:off x="1161100" y="2508857"/>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AB26EE3F-1861-744B-AD78-4FED716D3ABC}"/>
                      </a:ext>
                    </a:extLst>
                  </p:cNvPr>
                  <p:cNvCxnSpPr>
                    <a:cxnSpLocks/>
                  </p:cNvCxnSpPr>
                  <p:nvPr/>
                </p:nvCxnSpPr>
                <p:spPr>
                  <a:xfrm>
                    <a:off x="1161100" y="2577859"/>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1" name="Rectangle 210">
                    <a:extLst>
                      <a:ext uri="{FF2B5EF4-FFF2-40B4-BE49-F238E27FC236}">
                        <a16:creationId xmlns:a16="http://schemas.microsoft.com/office/drawing/2014/main" id="{2DD42280-B8C7-F440-90FB-CAA6054A889D}"/>
                      </a:ext>
                    </a:extLst>
                  </p:cNvPr>
                  <p:cNvSpPr/>
                  <p:nvPr/>
                </p:nvSpPr>
                <p:spPr>
                  <a:xfrm>
                    <a:off x="954127" y="2642044"/>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12" name="Rectangle: Rounded Corners 784">
                    <a:extLst>
                      <a:ext uri="{FF2B5EF4-FFF2-40B4-BE49-F238E27FC236}">
                        <a16:creationId xmlns:a16="http://schemas.microsoft.com/office/drawing/2014/main" id="{894E4D60-AEAE-4B49-8C88-DDC77F18E769}"/>
                      </a:ext>
                    </a:extLst>
                  </p:cNvPr>
                  <p:cNvSpPr/>
                  <p:nvPr/>
                </p:nvSpPr>
                <p:spPr>
                  <a:xfrm>
                    <a:off x="990226" y="2679625"/>
                    <a:ext cx="114325" cy="121131"/>
                  </a:xfrm>
                  <a:prstGeom prst="roundRect">
                    <a:avLst>
                      <a:gd name="adj" fmla="val 10540"/>
                    </a:avLst>
                  </a:prstGeom>
                  <a:solidFill>
                    <a:schemeClr val="tx2">
                      <a:lumMod val="50000"/>
                    </a:schemeClr>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13" name="Straight Connector 212">
                    <a:extLst>
                      <a:ext uri="{FF2B5EF4-FFF2-40B4-BE49-F238E27FC236}">
                        <a16:creationId xmlns:a16="http://schemas.microsoft.com/office/drawing/2014/main" id="{A2B3AE20-58D3-FC42-8587-825545D71A87}"/>
                      </a:ext>
                    </a:extLst>
                  </p:cNvPr>
                  <p:cNvCxnSpPr/>
                  <p:nvPr/>
                </p:nvCxnSpPr>
                <p:spPr>
                  <a:xfrm>
                    <a:off x="1161100" y="2705689"/>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248AB3F3-CF6E-E847-B42B-E35893D58A3C}"/>
                      </a:ext>
                    </a:extLst>
                  </p:cNvPr>
                  <p:cNvCxnSpPr>
                    <a:cxnSpLocks/>
                  </p:cNvCxnSpPr>
                  <p:nvPr/>
                </p:nvCxnSpPr>
                <p:spPr>
                  <a:xfrm>
                    <a:off x="1161100" y="2774691"/>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15" name="Rectangle 214">
                    <a:extLst>
                      <a:ext uri="{FF2B5EF4-FFF2-40B4-BE49-F238E27FC236}">
                        <a16:creationId xmlns:a16="http://schemas.microsoft.com/office/drawing/2014/main" id="{AD7AD7BC-7FDC-0D45-9C81-6F2D62697CB1}"/>
                      </a:ext>
                    </a:extLst>
                  </p:cNvPr>
                  <p:cNvSpPr/>
                  <p:nvPr/>
                </p:nvSpPr>
                <p:spPr>
                  <a:xfrm>
                    <a:off x="954127" y="2837909"/>
                    <a:ext cx="697414" cy="196293"/>
                  </a:xfrm>
                  <a:prstGeom prst="rect">
                    <a:avLst/>
                  </a:prstGeom>
                  <a:solidFill>
                    <a:schemeClr val="bg1"/>
                  </a:solidFill>
                  <a:ln w="6350">
                    <a:solidFill>
                      <a:schemeClr val="bg1">
                        <a:lumMod val="85000"/>
                      </a:schemeClr>
                    </a:solidFill>
                  </a:ln>
                </p:spPr>
                <p:txBody>
                  <a:bodyPr wrap="square" lIns="45720" tIns="18288" rIns="45720" bIns="18288">
                    <a:noAutofit/>
                  </a:bodyPr>
                  <a:lstStyle/>
                  <a:p>
                    <a:pPr marL="228600"/>
                    <a:br>
                      <a:rPr lang="en-US" sz="700">
                        <a:solidFill>
                          <a:schemeClr val="accent3"/>
                        </a:solidFill>
                        <a:cs typeface="CiscoSansTT" panose="020B0503020201020303" pitchFamily="34" charset="0"/>
                      </a:rPr>
                    </a:br>
                    <a:endParaRPr lang="en-US" sz="700">
                      <a:solidFill>
                        <a:schemeClr val="accent3"/>
                      </a:solidFill>
                      <a:cs typeface="CiscoSansTT" panose="020B0503020201020303" pitchFamily="34" charset="0"/>
                    </a:endParaRPr>
                  </a:p>
                </p:txBody>
              </p:sp>
              <p:sp>
                <p:nvSpPr>
                  <p:cNvPr id="216" name="Rectangle: Rounded Corners 784">
                    <a:extLst>
                      <a:ext uri="{FF2B5EF4-FFF2-40B4-BE49-F238E27FC236}">
                        <a16:creationId xmlns:a16="http://schemas.microsoft.com/office/drawing/2014/main" id="{4549F96C-4BE9-EA48-8845-D3B460BBF0E3}"/>
                      </a:ext>
                    </a:extLst>
                  </p:cNvPr>
                  <p:cNvSpPr/>
                  <p:nvPr/>
                </p:nvSpPr>
                <p:spPr>
                  <a:xfrm>
                    <a:off x="990226" y="2875490"/>
                    <a:ext cx="114325" cy="121131"/>
                  </a:xfrm>
                  <a:prstGeom prst="roundRect">
                    <a:avLst>
                      <a:gd name="adj" fmla="val 10540"/>
                    </a:avLst>
                  </a:prstGeom>
                  <a:solidFill>
                    <a:srgbClr val="1E4471"/>
                  </a:solidFill>
                  <a:ln w="6350">
                    <a:noFill/>
                  </a:ln>
                </p:spPr>
                <p:txBody>
                  <a:bodyPr wrap="square" lIns="45720" tIns="18288" rIns="45720" bIns="18288">
                    <a:spAutoFit/>
                  </a:bodyPr>
                  <a:lstStyle/>
                  <a:p>
                    <a:endParaRPr lang="en-US" sz="700">
                      <a:solidFill>
                        <a:schemeClr val="bg1">
                          <a:lumMod val="50000"/>
                        </a:schemeClr>
                      </a:solidFill>
                      <a:cs typeface="CiscoSansTT" panose="020B0503020201020303" pitchFamily="34" charset="0"/>
                    </a:endParaRPr>
                  </a:p>
                </p:txBody>
              </p:sp>
              <p:cxnSp>
                <p:nvCxnSpPr>
                  <p:cNvPr id="217" name="Straight Connector 216">
                    <a:extLst>
                      <a:ext uri="{FF2B5EF4-FFF2-40B4-BE49-F238E27FC236}">
                        <a16:creationId xmlns:a16="http://schemas.microsoft.com/office/drawing/2014/main" id="{46261C3C-48D4-0143-BD7E-DF64DB1A96EA}"/>
                      </a:ext>
                    </a:extLst>
                  </p:cNvPr>
                  <p:cNvCxnSpPr/>
                  <p:nvPr/>
                </p:nvCxnSpPr>
                <p:spPr>
                  <a:xfrm>
                    <a:off x="1161100" y="2901554"/>
                    <a:ext cx="422359" cy="0"/>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8AFAD3B-4E27-BB41-8757-4835B2F8B8CF}"/>
                      </a:ext>
                    </a:extLst>
                  </p:cNvPr>
                  <p:cNvCxnSpPr>
                    <a:cxnSpLocks/>
                  </p:cNvCxnSpPr>
                  <p:nvPr/>
                </p:nvCxnSpPr>
                <p:spPr>
                  <a:xfrm>
                    <a:off x="1161100" y="2970556"/>
                    <a:ext cx="16769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03" name="Rectangle 202">
                  <a:extLst>
                    <a:ext uri="{FF2B5EF4-FFF2-40B4-BE49-F238E27FC236}">
                      <a16:creationId xmlns:a16="http://schemas.microsoft.com/office/drawing/2014/main" id="{13FDD124-C644-FA4C-B4A9-09D34DBC7CCF}"/>
                    </a:ext>
                  </a:extLst>
                </p:cNvPr>
                <p:cNvSpPr/>
                <p:nvPr/>
              </p:nvSpPr>
              <p:spPr>
                <a:xfrm>
                  <a:off x="1402489" y="1929602"/>
                  <a:ext cx="1098373" cy="34547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a:solidFill>
                        <a:schemeClr val="bg1">
                          <a:lumMod val="50000"/>
                        </a:schemeClr>
                      </a:solidFill>
                    </a:rPr>
                    <a:t>MITRE ATT&amp;CK tactics detected</a:t>
                  </a:r>
                </a:p>
              </p:txBody>
            </p:sp>
            <p:sp>
              <p:nvSpPr>
                <p:cNvPr id="204" name="Rectangle 203">
                  <a:extLst>
                    <a:ext uri="{FF2B5EF4-FFF2-40B4-BE49-F238E27FC236}">
                      <a16:creationId xmlns:a16="http://schemas.microsoft.com/office/drawing/2014/main" id="{2A6CD788-9BC5-8744-9422-021AA948C7D0}"/>
                    </a:ext>
                  </a:extLst>
                </p:cNvPr>
                <p:cNvSpPr/>
                <p:nvPr/>
              </p:nvSpPr>
              <p:spPr>
                <a:xfrm>
                  <a:off x="1402489" y="2846118"/>
                  <a:ext cx="1098373" cy="34547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800" b="1">
                      <a:solidFill>
                        <a:schemeClr val="bg1">
                          <a:lumMod val="50000"/>
                        </a:schemeClr>
                      </a:solidFill>
                    </a:rPr>
                    <a:t>C2 blocked</a:t>
                  </a:r>
                </a:p>
              </p:txBody>
            </p:sp>
            <p:sp>
              <p:nvSpPr>
                <p:cNvPr id="205" name="Rounded Rectangle 224">
                  <a:extLst>
                    <a:ext uri="{FF2B5EF4-FFF2-40B4-BE49-F238E27FC236}">
                      <a16:creationId xmlns:a16="http://schemas.microsoft.com/office/drawing/2014/main" id="{FB57ACC2-7B30-E44C-824F-33A784F84D1C}"/>
                    </a:ext>
                  </a:extLst>
                </p:cNvPr>
                <p:cNvSpPr/>
                <p:nvPr/>
              </p:nvSpPr>
              <p:spPr>
                <a:xfrm>
                  <a:off x="547056" y="1322312"/>
                  <a:ext cx="4134548" cy="2314530"/>
                </a:xfrm>
                <a:prstGeom prst="roundRect">
                  <a:avLst>
                    <a:gd name="adj" fmla="val 2971"/>
                  </a:avLst>
                </a:prstGeom>
                <a:noFill/>
                <a:ln w="19050" cap="flat" cmpd="sng" algn="ctr">
                  <a:solidFill>
                    <a:schemeClr val="bg1">
                      <a:lumMod val="75000"/>
                    </a:schemeClr>
                  </a:solidFill>
                  <a:prstDash val="solid"/>
                </a:ln>
                <a:effectLst/>
              </p:spPr>
              <p:txBody>
                <a:bodyPr rtlCol="0" anchor="ctr"/>
                <a:lstStyle/>
                <a:p>
                  <a:pPr algn="ctr" defTabSz="914400"/>
                  <a:endParaRPr lang="en-US" sz="1400" kern="0">
                    <a:solidFill>
                      <a:srgbClr val="0D274D"/>
                    </a:solidFill>
                    <a:latin typeface="+mj-lt"/>
                  </a:endParaRPr>
                </a:p>
              </p:txBody>
            </p:sp>
          </p:grpSp>
          <p:pic>
            <p:nvPicPr>
              <p:cNvPr id="163" name="Picture 162">
                <a:extLst>
                  <a:ext uri="{FF2B5EF4-FFF2-40B4-BE49-F238E27FC236}">
                    <a16:creationId xmlns:a16="http://schemas.microsoft.com/office/drawing/2014/main" id="{2B3E693F-C79F-6F40-9945-6B175975468B}"/>
                  </a:ext>
                </a:extLst>
              </p:cNvPr>
              <p:cNvPicPr>
                <a:picLocks noChangeAspect="1"/>
              </p:cNvPicPr>
              <p:nvPr/>
            </p:nvPicPr>
            <p:blipFill>
              <a:blip r:embed="rId7"/>
              <a:stretch>
                <a:fillRect/>
              </a:stretch>
            </p:blipFill>
            <p:spPr>
              <a:xfrm>
                <a:off x="2700188" y="3337536"/>
                <a:ext cx="1905000" cy="292100"/>
              </a:xfrm>
              <a:prstGeom prst="rect">
                <a:avLst/>
              </a:prstGeom>
            </p:spPr>
          </p:pic>
        </p:grpSp>
      </p:grpSp>
    </p:spTree>
    <p:extLst>
      <p:ext uri="{BB962C8B-B14F-4D97-AF65-F5344CB8AC3E}">
        <p14:creationId xmlns:p14="http://schemas.microsoft.com/office/powerpoint/2010/main" val="856459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AC1C1-AB3F-9147-8229-53AD7A7F96E4}"/>
              </a:ext>
            </a:extLst>
          </p:cNvPr>
          <p:cNvSpPr>
            <a:spLocks noGrp="1"/>
          </p:cNvSpPr>
          <p:nvPr>
            <p:ph type="title"/>
          </p:nvPr>
        </p:nvSpPr>
        <p:spPr/>
        <p:txBody>
          <a:bodyPr/>
          <a:lstStyle/>
          <a:p>
            <a:pPr marL="687388"/>
            <a:r>
              <a:rPr lang="en-US">
                <a:latin typeface="+mn-lt"/>
                <a:cs typeface="CiscoSansTT" panose="020B0503020201020303" pitchFamily="34" charset="0"/>
              </a:rPr>
              <a:t>Maximizing operational </a:t>
            </a:r>
            <a:r>
              <a:rPr lang="en-US">
                <a:solidFill>
                  <a:schemeClr val="accent2"/>
                </a:solidFill>
                <a:latin typeface="CiscoSansTT" panose="020B0503020201020303" pitchFamily="34" charset="0"/>
                <a:cs typeface="CiscoSansTT" panose="020B0503020201020303" pitchFamily="34" charset="0"/>
              </a:rPr>
              <a:t>efficiency </a:t>
            </a:r>
            <a:endParaRPr lang="en-US" sz="1600">
              <a:solidFill>
                <a:schemeClr val="accent3"/>
              </a:solidFill>
              <a:latin typeface="+mn-lt"/>
            </a:endParaRPr>
          </a:p>
        </p:txBody>
      </p:sp>
      <p:grpSp>
        <p:nvGrpSpPr>
          <p:cNvPr id="367" name="Group 366">
            <a:extLst>
              <a:ext uri="{FF2B5EF4-FFF2-40B4-BE49-F238E27FC236}">
                <a16:creationId xmlns:a16="http://schemas.microsoft.com/office/drawing/2014/main" id="{B06D3306-152E-B14E-8FFB-FB8A4E281891}"/>
              </a:ext>
            </a:extLst>
          </p:cNvPr>
          <p:cNvGrpSpPr>
            <a:grpSpLocks noChangeAspect="1"/>
          </p:cNvGrpSpPr>
          <p:nvPr/>
        </p:nvGrpSpPr>
        <p:grpSpPr>
          <a:xfrm>
            <a:off x="347977" y="310231"/>
            <a:ext cx="729540" cy="731837"/>
            <a:chOff x="4926347" y="1939685"/>
            <a:chExt cx="1987823" cy="1994082"/>
          </a:xfrm>
        </p:grpSpPr>
        <p:grpSp>
          <p:nvGrpSpPr>
            <p:cNvPr id="368" name="Group 63">
              <a:extLst>
                <a:ext uri="{FF2B5EF4-FFF2-40B4-BE49-F238E27FC236}">
                  <a16:creationId xmlns:a16="http://schemas.microsoft.com/office/drawing/2014/main" id="{4658A705-C84F-7747-9456-3B1A88426818}"/>
                </a:ext>
              </a:extLst>
            </p:cNvPr>
            <p:cNvGrpSpPr/>
            <p:nvPr/>
          </p:nvGrpSpPr>
          <p:grpSpPr>
            <a:xfrm>
              <a:off x="5222911" y="3248176"/>
              <a:ext cx="804863" cy="685591"/>
              <a:chOff x="2147888" y="2814638"/>
              <a:chExt cx="1447800" cy="1231900"/>
            </a:xfrm>
            <a:solidFill>
              <a:srgbClr val="00BCEB"/>
            </a:solidFill>
          </p:grpSpPr>
          <p:sp>
            <p:nvSpPr>
              <p:cNvPr id="381" name="Freeform 46">
                <a:extLst>
                  <a:ext uri="{FF2B5EF4-FFF2-40B4-BE49-F238E27FC236}">
                    <a16:creationId xmlns:a16="http://schemas.microsoft.com/office/drawing/2014/main" id="{E69F1C81-DA43-654D-9E24-02BEC152FD63}"/>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2" name="Freeform 47">
                <a:extLst>
                  <a:ext uri="{FF2B5EF4-FFF2-40B4-BE49-F238E27FC236}">
                    <a16:creationId xmlns:a16="http://schemas.microsoft.com/office/drawing/2014/main" id="{E3B38D77-7AC2-A043-9CDD-A7AADF0BF39F}"/>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3" name="Freeform 48">
                <a:extLst>
                  <a:ext uri="{FF2B5EF4-FFF2-40B4-BE49-F238E27FC236}">
                    <a16:creationId xmlns:a16="http://schemas.microsoft.com/office/drawing/2014/main" id="{C59698FF-FE50-5A43-B025-D5D6E5E04E22}"/>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4" name="Freeform 49">
                <a:extLst>
                  <a:ext uri="{FF2B5EF4-FFF2-40B4-BE49-F238E27FC236}">
                    <a16:creationId xmlns:a16="http://schemas.microsoft.com/office/drawing/2014/main" id="{BD494546-136F-4143-A106-6909EF148D3C}"/>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5" name="Freeform 50">
                <a:extLst>
                  <a:ext uri="{FF2B5EF4-FFF2-40B4-BE49-F238E27FC236}">
                    <a16:creationId xmlns:a16="http://schemas.microsoft.com/office/drawing/2014/main" id="{2D47CD84-2373-B94E-92FF-2C76B290C313}"/>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6" name="Freeform 51">
                <a:extLst>
                  <a:ext uri="{FF2B5EF4-FFF2-40B4-BE49-F238E27FC236}">
                    <a16:creationId xmlns:a16="http://schemas.microsoft.com/office/drawing/2014/main" id="{421D8E6E-4E66-7441-879E-C40AD28DDCB1}"/>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7" name="Freeform 52">
                <a:extLst>
                  <a:ext uri="{FF2B5EF4-FFF2-40B4-BE49-F238E27FC236}">
                    <a16:creationId xmlns:a16="http://schemas.microsoft.com/office/drawing/2014/main" id="{9696C8C2-6A96-9E4B-A78E-957F0BACC666}"/>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388" name="Freeform 53">
                <a:extLst>
                  <a:ext uri="{FF2B5EF4-FFF2-40B4-BE49-F238E27FC236}">
                    <a16:creationId xmlns:a16="http://schemas.microsoft.com/office/drawing/2014/main" id="{FAF71815-EC8F-3748-86F4-A703BE548AA0}"/>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nvGrpSpPr>
            <p:cNvPr id="369" name="Group 592">
              <a:extLst>
                <a:ext uri="{FF2B5EF4-FFF2-40B4-BE49-F238E27FC236}">
                  <a16:creationId xmlns:a16="http://schemas.microsoft.com/office/drawing/2014/main" id="{CB39F83A-D9C4-A448-B824-53609632EC80}"/>
                </a:ext>
              </a:extLst>
            </p:cNvPr>
            <p:cNvGrpSpPr/>
            <p:nvPr/>
          </p:nvGrpSpPr>
          <p:grpSpPr>
            <a:xfrm>
              <a:off x="4926347" y="2110472"/>
              <a:ext cx="1880819" cy="1693100"/>
              <a:chOff x="-3083985" y="2387260"/>
              <a:chExt cx="2611628" cy="2350967"/>
            </a:xfrm>
          </p:grpSpPr>
          <p:pic>
            <p:nvPicPr>
              <p:cNvPr id="377" name="Picture 178" descr="A picture containing object&#10;&#10;Description automatically generated">
                <a:extLst>
                  <a:ext uri="{FF2B5EF4-FFF2-40B4-BE49-F238E27FC236}">
                    <a16:creationId xmlns:a16="http://schemas.microsoft.com/office/drawing/2014/main" id="{DEEFDF3C-0137-694A-9EC3-F2128EE71549}"/>
                  </a:ext>
                </a:extLst>
              </p:cNvPr>
              <p:cNvPicPr>
                <a:picLocks noChangeAspect="1"/>
              </p:cNvPicPr>
              <p:nvPr/>
            </p:nvPicPr>
            <p:blipFill>
              <a:blip r:embed="rId3"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6355791" flipH="1">
                <a:off x="-3014057" y="2866403"/>
                <a:ext cx="664007" cy="803863"/>
              </a:xfrm>
              <a:prstGeom prst="rect">
                <a:avLst/>
              </a:prstGeom>
            </p:spPr>
          </p:pic>
          <p:pic>
            <p:nvPicPr>
              <p:cNvPr id="378" name="Picture 179" descr="A close up of a computer&#10;&#10;Description automatically generated">
                <a:extLst>
                  <a:ext uri="{FF2B5EF4-FFF2-40B4-BE49-F238E27FC236}">
                    <a16:creationId xmlns:a16="http://schemas.microsoft.com/office/drawing/2014/main" id="{64988373-97FA-384F-8A68-ED31D8BA5BF1}"/>
                  </a:ext>
                </a:extLst>
              </p:cNvPr>
              <p:cNvPicPr>
                <a:picLocks noChangeAspect="1"/>
              </p:cNvPicPr>
              <p:nvPr/>
            </p:nvPicPr>
            <p:blipFill>
              <a:blip r:embed="rId4"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8498307" flipH="1">
                <a:off x="-2779279" y="2900466"/>
                <a:ext cx="1143367" cy="459051"/>
              </a:xfrm>
              <a:prstGeom prst="rect">
                <a:avLst/>
              </a:prstGeom>
            </p:spPr>
          </p:pic>
          <p:pic>
            <p:nvPicPr>
              <p:cNvPr id="379" name="Picture 180" descr="A picture containing black, clock, white, knife&#10;&#10;Description automatically generated">
                <a:extLst>
                  <a:ext uri="{FF2B5EF4-FFF2-40B4-BE49-F238E27FC236}">
                    <a16:creationId xmlns:a16="http://schemas.microsoft.com/office/drawing/2014/main" id="{8D3BF356-A532-C643-BB3D-E128932927EE}"/>
                  </a:ext>
                </a:extLst>
              </p:cNvPr>
              <p:cNvPicPr>
                <a:picLocks noChangeAspect="1"/>
              </p:cNvPicPr>
              <p:nvPr/>
            </p:nvPicPr>
            <p:blipFill>
              <a:blip r:embed="rId5"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7951816" flipH="1">
                <a:off x="-2229857" y="2161656"/>
                <a:ext cx="1425602" cy="1876809"/>
              </a:xfrm>
              <a:prstGeom prst="rect">
                <a:avLst/>
              </a:prstGeom>
            </p:spPr>
          </p:pic>
          <p:pic>
            <p:nvPicPr>
              <p:cNvPr id="380" name="Picture 181" descr="A picture containing indoor, sitting, black, white&#10;&#10;Description automatically generated">
                <a:extLst>
                  <a:ext uri="{FF2B5EF4-FFF2-40B4-BE49-F238E27FC236}">
                    <a16:creationId xmlns:a16="http://schemas.microsoft.com/office/drawing/2014/main" id="{230BAD78-345A-7444-AA4A-66F2F6FF1565}"/>
                  </a:ext>
                </a:extLst>
              </p:cNvPr>
              <p:cNvPicPr>
                <a:picLocks noChangeAspect="1"/>
              </p:cNvPicPr>
              <p:nvPr/>
            </p:nvPicPr>
            <p:blipFill>
              <a:blip r:embed="rId6"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flipH="1">
                <a:off x="-1495766" y="3640426"/>
                <a:ext cx="1023409" cy="1097801"/>
              </a:xfrm>
              <a:prstGeom prst="rect">
                <a:avLst/>
              </a:prstGeom>
            </p:spPr>
          </p:pic>
        </p:grpSp>
        <p:grpSp>
          <p:nvGrpSpPr>
            <p:cNvPr id="370" name="Group 591">
              <a:extLst>
                <a:ext uri="{FF2B5EF4-FFF2-40B4-BE49-F238E27FC236}">
                  <a16:creationId xmlns:a16="http://schemas.microsoft.com/office/drawing/2014/main" id="{7AEB17F8-2B05-BB4C-9F94-153E09210EDA}"/>
                </a:ext>
              </a:extLst>
            </p:cNvPr>
            <p:cNvGrpSpPr/>
            <p:nvPr/>
          </p:nvGrpSpPr>
          <p:grpSpPr>
            <a:xfrm>
              <a:off x="5096571" y="1939685"/>
              <a:ext cx="1817599" cy="1926301"/>
              <a:chOff x="-70844" y="2579788"/>
              <a:chExt cx="2523843" cy="2674780"/>
            </a:xfrm>
          </p:grpSpPr>
          <p:pic>
            <p:nvPicPr>
              <p:cNvPr id="373" name="Picture 588" descr="A picture containing object&#10;&#10;Description automatically generated">
                <a:extLst>
                  <a:ext uri="{FF2B5EF4-FFF2-40B4-BE49-F238E27FC236}">
                    <a16:creationId xmlns:a16="http://schemas.microsoft.com/office/drawing/2014/main" id="{BB7DD8F2-14CD-AC4C-B5FE-666596BF15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rot="5084758" flipH="1">
                <a:off x="-916" y="2753853"/>
                <a:ext cx="664007" cy="803863"/>
              </a:xfrm>
              <a:prstGeom prst="rect">
                <a:avLst/>
              </a:prstGeom>
            </p:spPr>
          </p:pic>
          <p:pic>
            <p:nvPicPr>
              <p:cNvPr id="374" name="Picture 582" descr="A close up of a computer&#10;&#10;Description automatically generated">
                <a:extLst>
                  <a:ext uri="{FF2B5EF4-FFF2-40B4-BE49-F238E27FC236}">
                    <a16:creationId xmlns:a16="http://schemas.microsoft.com/office/drawing/2014/main" id="{5846A885-DCDC-0940-A6D5-B3A464EBDDC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0615390" flipH="1">
                <a:off x="444582" y="2920634"/>
                <a:ext cx="1143367" cy="459051"/>
              </a:xfrm>
              <a:prstGeom prst="rect">
                <a:avLst/>
              </a:prstGeom>
            </p:spPr>
          </p:pic>
          <p:pic>
            <p:nvPicPr>
              <p:cNvPr id="375" name="Picture 590" descr="A picture containing black, clock, white, knife&#10;&#10;Description automatically generated">
                <a:extLst>
                  <a:ext uri="{FF2B5EF4-FFF2-40B4-BE49-F238E27FC236}">
                    <a16:creationId xmlns:a16="http://schemas.microsoft.com/office/drawing/2014/main" id="{3D5B0823-4BDC-0049-8962-1C42D02FCC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9301551" flipH="1">
                <a:off x="1006233" y="2579788"/>
                <a:ext cx="1425602" cy="1876809"/>
              </a:xfrm>
              <a:prstGeom prst="rect">
                <a:avLst/>
              </a:prstGeom>
            </p:spPr>
          </p:pic>
          <p:pic>
            <p:nvPicPr>
              <p:cNvPr id="376" name="Picture 586" descr="A picture containing indoor, sitting, black, white&#10;&#10;Description automatically generated">
                <a:extLst>
                  <a:ext uri="{FF2B5EF4-FFF2-40B4-BE49-F238E27FC236}">
                    <a16:creationId xmlns:a16="http://schemas.microsoft.com/office/drawing/2014/main" id="{2F9C9FEC-E7A8-4F4A-93C4-BC7138C6E1B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flipH="1">
                <a:off x="1429590" y="4156767"/>
                <a:ext cx="1023409" cy="1097801"/>
              </a:xfrm>
              <a:prstGeom prst="rect">
                <a:avLst/>
              </a:prstGeom>
            </p:spPr>
          </p:pic>
        </p:grpSp>
        <p:sp>
          <p:nvSpPr>
            <p:cNvPr id="371" name="Isosceles Triangle 49">
              <a:extLst>
                <a:ext uri="{FF2B5EF4-FFF2-40B4-BE49-F238E27FC236}">
                  <a16:creationId xmlns:a16="http://schemas.microsoft.com/office/drawing/2014/main" id="{615D0F85-862D-EC4B-8799-389E3761282E}"/>
                </a:ext>
              </a:extLst>
            </p:cNvPr>
            <p:cNvSpPr/>
            <p:nvPr/>
          </p:nvSpPr>
          <p:spPr>
            <a:xfrm>
              <a:off x="6343029" y="2308159"/>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372" name="Isosceles Triangle 49">
              <a:extLst>
                <a:ext uri="{FF2B5EF4-FFF2-40B4-BE49-F238E27FC236}">
                  <a16:creationId xmlns:a16="http://schemas.microsoft.com/office/drawing/2014/main" id="{BD742865-120E-E64D-A749-2D002300139E}"/>
                </a:ext>
              </a:extLst>
            </p:cNvPr>
            <p:cNvSpPr/>
            <p:nvPr/>
          </p:nvSpPr>
          <p:spPr>
            <a:xfrm>
              <a:off x="5861585" y="3323757"/>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grpSp>
      <p:grpSp>
        <p:nvGrpSpPr>
          <p:cNvPr id="1953" name="Group 1952">
            <a:extLst>
              <a:ext uri="{FF2B5EF4-FFF2-40B4-BE49-F238E27FC236}">
                <a16:creationId xmlns:a16="http://schemas.microsoft.com/office/drawing/2014/main" id="{0D28C08C-472F-354D-8680-4E228B02ACC0}"/>
              </a:ext>
            </a:extLst>
          </p:cNvPr>
          <p:cNvGrpSpPr/>
          <p:nvPr/>
        </p:nvGrpSpPr>
        <p:grpSpPr>
          <a:xfrm>
            <a:off x="673060" y="2161387"/>
            <a:ext cx="2118858" cy="2228653"/>
            <a:chOff x="657156" y="2405108"/>
            <a:chExt cx="2118858" cy="2228653"/>
          </a:xfrm>
        </p:grpSpPr>
        <p:grpSp>
          <p:nvGrpSpPr>
            <p:cNvPr id="1954" name="Group 1953">
              <a:extLst>
                <a:ext uri="{FF2B5EF4-FFF2-40B4-BE49-F238E27FC236}">
                  <a16:creationId xmlns:a16="http://schemas.microsoft.com/office/drawing/2014/main" id="{ED8318D4-AF15-EA44-A8C9-378FD2C65FDE}"/>
                </a:ext>
              </a:extLst>
            </p:cNvPr>
            <p:cNvGrpSpPr/>
            <p:nvPr/>
          </p:nvGrpSpPr>
          <p:grpSpPr>
            <a:xfrm>
              <a:off x="674379" y="2678132"/>
              <a:ext cx="1820173" cy="1920168"/>
              <a:chOff x="309415" y="2274512"/>
              <a:chExt cx="2307112" cy="2433858"/>
            </a:xfrm>
          </p:grpSpPr>
          <p:pic>
            <p:nvPicPr>
              <p:cNvPr id="1959" name="Picture 1958">
                <a:extLst>
                  <a:ext uri="{FF2B5EF4-FFF2-40B4-BE49-F238E27FC236}">
                    <a16:creationId xmlns:a16="http://schemas.microsoft.com/office/drawing/2014/main" id="{2D06951E-DC20-994F-B204-00481CC356FB}"/>
                  </a:ext>
                </a:extLst>
              </p:cNvPr>
              <p:cNvPicPr>
                <a:picLocks noChangeAspect="1"/>
              </p:cNvPicPr>
              <p:nvPr/>
            </p:nvPicPr>
            <p:blipFill>
              <a:blip r:embed="rId7"/>
              <a:stretch>
                <a:fillRect/>
              </a:stretch>
            </p:blipFill>
            <p:spPr>
              <a:xfrm>
                <a:off x="523739" y="2930923"/>
                <a:ext cx="907112" cy="693367"/>
              </a:xfrm>
              <a:prstGeom prst="rect">
                <a:avLst/>
              </a:prstGeom>
              <a:ln w="19050">
                <a:solidFill>
                  <a:schemeClr val="bg1">
                    <a:lumMod val="75000"/>
                  </a:schemeClr>
                </a:solidFill>
              </a:ln>
            </p:spPr>
          </p:pic>
          <p:pic>
            <p:nvPicPr>
              <p:cNvPr id="1960" name="Picture 1959">
                <a:extLst>
                  <a:ext uri="{FF2B5EF4-FFF2-40B4-BE49-F238E27FC236}">
                    <a16:creationId xmlns:a16="http://schemas.microsoft.com/office/drawing/2014/main" id="{F7C5F6AC-3D0D-A245-B28B-FDD9287FE31D}"/>
                  </a:ext>
                </a:extLst>
              </p:cNvPr>
              <p:cNvPicPr>
                <a:picLocks noChangeAspect="1"/>
              </p:cNvPicPr>
              <p:nvPr/>
            </p:nvPicPr>
            <p:blipFill>
              <a:blip r:embed="rId8"/>
              <a:stretch>
                <a:fillRect/>
              </a:stretch>
            </p:blipFill>
            <p:spPr>
              <a:xfrm>
                <a:off x="625637" y="3363163"/>
                <a:ext cx="996220" cy="573538"/>
              </a:xfrm>
              <a:prstGeom prst="rect">
                <a:avLst/>
              </a:prstGeom>
              <a:ln w="19050">
                <a:solidFill>
                  <a:schemeClr val="bg1">
                    <a:lumMod val="75000"/>
                  </a:schemeClr>
                </a:solidFill>
              </a:ln>
            </p:spPr>
          </p:pic>
          <p:pic>
            <p:nvPicPr>
              <p:cNvPr id="1961" name="Picture 1960">
                <a:extLst>
                  <a:ext uri="{FF2B5EF4-FFF2-40B4-BE49-F238E27FC236}">
                    <a16:creationId xmlns:a16="http://schemas.microsoft.com/office/drawing/2014/main" id="{D92D5168-FD52-1E43-BFC4-92D26EAAF737}"/>
                  </a:ext>
                </a:extLst>
              </p:cNvPr>
              <p:cNvPicPr>
                <a:picLocks noChangeAspect="1"/>
              </p:cNvPicPr>
              <p:nvPr/>
            </p:nvPicPr>
            <p:blipFill>
              <a:blip r:embed="rId7"/>
              <a:stretch>
                <a:fillRect/>
              </a:stretch>
            </p:blipFill>
            <p:spPr>
              <a:xfrm>
                <a:off x="1518409" y="2805614"/>
                <a:ext cx="907112" cy="693367"/>
              </a:xfrm>
              <a:prstGeom prst="rect">
                <a:avLst/>
              </a:prstGeom>
              <a:ln w="19050">
                <a:solidFill>
                  <a:schemeClr val="bg1">
                    <a:lumMod val="75000"/>
                  </a:schemeClr>
                </a:solidFill>
              </a:ln>
            </p:spPr>
          </p:pic>
          <p:pic>
            <p:nvPicPr>
              <p:cNvPr id="1962" name="Picture 1961">
                <a:extLst>
                  <a:ext uri="{FF2B5EF4-FFF2-40B4-BE49-F238E27FC236}">
                    <a16:creationId xmlns:a16="http://schemas.microsoft.com/office/drawing/2014/main" id="{13A2D49C-8448-DB4E-BA8B-D4D728D84398}"/>
                  </a:ext>
                </a:extLst>
              </p:cNvPr>
              <p:cNvPicPr>
                <a:picLocks noChangeAspect="1"/>
              </p:cNvPicPr>
              <p:nvPr/>
            </p:nvPicPr>
            <p:blipFill>
              <a:blip r:embed="rId8"/>
              <a:stretch>
                <a:fillRect/>
              </a:stretch>
            </p:blipFill>
            <p:spPr>
              <a:xfrm>
                <a:off x="1620307" y="3237854"/>
                <a:ext cx="996220" cy="573538"/>
              </a:xfrm>
              <a:prstGeom prst="rect">
                <a:avLst/>
              </a:prstGeom>
              <a:ln w="19050">
                <a:solidFill>
                  <a:schemeClr val="bg1">
                    <a:lumMod val="75000"/>
                  </a:schemeClr>
                </a:solidFill>
              </a:ln>
            </p:spPr>
          </p:pic>
          <p:pic>
            <p:nvPicPr>
              <p:cNvPr id="1963" name="Picture 1962">
                <a:extLst>
                  <a:ext uri="{FF2B5EF4-FFF2-40B4-BE49-F238E27FC236}">
                    <a16:creationId xmlns:a16="http://schemas.microsoft.com/office/drawing/2014/main" id="{E8394380-63F8-3645-BD01-FE9967373609}"/>
                  </a:ext>
                </a:extLst>
              </p:cNvPr>
              <p:cNvPicPr>
                <a:picLocks noChangeAspect="1"/>
              </p:cNvPicPr>
              <p:nvPr/>
            </p:nvPicPr>
            <p:blipFill>
              <a:blip r:embed="rId7"/>
              <a:stretch>
                <a:fillRect/>
              </a:stretch>
            </p:blipFill>
            <p:spPr>
              <a:xfrm>
                <a:off x="1455602" y="3454316"/>
                <a:ext cx="907112" cy="693367"/>
              </a:xfrm>
              <a:prstGeom prst="rect">
                <a:avLst/>
              </a:prstGeom>
              <a:ln w="19050">
                <a:solidFill>
                  <a:schemeClr val="bg1">
                    <a:lumMod val="75000"/>
                  </a:schemeClr>
                </a:solidFill>
              </a:ln>
            </p:spPr>
          </p:pic>
          <p:pic>
            <p:nvPicPr>
              <p:cNvPr id="1964" name="Picture 1963">
                <a:extLst>
                  <a:ext uri="{FF2B5EF4-FFF2-40B4-BE49-F238E27FC236}">
                    <a16:creationId xmlns:a16="http://schemas.microsoft.com/office/drawing/2014/main" id="{B3A1B3E2-2D80-354F-AD40-EF553821A04E}"/>
                  </a:ext>
                </a:extLst>
              </p:cNvPr>
              <p:cNvPicPr>
                <a:picLocks noChangeAspect="1"/>
              </p:cNvPicPr>
              <p:nvPr/>
            </p:nvPicPr>
            <p:blipFill>
              <a:blip r:embed="rId8"/>
              <a:stretch>
                <a:fillRect/>
              </a:stretch>
            </p:blipFill>
            <p:spPr>
              <a:xfrm>
                <a:off x="829958" y="4134832"/>
                <a:ext cx="996220" cy="573538"/>
              </a:xfrm>
              <a:prstGeom prst="rect">
                <a:avLst/>
              </a:prstGeom>
              <a:ln w="19050">
                <a:solidFill>
                  <a:schemeClr val="bg1">
                    <a:lumMod val="75000"/>
                  </a:schemeClr>
                </a:solidFill>
              </a:ln>
            </p:spPr>
          </p:pic>
          <p:pic>
            <p:nvPicPr>
              <p:cNvPr id="1965" name="Picture 1964">
                <a:extLst>
                  <a:ext uri="{FF2B5EF4-FFF2-40B4-BE49-F238E27FC236}">
                    <a16:creationId xmlns:a16="http://schemas.microsoft.com/office/drawing/2014/main" id="{53619E21-4584-6745-84BF-A3C8C03E0071}"/>
                  </a:ext>
                </a:extLst>
              </p:cNvPr>
              <p:cNvPicPr>
                <a:picLocks noChangeAspect="1"/>
              </p:cNvPicPr>
              <p:nvPr/>
            </p:nvPicPr>
            <p:blipFill>
              <a:blip r:embed="rId7"/>
              <a:stretch>
                <a:fillRect/>
              </a:stretch>
            </p:blipFill>
            <p:spPr>
              <a:xfrm>
                <a:off x="1040933" y="2274512"/>
                <a:ext cx="907112" cy="693367"/>
              </a:xfrm>
              <a:prstGeom prst="rect">
                <a:avLst/>
              </a:prstGeom>
              <a:ln w="19050">
                <a:solidFill>
                  <a:schemeClr val="bg1">
                    <a:lumMod val="75000"/>
                  </a:schemeClr>
                </a:solidFill>
              </a:ln>
            </p:spPr>
          </p:pic>
          <p:pic>
            <p:nvPicPr>
              <p:cNvPr id="1966" name="Picture 1965">
                <a:extLst>
                  <a:ext uri="{FF2B5EF4-FFF2-40B4-BE49-F238E27FC236}">
                    <a16:creationId xmlns:a16="http://schemas.microsoft.com/office/drawing/2014/main" id="{8DA6F7B7-3D41-4B4B-BDFE-FC6C0A43084D}"/>
                  </a:ext>
                </a:extLst>
              </p:cNvPr>
              <p:cNvPicPr>
                <a:picLocks noChangeAspect="1"/>
              </p:cNvPicPr>
              <p:nvPr/>
            </p:nvPicPr>
            <p:blipFill>
              <a:blip r:embed="rId8"/>
              <a:stretch>
                <a:fillRect/>
              </a:stretch>
            </p:blipFill>
            <p:spPr>
              <a:xfrm>
                <a:off x="1142831" y="2706752"/>
                <a:ext cx="996220" cy="573538"/>
              </a:xfrm>
              <a:prstGeom prst="rect">
                <a:avLst/>
              </a:prstGeom>
              <a:ln w="19050">
                <a:solidFill>
                  <a:schemeClr val="bg1">
                    <a:lumMod val="75000"/>
                  </a:schemeClr>
                </a:solidFill>
              </a:ln>
            </p:spPr>
          </p:pic>
          <p:pic>
            <p:nvPicPr>
              <p:cNvPr id="1967" name="Picture 1966">
                <a:extLst>
                  <a:ext uri="{FF2B5EF4-FFF2-40B4-BE49-F238E27FC236}">
                    <a16:creationId xmlns:a16="http://schemas.microsoft.com/office/drawing/2014/main" id="{AEE02B11-8392-FB47-878C-B05CC6C5B689}"/>
                  </a:ext>
                </a:extLst>
              </p:cNvPr>
              <p:cNvPicPr>
                <a:picLocks noChangeAspect="1"/>
              </p:cNvPicPr>
              <p:nvPr/>
            </p:nvPicPr>
            <p:blipFill>
              <a:blip r:embed="rId7"/>
              <a:stretch>
                <a:fillRect/>
              </a:stretch>
            </p:blipFill>
            <p:spPr>
              <a:xfrm>
                <a:off x="676139" y="3083323"/>
                <a:ext cx="907112" cy="693367"/>
              </a:xfrm>
              <a:prstGeom prst="rect">
                <a:avLst/>
              </a:prstGeom>
              <a:ln w="19050">
                <a:solidFill>
                  <a:schemeClr val="bg1">
                    <a:lumMod val="75000"/>
                  </a:schemeClr>
                </a:solidFill>
              </a:ln>
            </p:spPr>
          </p:pic>
          <p:pic>
            <p:nvPicPr>
              <p:cNvPr id="1968" name="Picture 1967">
                <a:extLst>
                  <a:ext uri="{FF2B5EF4-FFF2-40B4-BE49-F238E27FC236}">
                    <a16:creationId xmlns:a16="http://schemas.microsoft.com/office/drawing/2014/main" id="{9855D933-42CE-5B48-A35D-C9C5BAB5373D}"/>
                  </a:ext>
                </a:extLst>
              </p:cNvPr>
              <p:cNvPicPr>
                <a:picLocks noChangeAspect="1"/>
              </p:cNvPicPr>
              <p:nvPr/>
            </p:nvPicPr>
            <p:blipFill>
              <a:blip r:embed="rId8"/>
              <a:stretch>
                <a:fillRect/>
              </a:stretch>
            </p:blipFill>
            <p:spPr>
              <a:xfrm>
                <a:off x="778037" y="3515563"/>
                <a:ext cx="996220" cy="573538"/>
              </a:xfrm>
              <a:prstGeom prst="rect">
                <a:avLst/>
              </a:prstGeom>
              <a:ln w="19050">
                <a:solidFill>
                  <a:schemeClr val="bg1">
                    <a:lumMod val="75000"/>
                  </a:schemeClr>
                </a:solidFill>
              </a:ln>
            </p:spPr>
          </p:pic>
          <p:pic>
            <p:nvPicPr>
              <p:cNvPr id="1969" name="Picture 1968">
                <a:extLst>
                  <a:ext uri="{FF2B5EF4-FFF2-40B4-BE49-F238E27FC236}">
                    <a16:creationId xmlns:a16="http://schemas.microsoft.com/office/drawing/2014/main" id="{98E4FAB8-EC23-0940-A925-CF18A00F51C7}"/>
                  </a:ext>
                </a:extLst>
              </p:cNvPr>
              <p:cNvPicPr>
                <a:picLocks noChangeAspect="1"/>
              </p:cNvPicPr>
              <p:nvPr/>
            </p:nvPicPr>
            <p:blipFill>
              <a:blip r:embed="rId7"/>
              <a:stretch>
                <a:fillRect/>
              </a:stretch>
            </p:blipFill>
            <p:spPr>
              <a:xfrm>
                <a:off x="309415" y="3390182"/>
                <a:ext cx="907112" cy="693367"/>
              </a:xfrm>
              <a:prstGeom prst="rect">
                <a:avLst/>
              </a:prstGeom>
              <a:ln w="19050">
                <a:solidFill>
                  <a:schemeClr val="bg1">
                    <a:lumMod val="75000"/>
                  </a:schemeClr>
                </a:solidFill>
              </a:ln>
            </p:spPr>
          </p:pic>
          <p:pic>
            <p:nvPicPr>
              <p:cNvPr id="1970" name="Picture 1969">
                <a:extLst>
                  <a:ext uri="{FF2B5EF4-FFF2-40B4-BE49-F238E27FC236}">
                    <a16:creationId xmlns:a16="http://schemas.microsoft.com/office/drawing/2014/main" id="{E0311B09-5D8E-8F4D-9479-34630CC711F5}"/>
                  </a:ext>
                </a:extLst>
              </p:cNvPr>
              <p:cNvPicPr>
                <a:picLocks noChangeAspect="1"/>
              </p:cNvPicPr>
              <p:nvPr/>
            </p:nvPicPr>
            <p:blipFill>
              <a:blip r:embed="rId8"/>
              <a:stretch>
                <a:fillRect/>
              </a:stretch>
            </p:blipFill>
            <p:spPr>
              <a:xfrm>
                <a:off x="411313" y="3822422"/>
                <a:ext cx="996220" cy="573538"/>
              </a:xfrm>
              <a:prstGeom prst="rect">
                <a:avLst/>
              </a:prstGeom>
              <a:ln w="19050">
                <a:solidFill>
                  <a:schemeClr val="bg1">
                    <a:lumMod val="75000"/>
                  </a:schemeClr>
                </a:solidFill>
              </a:ln>
            </p:spPr>
          </p:pic>
          <p:pic>
            <p:nvPicPr>
              <p:cNvPr id="1971" name="Picture 1970">
                <a:extLst>
                  <a:ext uri="{FF2B5EF4-FFF2-40B4-BE49-F238E27FC236}">
                    <a16:creationId xmlns:a16="http://schemas.microsoft.com/office/drawing/2014/main" id="{8438A4CF-71B2-9B49-B9B4-878B83DD92C2}"/>
                  </a:ext>
                </a:extLst>
              </p:cNvPr>
              <p:cNvPicPr>
                <a:picLocks noChangeAspect="1"/>
              </p:cNvPicPr>
              <p:nvPr/>
            </p:nvPicPr>
            <p:blipFill>
              <a:blip r:embed="rId7"/>
              <a:stretch>
                <a:fillRect/>
              </a:stretch>
            </p:blipFill>
            <p:spPr>
              <a:xfrm>
                <a:off x="501710" y="2616858"/>
                <a:ext cx="907112" cy="693367"/>
              </a:xfrm>
              <a:prstGeom prst="rect">
                <a:avLst/>
              </a:prstGeom>
              <a:ln w="19050">
                <a:solidFill>
                  <a:schemeClr val="bg1">
                    <a:lumMod val="75000"/>
                  </a:schemeClr>
                </a:solidFill>
              </a:ln>
            </p:spPr>
          </p:pic>
          <p:pic>
            <p:nvPicPr>
              <p:cNvPr id="1972" name="Picture 1971">
                <a:extLst>
                  <a:ext uri="{FF2B5EF4-FFF2-40B4-BE49-F238E27FC236}">
                    <a16:creationId xmlns:a16="http://schemas.microsoft.com/office/drawing/2014/main" id="{A1D4FD87-A702-8542-81B1-784FF87C9F50}"/>
                  </a:ext>
                </a:extLst>
              </p:cNvPr>
              <p:cNvPicPr>
                <a:picLocks noChangeAspect="1"/>
              </p:cNvPicPr>
              <p:nvPr/>
            </p:nvPicPr>
            <p:blipFill>
              <a:blip r:embed="rId8"/>
              <a:stretch>
                <a:fillRect/>
              </a:stretch>
            </p:blipFill>
            <p:spPr>
              <a:xfrm>
                <a:off x="603608" y="3049098"/>
                <a:ext cx="996220" cy="573538"/>
              </a:xfrm>
              <a:prstGeom prst="rect">
                <a:avLst/>
              </a:prstGeom>
              <a:ln w="19050">
                <a:solidFill>
                  <a:schemeClr val="bg1">
                    <a:lumMod val="75000"/>
                  </a:schemeClr>
                </a:solidFill>
              </a:ln>
            </p:spPr>
          </p:pic>
        </p:grpSp>
        <p:sp>
          <p:nvSpPr>
            <p:cNvPr id="1955" name="TextBox 1954">
              <a:extLst>
                <a:ext uri="{FF2B5EF4-FFF2-40B4-BE49-F238E27FC236}">
                  <a16:creationId xmlns:a16="http://schemas.microsoft.com/office/drawing/2014/main" id="{285C05BA-2577-5C45-92DA-6AB6E93E86A8}"/>
                </a:ext>
              </a:extLst>
            </p:cNvPr>
            <p:cNvSpPr txBox="1"/>
            <p:nvPr/>
          </p:nvSpPr>
          <p:spPr>
            <a:xfrm>
              <a:off x="657156" y="2566457"/>
              <a:ext cx="690162" cy="33855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chemeClr val="bg1">
                      <a:lumMod val="50000"/>
                    </a:schemeClr>
                  </a:solidFill>
                  <a:effectLst/>
                  <a:uLnTx/>
                  <a:uFillTx/>
                  <a:latin typeface="+mj-lt"/>
                  <a:ea typeface="+mn-ea"/>
                  <a:cs typeface="CiscoSansTT" panose="020B0503020201020303" pitchFamily="34" charset="0"/>
                </a:rPr>
                <a:t>Outdated playbook</a:t>
              </a:r>
            </a:p>
          </p:txBody>
        </p:sp>
        <p:sp>
          <p:nvSpPr>
            <p:cNvPr id="1956" name="TextBox 1955">
              <a:extLst>
                <a:ext uri="{FF2B5EF4-FFF2-40B4-BE49-F238E27FC236}">
                  <a16:creationId xmlns:a16="http://schemas.microsoft.com/office/drawing/2014/main" id="{F7A3637A-382B-AC4A-B106-A293A085FA72}"/>
                </a:ext>
              </a:extLst>
            </p:cNvPr>
            <p:cNvSpPr txBox="1"/>
            <p:nvPr/>
          </p:nvSpPr>
          <p:spPr>
            <a:xfrm>
              <a:off x="1970432" y="2405108"/>
              <a:ext cx="805582" cy="58477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accent5"/>
                  </a:solidFill>
                  <a:effectLst/>
                  <a:uLnTx/>
                  <a:uFillTx/>
                  <a:latin typeface="+mj-lt"/>
                  <a:ea typeface="+mn-ea"/>
                  <a:cs typeface="CiscoSansTT" panose="020B0503020201020303" pitchFamily="34" charset="0"/>
                </a:rPr>
                <a:t>Automation script that works “sometimes”</a:t>
              </a:r>
            </a:p>
          </p:txBody>
        </p:sp>
        <p:sp>
          <p:nvSpPr>
            <p:cNvPr id="1957" name="TextBox 1956">
              <a:extLst>
                <a:ext uri="{FF2B5EF4-FFF2-40B4-BE49-F238E27FC236}">
                  <a16:creationId xmlns:a16="http://schemas.microsoft.com/office/drawing/2014/main" id="{C5AAC406-DA67-334F-9F12-06519032DA7E}"/>
                </a:ext>
              </a:extLst>
            </p:cNvPr>
            <p:cNvSpPr txBox="1"/>
            <p:nvPr/>
          </p:nvSpPr>
          <p:spPr>
            <a:xfrm>
              <a:off x="1307874" y="2436314"/>
              <a:ext cx="635265" cy="215444"/>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effectLst/>
                  <a:uLnTx/>
                  <a:uFillTx/>
                  <a:latin typeface="+mj-lt"/>
                  <a:ea typeface="+mn-ea"/>
                  <a:cs typeface="CiscoSansTT" panose="020B0503020201020303" pitchFamily="34" charset="0"/>
                </a:rPr>
                <a:t>Playbook </a:t>
              </a:r>
            </a:p>
          </p:txBody>
        </p:sp>
        <p:sp>
          <p:nvSpPr>
            <p:cNvPr id="1958" name="TextBox 1957">
              <a:extLst>
                <a:ext uri="{FF2B5EF4-FFF2-40B4-BE49-F238E27FC236}">
                  <a16:creationId xmlns:a16="http://schemas.microsoft.com/office/drawing/2014/main" id="{14A98DF4-D94E-DC46-90C4-E7D5DC02EACD}"/>
                </a:ext>
              </a:extLst>
            </p:cNvPr>
            <p:cNvSpPr txBox="1"/>
            <p:nvPr/>
          </p:nvSpPr>
          <p:spPr>
            <a:xfrm>
              <a:off x="1868832" y="4172096"/>
              <a:ext cx="875889" cy="461665"/>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chemeClr val="accent6"/>
                  </a:solidFill>
                  <a:effectLst/>
                  <a:uLnTx/>
                  <a:uFillTx/>
                  <a:latin typeface="+mj-lt"/>
                  <a:ea typeface="+mn-ea"/>
                  <a:cs typeface="CiscoSansTT" panose="020B0503020201020303" pitchFamily="34" charset="0"/>
                </a:rPr>
                <a:t>Integration script that no longer works</a:t>
              </a:r>
            </a:p>
          </p:txBody>
        </p:sp>
      </p:grpSp>
      <p:sp>
        <p:nvSpPr>
          <p:cNvPr id="448" name="Text Placeholder 2">
            <a:extLst>
              <a:ext uri="{FF2B5EF4-FFF2-40B4-BE49-F238E27FC236}">
                <a16:creationId xmlns:a16="http://schemas.microsoft.com/office/drawing/2014/main" id="{8CDD2616-871A-4737-9EB7-0C387890FF05}"/>
              </a:ext>
            </a:extLst>
          </p:cNvPr>
          <p:cNvSpPr txBox="1">
            <a:spLocks/>
          </p:cNvSpPr>
          <p:nvPr/>
        </p:nvSpPr>
        <p:spPr>
          <a:xfrm>
            <a:off x="542719" y="1350997"/>
            <a:ext cx="1958780" cy="731836"/>
          </a:xfrm>
          <a:prstGeom prst="rect">
            <a:avLst/>
          </a:prstGeom>
        </p:spPr>
        <p:txBody>
          <a:bodyPr lIns="0" tIns="45710" rIns="0" bIns="45710" anchor="t"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0" indent="0">
              <a:lnSpc>
                <a:spcPct val="100000"/>
              </a:lnSpc>
              <a:spcBef>
                <a:spcPts val="0"/>
              </a:spcBef>
              <a:spcAft>
                <a:spcPts val="600"/>
              </a:spcAft>
              <a:buClr>
                <a:srgbClr val="282828"/>
              </a:buClr>
              <a:buNone/>
              <a:defRPr/>
            </a:pPr>
            <a:r>
              <a:rPr kumimoji="0" lang="en-US" sz="1400" u="none" strike="noStrike" kern="1200" cap="none" spc="0" normalizeH="0" baseline="0" noProof="0">
                <a:ln>
                  <a:noFill/>
                </a:ln>
                <a:solidFill>
                  <a:schemeClr val="bg2">
                    <a:lumMod val="50000"/>
                  </a:schemeClr>
                </a:solidFill>
                <a:effectLst/>
                <a:uLnTx/>
                <a:uFillTx/>
                <a:latin typeface="CiscoSansTT Medium" panose="020B0903020201020303" pitchFamily="34" charset="0"/>
                <a:cs typeface="CiscoSansTT Medium" panose="020B0903020201020303" pitchFamily="34" charset="0"/>
              </a:rPr>
              <a:t>BEFORE: </a:t>
            </a:r>
            <a:r>
              <a:rPr lang="en-US" sz="1400">
                <a:solidFill>
                  <a:schemeClr val="bg2">
                    <a:lumMod val="50000"/>
                  </a:schemeClr>
                </a:solidFill>
                <a:latin typeface="+mj-lt"/>
                <a:cs typeface="CiscoSansTT" panose="020B0503020201020303" pitchFamily="34" charset="0"/>
              </a:rPr>
              <a:t>Repetitive, human-powered tasks</a:t>
            </a:r>
            <a:endParaRPr kumimoji="0" lang="en-US" sz="1400" u="none" strike="noStrike" kern="1200" cap="none" spc="0" normalizeH="0" baseline="0" noProof="0">
              <a:ln>
                <a:noFill/>
              </a:ln>
              <a:solidFill>
                <a:schemeClr val="bg2">
                  <a:lumMod val="50000"/>
                </a:schemeClr>
              </a:solidFill>
              <a:effectLst/>
              <a:uLnTx/>
              <a:uFillTx/>
              <a:latin typeface="+mj-lt"/>
              <a:cs typeface="CiscoSansTT" panose="020B0503020201020303" pitchFamily="34" charset="0"/>
            </a:endParaRPr>
          </a:p>
        </p:txBody>
      </p:sp>
      <p:pic>
        <p:nvPicPr>
          <p:cNvPr id="467" name="Picture 466">
            <a:extLst>
              <a:ext uri="{FF2B5EF4-FFF2-40B4-BE49-F238E27FC236}">
                <a16:creationId xmlns:a16="http://schemas.microsoft.com/office/drawing/2014/main" id="{90D3121E-073A-4CD0-A8C3-BDCE43F633EB}"/>
              </a:ext>
            </a:extLst>
          </p:cNvPr>
          <p:cNvPicPr>
            <a:picLocks noChangeAspect="1"/>
          </p:cNvPicPr>
          <p:nvPr/>
        </p:nvPicPr>
        <p:blipFill>
          <a:blip r:embed="rId9"/>
          <a:stretch>
            <a:fillRect/>
          </a:stretch>
        </p:blipFill>
        <p:spPr>
          <a:xfrm>
            <a:off x="3078734" y="2369374"/>
            <a:ext cx="201185" cy="1914310"/>
          </a:xfrm>
          <a:prstGeom prst="rect">
            <a:avLst/>
          </a:prstGeom>
        </p:spPr>
      </p:pic>
      <p:grpSp>
        <p:nvGrpSpPr>
          <p:cNvPr id="10" name="Group 9">
            <a:extLst>
              <a:ext uri="{FF2B5EF4-FFF2-40B4-BE49-F238E27FC236}">
                <a16:creationId xmlns:a16="http://schemas.microsoft.com/office/drawing/2014/main" id="{9F8A1261-59C4-2647-AA83-7AF4D5F6839F}"/>
              </a:ext>
            </a:extLst>
          </p:cNvPr>
          <p:cNvGrpSpPr/>
          <p:nvPr/>
        </p:nvGrpSpPr>
        <p:grpSpPr>
          <a:xfrm>
            <a:off x="3357415" y="1274328"/>
            <a:ext cx="5425838" cy="4322669"/>
            <a:chOff x="3357415" y="1274328"/>
            <a:chExt cx="5425838" cy="4322669"/>
          </a:xfrm>
        </p:grpSpPr>
        <p:grpSp>
          <p:nvGrpSpPr>
            <p:cNvPr id="1634" name="Group 1633">
              <a:extLst>
                <a:ext uri="{FF2B5EF4-FFF2-40B4-BE49-F238E27FC236}">
                  <a16:creationId xmlns:a16="http://schemas.microsoft.com/office/drawing/2014/main" id="{D0BE6AEA-DC2A-6349-8A22-69263C80AA94}"/>
                </a:ext>
              </a:extLst>
            </p:cNvPr>
            <p:cNvGrpSpPr/>
            <p:nvPr/>
          </p:nvGrpSpPr>
          <p:grpSpPr>
            <a:xfrm flipH="1">
              <a:off x="6909976" y="4253914"/>
              <a:ext cx="625453" cy="457082"/>
              <a:chOff x="5065273" y="5505855"/>
              <a:chExt cx="1222040" cy="893068"/>
            </a:xfrm>
            <a:solidFill>
              <a:srgbClr val="00BCEB">
                <a:lumMod val="20000"/>
                <a:lumOff val="80000"/>
              </a:srgbClr>
            </a:solidFill>
          </p:grpSpPr>
          <p:sp>
            <p:nvSpPr>
              <p:cNvPr id="1639" name="Freeform: Shape 17">
                <a:extLst>
                  <a:ext uri="{FF2B5EF4-FFF2-40B4-BE49-F238E27FC236}">
                    <a16:creationId xmlns:a16="http://schemas.microsoft.com/office/drawing/2014/main" id="{65124EF4-B979-1F4A-8ACC-381CF3B22037}"/>
                  </a:ext>
                </a:extLst>
              </p:cNvPr>
              <p:cNvSpPr/>
              <p:nvPr/>
            </p:nvSpPr>
            <p:spPr>
              <a:xfrm>
                <a:off x="5694802" y="5754519"/>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0" name="Freeform: Shape 18">
                <a:extLst>
                  <a:ext uri="{FF2B5EF4-FFF2-40B4-BE49-F238E27FC236}">
                    <a16:creationId xmlns:a16="http://schemas.microsoft.com/office/drawing/2014/main" id="{6DEB89FD-1472-C44E-B57D-6BA43ABD6EAE}"/>
                  </a:ext>
                </a:extLst>
              </p:cNvPr>
              <p:cNvSpPr/>
              <p:nvPr/>
            </p:nvSpPr>
            <p:spPr>
              <a:xfrm>
                <a:off x="5694659" y="570487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1" name="Freeform: Shape 19">
                <a:extLst>
                  <a:ext uri="{FF2B5EF4-FFF2-40B4-BE49-F238E27FC236}">
                    <a16:creationId xmlns:a16="http://schemas.microsoft.com/office/drawing/2014/main" id="{1ED8FF98-FDCB-B947-8535-58B677845EE8}"/>
                  </a:ext>
                </a:extLst>
              </p:cNvPr>
              <p:cNvSpPr/>
              <p:nvPr/>
            </p:nvSpPr>
            <p:spPr>
              <a:xfrm>
                <a:off x="5536275" y="5705873"/>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2" name="Freeform: Shape 20">
                <a:extLst>
                  <a:ext uri="{FF2B5EF4-FFF2-40B4-BE49-F238E27FC236}">
                    <a16:creationId xmlns:a16="http://schemas.microsoft.com/office/drawing/2014/main" id="{D3C3EC1C-AAE5-FD4C-8E75-46B3622EFEA7}"/>
                  </a:ext>
                </a:extLst>
              </p:cNvPr>
              <p:cNvSpPr/>
              <p:nvPr/>
            </p:nvSpPr>
            <p:spPr>
              <a:xfrm>
                <a:off x="5694659" y="56552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3" name="Freeform: Shape 21">
                <a:extLst>
                  <a:ext uri="{FF2B5EF4-FFF2-40B4-BE49-F238E27FC236}">
                    <a16:creationId xmlns:a16="http://schemas.microsoft.com/office/drawing/2014/main" id="{6403A3C4-D197-6145-A658-A47741D916E3}"/>
                  </a:ext>
                </a:extLst>
              </p:cNvPr>
              <p:cNvSpPr/>
              <p:nvPr/>
            </p:nvSpPr>
            <p:spPr>
              <a:xfrm>
                <a:off x="5536847" y="5755663"/>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4" name="Freeform: Shape 22">
                <a:extLst>
                  <a:ext uri="{FF2B5EF4-FFF2-40B4-BE49-F238E27FC236}">
                    <a16:creationId xmlns:a16="http://schemas.microsoft.com/office/drawing/2014/main" id="{E3962CAE-2E96-5F4C-9D78-009C084DD17A}"/>
                  </a:ext>
                </a:extLst>
              </p:cNvPr>
              <p:cNvSpPr/>
              <p:nvPr/>
            </p:nvSpPr>
            <p:spPr>
              <a:xfrm>
                <a:off x="5694659" y="550585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5" name="Freeform: Shape 23">
                <a:extLst>
                  <a:ext uri="{FF2B5EF4-FFF2-40B4-BE49-F238E27FC236}">
                    <a16:creationId xmlns:a16="http://schemas.microsoft.com/office/drawing/2014/main" id="{44CC8D22-2867-4747-97A6-DFB45965368E}"/>
                  </a:ext>
                </a:extLst>
              </p:cNvPr>
              <p:cNvSpPr/>
              <p:nvPr/>
            </p:nvSpPr>
            <p:spPr>
              <a:xfrm>
                <a:off x="5694659" y="560543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6" name="Freeform: Shape 24">
                <a:extLst>
                  <a:ext uri="{FF2B5EF4-FFF2-40B4-BE49-F238E27FC236}">
                    <a16:creationId xmlns:a16="http://schemas.microsoft.com/office/drawing/2014/main" id="{E9315209-AB45-464C-A84D-1B7413FC9078}"/>
                  </a:ext>
                </a:extLst>
              </p:cNvPr>
              <p:cNvSpPr/>
              <p:nvPr/>
            </p:nvSpPr>
            <p:spPr>
              <a:xfrm>
                <a:off x="5694802" y="555550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7" name="Freeform: Shape 25">
                <a:extLst>
                  <a:ext uri="{FF2B5EF4-FFF2-40B4-BE49-F238E27FC236}">
                    <a16:creationId xmlns:a16="http://schemas.microsoft.com/office/drawing/2014/main" id="{E410BD6D-AA3B-2A41-8530-C0E0BD8A2BC3}"/>
                  </a:ext>
                </a:extLst>
              </p:cNvPr>
              <p:cNvSpPr/>
              <p:nvPr/>
            </p:nvSpPr>
            <p:spPr>
              <a:xfrm>
                <a:off x="5457727" y="5706875"/>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8" name="Freeform: Shape 26">
                <a:extLst>
                  <a:ext uri="{FF2B5EF4-FFF2-40B4-BE49-F238E27FC236}">
                    <a16:creationId xmlns:a16="http://schemas.microsoft.com/office/drawing/2014/main" id="{FD9FE233-A98F-6045-AD40-67C02CA721F7}"/>
                  </a:ext>
                </a:extLst>
              </p:cNvPr>
              <p:cNvSpPr/>
              <p:nvPr/>
            </p:nvSpPr>
            <p:spPr>
              <a:xfrm>
                <a:off x="5458299" y="5756235"/>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49" name="Freeform: Shape 27">
                <a:extLst>
                  <a:ext uri="{FF2B5EF4-FFF2-40B4-BE49-F238E27FC236}">
                    <a16:creationId xmlns:a16="http://schemas.microsoft.com/office/drawing/2014/main" id="{B7E704E7-C016-3043-8A3B-26D0230828D3}"/>
                  </a:ext>
                </a:extLst>
              </p:cNvPr>
              <p:cNvSpPr/>
              <p:nvPr/>
            </p:nvSpPr>
            <p:spPr>
              <a:xfrm>
                <a:off x="5615109" y="5754662"/>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0" name="Freeform: Shape 28">
                <a:extLst>
                  <a:ext uri="{FF2B5EF4-FFF2-40B4-BE49-F238E27FC236}">
                    <a16:creationId xmlns:a16="http://schemas.microsoft.com/office/drawing/2014/main" id="{6377858F-7197-734A-B858-D0EAEA8033D0}"/>
                  </a:ext>
                </a:extLst>
              </p:cNvPr>
              <p:cNvSpPr/>
              <p:nvPr/>
            </p:nvSpPr>
            <p:spPr>
              <a:xfrm>
                <a:off x="5457727" y="555764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1" name="Freeform: Shape 29">
                <a:extLst>
                  <a:ext uri="{FF2B5EF4-FFF2-40B4-BE49-F238E27FC236}">
                    <a16:creationId xmlns:a16="http://schemas.microsoft.com/office/drawing/2014/main" id="{C26BF402-18E0-C044-B4B4-AAB05DE85A00}"/>
                  </a:ext>
                </a:extLst>
              </p:cNvPr>
              <p:cNvSpPr/>
              <p:nvPr/>
            </p:nvSpPr>
            <p:spPr>
              <a:xfrm>
                <a:off x="5457727" y="5657228"/>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2" name="Freeform: Shape 30">
                <a:extLst>
                  <a:ext uri="{FF2B5EF4-FFF2-40B4-BE49-F238E27FC236}">
                    <a16:creationId xmlns:a16="http://schemas.microsoft.com/office/drawing/2014/main" id="{9FDD5FCA-E6ED-5343-9654-63E05D1E372A}"/>
                  </a:ext>
                </a:extLst>
              </p:cNvPr>
              <p:cNvSpPr/>
              <p:nvPr/>
            </p:nvSpPr>
            <p:spPr>
              <a:xfrm>
                <a:off x="5536990" y="5508430"/>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3" name="Freeform: Shape 31">
                <a:extLst>
                  <a:ext uri="{FF2B5EF4-FFF2-40B4-BE49-F238E27FC236}">
                    <a16:creationId xmlns:a16="http://schemas.microsoft.com/office/drawing/2014/main" id="{A0D1F35B-940A-6147-A9B3-0E52003E7734}"/>
                  </a:ext>
                </a:extLst>
              </p:cNvPr>
              <p:cNvSpPr/>
              <p:nvPr/>
            </p:nvSpPr>
            <p:spPr>
              <a:xfrm>
                <a:off x="5536990" y="5606007"/>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4" name="Freeform: Shape 32">
                <a:extLst>
                  <a:ext uri="{FF2B5EF4-FFF2-40B4-BE49-F238E27FC236}">
                    <a16:creationId xmlns:a16="http://schemas.microsoft.com/office/drawing/2014/main" id="{645F5EC9-849D-1B4D-B120-1FADD51694FD}"/>
                  </a:ext>
                </a:extLst>
              </p:cNvPr>
              <p:cNvSpPr/>
              <p:nvPr/>
            </p:nvSpPr>
            <p:spPr>
              <a:xfrm>
                <a:off x="5536275" y="555664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5" name="Freeform: Shape 33">
                <a:extLst>
                  <a:ext uri="{FF2B5EF4-FFF2-40B4-BE49-F238E27FC236}">
                    <a16:creationId xmlns:a16="http://schemas.microsoft.com/office/drawing/2014/main" id="{0D408DE0-4299-9340-A38D-00E7BC33A48A}"/>
                  </a:ext>
                </a:extLst>
              </p:cNvPr>
              <p:cNvSpPr/>
              <p:nvPr/>
            </p:nvSpPr>
            <p:spPr>
              <a:xfrm>
                <a:off x="5458585" y="5507089"/>
                <a:ext cx="42922" cy="42922"/>
              </a:xfrm>
              <a:custGeom>
                <a:avLst/>
                <a:gdLst>
                  <a:gd name="connsiteX0" fmla="*/ 24753 w 42922"/>
                  <a:gd name="connsiteY0" fmla="*/ 10784 h 42922"/>
                  <a:gd name="connsiteX1" fmla="*/ 22893 w 42922"/>
                  <a:gd name="connsiteY1" fmla="*/ 10784 h 42922"/>
                  <a:gd name="connsiteX2" fmla="*/ 10732 w 42922"/>
                  <a:gd name="connsiteY2" fmla="*/ 22946 h 42922"/>
                  <a:gd name="connsiteX3" fmla="*/ 10732 w 42922"/>
                  <a:gd name="connsiteY3" fmla="*/ 24663 h 42922"/>
                  <a:gd name="connsiteX4" fmla="*/ 22464 w 42922"/>
                  <a:gd name="connsiteY4" fmla="*/ 36824 h 42922"/>
                  <a:gd name="connsiteX5" fmla="*/ 22464 w 42922"/>
                  <a:gd name="connsiteY5" fmla="*/ 36824 h 42922"/>
                  <a:gd name="connsiteX6" fmla="*/ 34841 w 42922"/>
                  <a:gd name="connsiteY6" fmla="*/ 22920 h 42922"/>
                  <a:gd name="connsiteX7" fmla="*/ 24324 w 42922"/>
                  <a:gd name="connsiteY7" fmla="*/ 1078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84"/>
                    </a:moveTo>
                    <a:cubicBezTo>
                      <a:pt x="24135" y="10713"/>
                      <a:pt x="23511" y="10713"/>
                      <a:pt x="22893" y="10784"/>
                    </a:cubicBezTo>
                    <a:cubicBezTo>
                      <a:pt x="16177" y="10784"/>
                      <a:pt x="10732" y="16230"/>
                      <a:pt x="10732" y="22946"/>
                    </a:cubicBezTo>
                    <a:lnTo>
                      <a:pt x="10732" y="24663"/>
                    </a:lnTo>
                    <a:cubicBezTo>
                      <a:pt x="10651" y="31245"/>
                      <a:pt x="15882" y="36668"/>
                      <a:pt x="22464" y="36824"/>
                    </a:cubicBezTo>
                    <a:lnTo>
                      <a:pt x="22464" y="36824"/>
                    </a:lnTo>
                    <a:cubicBezTo>
                      <a:pt x="29720" y="36402"/>
                      <a:pt x="35263" y="30178"/>
                      <a:pt x="34841" y="22920"/>
                    </a:cubicBezTo>
                    <a:cubicBezTo>
                      <a:pt x="34495" y="16957"/>
                      <a:pt x="30177" y="11975"/>
                      <a:pt x="24324" y="1078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6" name="Freeform: Shape 34">
                <a:extLst>
                  <a:ext uri="{FF2B5EF4-FFF2-40B4-BE49-F238E27FC236}">
                    <a16:creationId xmlns:a16="http://schemas.microsoft.com/office/drawing/2014/main" id="{BCBDEEC5-5944-F840-9B1C-909C3ADDCF36}"/>
                  </a:ext>
                </a:extLst>
              </p:cNvPr>
              <p:cNvSpPr/>
              <p:nvPr/>
            </p:nvSpPr>
            <p:spPr>
              <a:xfrm>
                <a:off x="5855761" y="565722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7" name="Freeform: Shape 35">
                <a:extLst>
                  <a:ext uri="{FF2B5EF4-FFF2-40B4-BE49-F238E27FC236}">
                    <a16:creationId xmlns:a16="http://schemas.microsoft.com/office/drawing/2014/main" id="{A01D89F8-B794-4947-8EAB-60E9AEE399D3}"/>
                  </a:ext>
                </a:extLst>
              </p:cNvPr>
              <p:cNvSpPr/>
              <p:nvPr/>
            </p:nvSpPr>
            <p:spPr>
              <a:xfrm>
                <a:off x="5855761" y="570687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8" name="Freeform: Shape 36">
                <a:extLst>
                  <a:ext uri="{FF2B5EF4-FFF2-40B4-BE49-F238E27FC236}">
                    <a16:creationId xmlns:a16="http://schemas.microsoft.com/office/drawing/2014/main" id="{CFBA0E0E-E324-0041-AB3A-BC8C0731C917}"/>
                  </a:ext>
                </a:extLst>
              </p:cNvPr>
              <p:cNvSpPr/>
              <p:nvPr/>
            </p:nvSpPr>
            <p:spPr>
              <a:xfrm>
                <a:off x="5856190" y="5756664"/>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59" name="Freeform: Shape 37">
                <a:extLst>
                  <a:ext uri="{FF2B5EF4-FFF2-40B4-BE49-F238E27FC236}">
                    <a16:creationId xmlns:a16="http://schemas.microsoft.com/office/drawing/2014/main" id="{F730E59B-DB79-6341-BACC-8FD328EBF9A4}"/>
                  </a:ext>
                </a:extLst>
              </p:cNvPr>
              <p:cNvSpPr/>
              <p:nvPr/>
            </p:nvSpPr>
            <p:spPr>
              <a:xfrm>
                <a:off x="5855761" y="5607295"/>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0" name="Freeform: Shape 38">
                <a:extLst>
                  <a:ext uri="{FF2B5EF4-FFF2-40B4-BE49-F238E27FC236}">
                    <a16:creationId xmlns:a16="http://schemas.microsoft.com/office/drawing/2014/main" id="{B8FEDAFC-AACB-5E49-A072-D05D656B0D2F}"/>
                  </a:ext>
                </a:extLst>
              </p:cNvPr>
              <p:cNvSpPr/>
              <p:nvPr/>
            </p:nvSpPr>
            <p:spPr>
              <a:xfrm>
                <a:off x="5614537" y="565493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1" name="Freeform: Shape 39">
                <a:extLst>
                  <a:ext uri="{FF2B5EF4-FFF2-40B4-BE49-F238E27FC236}">
                    <a16:creationId xmlns:a16="http://schemas.microsoft.com/office/drawing/2014/main" id="{A35C2FAE-3FC7-8F42-8EDE-4CB78B6CB019}"/>
                  </a:ext>
                </a:extLst>
              </p:cNvPr>
              <p:cNvSpPr/>
              <p:nvPr/>
            </p:nvSpPr>
            <p:spPr>
              <a:xfrm>
                <a:off x="5855761" y="5557648"/>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2" name="Freeform: Shape 40">
                <a:extLst>
                  <a:ext uri="{FF2B5EF4-FFF2-40B4-BE49-F238E27FC236}">
                    <a16:creationId xmlns:a16="http://schemas.microsoft.com/office/drawing/2014/main" id="{3858F694-85EE-8946-A018-86E087A2DC92}"/>
                  </a:ext>
                </a:extLst>
              </p:cNvPr>
              <p:cNvSpPr/>
              <p:nvPr/>
            </p:nvSpPr>
            <p:spPr>
              <a:xfrm>
                <a:off x="5614680" y="560471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3" name="Freeform: Shape 41">
                <a:extLst>
                  <a:ext uri="{FF2B5EF4-FFF2-40B4-BE49-F238E27FC236}">
                    <a16:creationId xmlns:a16="http://schemas.microsoft.com/office/drawing/2014/main" id="{CD6D8304-6C42-6146-85F5-BBB48B1976F8}"/>
                  </a:ext>
                </a:extLst>
              </p:cNvPr>
              <p:cNvSpPr/>
              <p:nvPr/>
            </p:nvSpPr>
            <p:spPr>
              <a:xfrm>
                <a:off x="5854903" y="5507033"/>
                <a:ext cx="42922" cy="42922"/>
              </a:xfrm>
              <a:custGeom>
                <a:avLst/>
                <a:gdLst>
                  <a:gd name="connsiteX0" fmla="*/ 24609 w 42922"/>
                  <a:gd name="connsiteY0" fmla="*/ 10840 h 42922"/>
                  <a:gd name="connsiteX1" fmla="*/ 22892 w 42922"/>
                  <a:gd name="connsiteY1" fmla="*/ 10840 h 42922"/>
                  <a:gd name="connsiteX2" fmla="*/ 10731 w 42922"/>
                  <a:gd name="connsiteY2" fmla="*/ 23001 h 42922"/>
                  <a:gd name="connsiteX3" fmla="*/ 22892 w 42922"/>
                  <a:gd name="connsiteY3" fmla="*/ 35163 h 42922"/>
                  <a:gd name="connsiteX4" fmla="*/ 35050 w 42922"/>
                  <a:gd name="connsiteY4" fmla="*/ 23577 h 42922"/>
                  <a:gd name="connsiteX5" fmla="*/ 35053 w 42922"/>
                  <a:gd name="connsiteY5" fmla="*/ 23288 h 42922"/>
                  <a:gd name="connsiteX6" fmla="*/ 35053 w 42922"/>
                  <a:gd name="connsiteY6" fmla="*/ 23288 h 42922"/>
                  <a:gd name="connsiteX7" fmla="*/ 35912 w 42922"/>
                  <a:gd name="connsiteY7" fmla="*/ 23288 h 42922"/>
                  <a:gd name="connsiteX8" fmla="*/ 24609 w 42922"/>
                  <a:gd name="connsiteY8" fmla="*/ 1084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4609" y="10840"/>
                    </a:moveTo>
                    <a:cubicBezTo>
                      <a:pt x="24047" y="10694"/>
                      <a:pt x="23456" y="10694"/>
                      <a:pt x="22892" y="10840"/>
                    </a:cubicBezTo>
                    <a:cubicBezTo>
                      <a:pt x="16176" y="10840"/>
                      <a:pt x="10731" y="16285"/>
                      <a:pt x="10731" y="23001"/>
                    </a:cubicBezTo>
                    <a:cubicBezTo>
                      <a:pt x="10731" y="29717"/>
                      <a:pt x="16176" y="35163"/>
                      <a:pt x="22892" y="35163"/>
                    </a:cubicBezTo>
                    <a:cubicBezTo>
                      <a:pt x="29449" y="35320"/>
                      <a:pt x="34892" y="30134"/>
                      <a:pt x="35050" y="23577"/>
                    </a:cubicBezTo>
                    <a:cubicBezTo>
                      <a:pt x="35052" y="23481"/>
                      <a:pt x="35053" y="23383"/>
                      <a:pt x="35053" y="23288"/>
                    </a:cubicBezTo>
                    <a:lnTo>
                      <a:pt x="35053" y="23288"/>
                    </a:lnTo>
                    <a:lnTo>
                      <a:pt x="35912" y="23288"/>
                    </a:lnTo>
                    <a:cubicBezTo>
                      <a:pt x="36156" y="16755"/>
                      <a:pt x="31135" y="11225"/>
                      <a:pt x="24609" y="108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4" name="Freeform: Shape 42">
                <a:extLst>
                  <a:ext uri="{FF2B5EF4-FFF2-40B4-BE49-F238E27FC236}">
                    <a16:creationId xmlns:a16="http://schemas.microsoft.com/office/drawing/2014/main" id="{3519E1CD-9C04-C542-B1C3-52FEB14918AF}"/>
                  </a:ext>
                </a:extLst>
              </p:cNvPr>
              <p:cNvSpPr/>
              <p:nvPr/>
            </p:nvSpPr>
            <p:spPr>
              <a:xfrm>
                <a:off x="5775210" y="570587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5" name="Freeform: Shape 43">
                <a:extLst>
                  <a:ext uri="{FF2B5EF4-FFF2-40B4-BE49-F238E27FC236}">
                    <a16:creationId xmlns:a16="http://schemas.microsoft.com/office/drawing/2014/main" id="{58C27E9D-DF1A-3A44-A906-6683D1E6D4D5}"/>
                  </a:ext>
                </a:extLst>
              </p:cNvPr>
              <p:cNvSpPr/>
              <p:nvPr/>
            </p:nvSpPr>
            <p:spPr>
              <a:xfrm>
                <a:off x="5775210" y="5656226"/>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6" name="Freeform: Shape 44">
                <a:extLst>
                  <a:ext uri="{FF2B5EF4-FFF2-40B4-BE49-F238E27FC236}">
                    <a16:creationId xmlns:a16="http://schemas.microsoft.com/office/drawing/2014/main" id="{A70F43DE-07EB-604E-AF12-187BB46431E8}"/>
                  </a:ext>
                </a:extLst>
              </p:cNvPr>
              <p:cNvSpPr/>
              <p:nvPr/>
            </p:nvSpPr>
            <p:spPr>
              <a:xfrm>
                <a:off x="5536275" y="5656226"/>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7" name="Freeform: Shape 45">
                <a:extLst>
                  <a:ext uri="{FF2B5EF4-FFF2-40B4-BE49-F238E27FC236}">
                    <a16:creationId xmlns:a16="http://schemas.microsoft.com/office/drawing/2014/main" id="{566421BE-9D07-DE46-99B3-C56EF2A2171B}"/>
                  </a:ext>
                </a:extLst>
              </p:cNvPr>
              <p:cNvSpPr/>
              <p:nvPr/>
            </p:nvSpPr>
            <p:spPr>
              <a:xfrm>
                <a:off x="5775210" y="5755663"/>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8" name="Freeform: Shape 46">
                <a:extLst>
                  <a:ext uri="{FF2B5EF4-FFF2-40B4-BE49-F238E27FC236}">
                    <a16:creationId xmlns:a16="http://schemas.microsoft.com/office/drawing/2014/main" id="{D11CB0CF-79E7-A042-B167-25419D5A7645}"/>
                  </a:ext>
                </a:extLst>
              </p:cNvPr>
              <p:cNvSpPr/>
              <p:nvPr/>
            </p:nvSpPr>
            <p:spPr>
              <a:xfrm>
                <a:off x="5614394" y="5704729"/>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69" name="Freeform: Shape 47">
                <a:extLst>
                  <a:ext uri="{FF2B5EF4-FFF2-40B4-BE49-F238E27FC236}">
                    <a16:creationId xmlns:a16="http://schemas.microsoft.com/office/drawing/2014/main" id="{390543D1-B674-AC44-B8B0-1EB0D8FDBB33}"/>
                  </a:ext>
                </a:extLst>
              </p:cNvPr>
              <p:cNvSpPr/>
              <p:nvPr/>
            </p:nvSpPr>
            <p:spPr>
              <a:xfrm>
                <a:off x="5775210" y="5506856"/>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0" name="Freeform: Shape 48">
                <a:extLst>
                  <a:ext uri="{FF2B5EF4-FFF2-40B4-BE49-F238E27FC236}">
                    <a16:creationId xmlns:a16="http://schemas.microsoft.com/office/drawing/2014/main" id="{F4245E41-5A58-1649-A284-B14CF7622740}"/>
                  </a:ext>
                </a:extLst>
              </p:cNvPr>
              <p:cNvSpPr/>
              <p:nvPr/>
            </p:nvSpPr>
            <p:spPr>
              <a:xfrm>
                <a:off x="5775210" y="5606293"/>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1" name="Freeform: Shape 49">
                <a:extLst>
                  <a:ext uri="{FF2B5EF4-FFF2-40B4-BE49-F238E27FC236}">
                    <a16:creationId xmlns:a16="http://schemas.microsoft.com/office/drawing/2014/main" id="{D03A9FC0-6442-2646-883D-B1A11892DA8E}"/>
                  </a:ext>
                </a:extLst>
              </p:cNvPr>
              <p:cNvSpPr/>
              <p:nvPr/>
            </p:nvSpPr>
            <p:spPr>
              <a:xfrm>
                <a:off x="5775211" y="5556789"/>
                <a:ext cx="42922" cy="42922"/>
              </a:xfrm>
              <a:custGeom>
                <a:avLst/>
                <a:gdLst>
                  <a:gd name="connsiteX0" fmla="*/ 23892 w 42922"/>
                  <a:gd name="connsiteY0" fmla="*/ 10731 h 42922"/>
                  <a:gd name="connsiteX1" fmla="*/ 10731 w 42922"/>
                  <a:gd name="connsiteY1" fmla="*/ 23895 h 42922"/>
                  <a:gd name="connsiteX2" fmla="*/ 23893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5"/>
                      <a:pt x="10731" y="23895"/>
                    </a:cubicBezTo>
                    <a:cubicBezTo>
                      <a:pt x="10731" y="31165"/>
                      <a:pt x="16624" y="37056"/>
                      <a:pt x="23893"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2" name="Freeform: Shape 50">
                <a:extLst>
                  <a:ext uri="{FF2B5EF4-FFF2-40B4-BE49-F238E27FC236}">
                    <a16:creationId xmlns:a16="http://schemas.microsoft.com/office/drawing/2014/main" id="{374A9A30-A8A0-0149-BA6C-A03814386420}"/>
                  </a:ext>
                </a:extLst>
              </p:cNvPr>
              <p:cNvSpPr/>
              <p:nvPr/>
            </p:nvSpPr>
            <p:spPr>
              <a:xfrm>
                <a:off x="5144285" y="5758860"/>
                <a:ext cx="28615" cy="28615"/>
              </a:xfrm>
              <a:custGeom>
                <a:avLst/>
                <a:gdLst>
                  <a:gd name="connsiteX0" fmla="*/ 10839 w 28614"/>
                  <a:gd name="connsiteY0" fmla="*/ 17836 h 28614"/>
                  <a:gd name="connsiteX1" fmla="*/ 10839 w 28614"/>
                  <a:gd name="connsiteY1" fmla="*/ 20411 h 28614"/>
                  <a:gd name="connsiteX2" fmla="*/ 20392 w 28614"/>
                  <a:gd name="connsiteY2" fmla="*/ 27569 h 28614"/>
                  <a:gd name="connsiteX3" fmla="*/ 20425 w 28614"/>
                  <a:gd name="connsiteY3" fmla="*/ 27565 h 28614"/>
                  <a:gd name="connsiteX4" fmla="*/ 27579 w 28614"/>
                  <a:gd name="connsiteY4" fmla="*/ 20411 h 28614"/>
                  <a:gd name="connsiteX5" fmla="*/ 20425 w 28614"/>
                  <a:gd name="connsiteY5" fmla="*/ 10825 h 28614"/>
                  <a:gd name="connsiteX6" fmla="*/ 10839 w 28614"/>
                  <a:gd name="connsiteY6"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0839" y="17836"/>
                    </a:moveTo>
                    <a:cubicBezTo>
                      <a:pt x="10694" y="18688"/>
                      <a:pt x="10694" y="19558"/>
                      <a:pt x="10839" y="20411"/>
                    </a:cubicBezTo>
                    <a:cubicBezTo>
                      <a:pt x="11500" y="25026"/>
                      <a:pt x="15778" y="28231"/>
                      <a:pt x="20392" y="27569"/>
                    </a:cubicBezTo>
                    <a:cubicBezTo>
                      <a:pt x="20404" y="27567"/>
                      <a:pt x="20414" y="27566"/>
                      <a:pt x="20425" y="27565"/>
                    </a:cubicBezTo>
                    <a:cubicBezTo>
                      <a:pt x="24132" y="27031"/>
                      <a:pt x="27045" y="24118"/>
                      <a:pt x="27579" y="20411"/>
                    </a:cubicBezTo>
                    <a:cubicBezTo>
                      <a:pt x="28180" y="15807"/>
                      <a:pt x="25009" y="11560"/>
                      <a:pt x="20425" y="10825"/>
                    </a:cubicBezTo>
                    <a:cubicBezTo>
                      <a:pt x="15848" y="10140"/>
                      <a:pt x="11573" y="13266"/>
                      <a:pt x="10839" y="178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3" name="Freeform: Shape 51">
                <a:extLst>
                  <a:ext uri="{FF2B5EF4-FFF2-40B4-BE49-F238E27FC236}">
                    <a16:creationId xmlns:a16="http://schemas.microsoft.com/office/drawing/2014/main" id="{11F938B8-3377-D541-9DB8-B0CC02173788}"/>
                  </a:ext>
                </a:extLst>
              </p:cNvPr>
              <p:cNvSpPr/>
              <p:nvPr/>
            </p:nvSpPr>
            <p:spPr>
              <a:xfrm>
                <a:off x="5222226" y="5710595"/>
                <a:ext cx="28615" cy="28615"/>
              </a:xfrm>
              <a:custGeom>
                <a:avLst/>
                <a:gdLst>
                  <a:gd name="connsiteX0" fmla="*/ 20030 w 28614"/>
                  <a:gd name="connsiteY0" fmla="*/ 29330 h 28614"/>
                  <a:gd name="connsiteX1" fmla="*/ 29473 w 28614"/>
                  <a:gd name="connsiteY1" fmla="*/ 19887 h 28614"/>
                  <a:gd name="connsiteX2" fmla="*/ 20030 w 28614"/>
                  <a:gd name="connsiteY2" fmla="*/ 10731 h 28614"/>
                  <a:gd name="connsiteX3" fmla="*/ 10731 w 28614"/>
                  <a:gd name="connsiteY3" fmla="*/ 19887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83" y="29182"/>
                      <a:pt x="29325" y="25040"/>
                      <a:pt x="29473" y="19887"/>
                    </a:cubicBezTo>
                    <a:cubicBezTo>
                      <a:pt x="29319" y="14784"/>
                      <a:pt x="25135" y="10728"/>
                      <a:pt x="20030" y="10731"/>
                    </a:cubicBezTo>
                    <a:cubicBezTo>
                      <a:pt x="14950" y="10731"/>
                      <a:pt x="10809" y="14807"/>
                      <a:pt x="10731" y="19887"/>
                    </a:cubicBezTo>
                    <a:cubicBezTo>
                      <a:pt x="10731" y="25047"/>
                      <a:pt x="14871" y="29252"/>
                      <a:pt x="20030"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4" name="Freeform: Shape 52">
                <a:extLst>
                  <a:ext uri="{FF2B5EF4-FFF2-40B4-BE49-F238E27FC236}">
                    <a16:creationId xmlns:a16="http://schemas.microsoft.com/office/drawing/2014/main" id="{790112BE-EEA9-5044-B1D7-2A053C5B82C5}"/>
                  </a:ext>
                </a:extLst>
              </p:cNvPr>
              <p:cNvSpPr/>
              <p:nvPr/>
            </p:nvSpPr>
            <p:spPr>
              <a:xfrm>
                <a:off x="5065843" y="5611730"/>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8" y="26208"/>
                      <a:pt x="25326" y="22258"/>
                    </a:cubicBezTo>
                    <a:cubicBezTo>
                      <a:pt x="25708" y="20922"/>
                      <a:pt x="25708" y="19507"/>
                      <a:pt x="25326" y="18171"/>
                    </a:cubicBezTo>
                    <a:cubicBezTo>
                      <a:pt x="25338" y="14275"/>
                      <a:pt x="22342" y="11030"/>
                      <a:pt x="1845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5" name="Freeform: Shape 53">
                <a:extLst>
                  <a:ext uri="{FF2B5EF4-FFF2-40B4-BE49-F238E27FC236}">
                    <a16:creationId xmlns:a16="http://schemas.microsoft.com/office/drawing/2014/main" id="{F0B41625-54CD-6F48-8690-CB11F49B193B}"/>
                  </a:ext>
                </a:extLst>
              </p:cNvPr>
              <p:cNvSpPr/>
              <p:nvPr/>
            </p:nvSpPr>
            <p:spPr>
              <a:xfrm>
                <a:off x="5065273" y="5712312"/>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6" name="Freeform: Shape 54">
                <a:extLst>
                  <a:ext uri="{FF2B5EF4-FFF2-40B4-BE49-F238E27FC236}">
                    <a16:creationId xmlns:a16="http://schemas.microsoft.com/office/drawing/2014/main" id="{100AD978-31C2-EA4D-8500-B8D67B5E9A41}"/>
                  </a:ext>
                </a:extLst>
              </p:cNvPr>
              <p:cNvSpPr/>
              <p:nvPr/>
            </p:nvSpPr>
            <p:spPr>
              <a:xfrm>
                <a:off x="5222226" y="5659946"/>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7" name="Freeform: Shape 55">
                <a:extLst>
                  <a:ext uri="{FF2B5EF4-FFF2-40B4-BE49-F238E27FC236}">
                    <a16:creationId xmlns:a16="http://schemas.microsoft.com/office/drawing/2014/main" id="{9B31BD99-9993-9E4C-B1AD-587D203ACC9C}"/>
                  </a:ext>
                </a:extLst>
              </p:cNvPr>
              <p:cNvSpPr/>
              <p:nvPr/>
            </p:nvSpPr>
            <p:spPr>
              <a:xfrm>
                <a:off x="5222226" y="5561225"/>
                <a:ext cx="28615" cy="28615"/>
              </a:xfrm>
              <a:custGeom>
                <a:avLst/>
                <a:gdLst>
                  <a:gd name="connsiteX0" fmla="*/ 20030 w 28614"/>
                  <a:gd name="connsiteY0" fmla="*/ 10731 h 28614"/>
                  <a:gd name="connsiteX1" fmla="*/ 10731 w 28614"/>
                  <a:gd name="connsiteY1" fmla="*/ 20174 h 28614"/>
                  <a:gd name="connsiteX2" fmla="*/ 19886 w 28614"/>
                  <a:gd name="connsiteY2" fmla="*/ 29332 h 28614"/>
                  <a:gd name="connsiteX3" fmla="*/ 20030 w 28614"/>
                  <a:gd name="connsiteY3" fmla="*/ 29330 h 28614"/>
                  <a:gd name="connsiteX4" fmla="*/ 29473 w 28614"/>
                  <a:gd name="connsiteY4" fmla="*/ 20174 h 28614"/>
                  <a:gd name="connsiteX5" fmla="*/ 20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10731"/>
                    </a:moveTo>
                    <a:cubicBezTo>
                      <a:pt x="14871" y="10809"/>
                      <a:pt x="10731" y="15014"/>
                      <a:pt x="10731" y="20174"/>
                    </a:cubicBezTo>
                    <a:cubicBezTo>
                      <a:pt x="10731" y="25231"/>
                      <a:pt x="14830" y="29330"/>
                      <a:pt x="19886" y="29332"/>
                    </a:cubicBezTo>
                    <a:cubicBezTo>
                      <a:pt x="19935" y="29332"/>
                      <a:pt x="19982" y="29332"/>
                      <a:pt x="20030" y="29330"/>
                    </a:cubicBezTo>
                    <a:cubicBezTo>
                      <a:pt x="25135" y="29333"/>
                      <a:pt x="29319" y="25277"/>
                      <a:pt x="29473" y="20174"/>
                    </a:cubicBezTo>
                    <a:cubicBezTo>
                      <a:pt x="29325" y="15021"/>
                      <a:pt x="25183" y="10879"/>
                      <a:pt x="20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8" name="Freeform: Shape 56">
                <a:extLst>
                  <a:ext uri="{FF2B5EF4-FFF2-40B4-BE49-F238E27FC236}">
                    <a16:creationId xmlns:a16="http://schemas.microsoft.com/office/drawing/2014/main" id="{3BB2562B-9B05-6744-B77C-1D7745828BF7}"/>
                  </a:ext>
                </a:extLst>
              </p:cNvPr>
              <p:cNvSpPr/>
              <p:nvPr/>
            </p:nvSpPr>
            <p:spPr>
              <a:xfrm>
                <a:off x="5223084" y="5609870"/>
                <a:ext cx="28615" cy="28615"/>
              </a:xfrm>
              <a:custGeom>
                <a:avLst/>
                <a:gdLst>
                  <a:gd name="connsiteX0" fmla="*/ 10731 w 28614"/>
                  <a:gd name="connsiteY0" fmla="*/ 20030 h 28614"/>
                  <a:gd name="connsiteX1" fmla="*/ 19887 w 28614"/>
                  <a:gd name="connsiteY1" fmla="*/ 29473 h 28614"/>
                  <a:gd name="connsiteX2" fmla="*/ 29330 w 28614"/>
                  <a:gd name="connsiteY2" fmla="*/ 20030 h 28614"/>
                  <a:gd name="connsiteX3" fmla="*/ 19887 w 28614"/>
                  <a:gd name="connsiteY3" fmla="*/ 10731 h 28614"/>
                  <a:gd name="connsiteX4" fmla="*/ 10731 w 28614"/>
                  <a:gd name="connsiteY4" fmla="*/ 200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20030"/>
                    </a:moveTo>
                    <a:cubicBezTo>
                      <a:pt x="10728" y="25135"/>
                      <a:pt x="14784" y="29319"/>
                      <a:pt x="19887" y="29473"/>
                    </a:cubicBezTo>
                    <a:cubicBezTo>
                      <a:pt x="25071" y="29396"/>
                      <a:pt x="29253" y="25214"/>
                      <a:pt x="29330" y="20030"/>
                    </a:cubicBezTo>
                    <a:cubicBezTo>
                      <a:pt x="29252" y="14871"/>
                      <a:pt x="25047" y="10731"/>
                      <a:pt x="19887" y="10731"/>
                    </a:cubicBezTo>
                    <a:cubicBezTo>
                      <a:pt x="14807" y="10809"/>
                      <a:pt x="10731" y="14950"/>
                      <a:pt x="10731" y="200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79" name="Freeform: Shape 57">
                <a:extLst>
                  <a:ext uri="{FF2B5EF4-FFF2-40B4-BE49-F238E27FC236}">
                    <a16:creationId xmlns:a16="http://schemas.microsoft.com/office/drawing/2014/main" id="{B837137A-0394-2E4C-861D-1D1F3E8476FE}"/>
                  </a:ext>
                </a:extLst>
              </p:cNvPr>
              <p:cNvSpPr/>
              <p:nvPr/>
            </p:nvSpPr>
            <p:spPr>
              <a:xfrm>
                <a:off x="5222937" y="5758523"/>
                <a:ext cx="28615" cy="28615"/>
              </a:xfrm>
              <a:custGeom>
                <a:avLst/>
                <a:gdLst>
                  <a:gd name="connsiteX0" fmla="*/ 19892 w 28614"/>
                  <a:gd name="connsiteY0" fmla="*/ 30333 h 28614"/>
                  <a:gd name="connsiteX1" fmla="*/ 29764 w 28614"/>
                  <a:gd name="connsiteY1" fmla="*/ 20461 h 28614"/>
                  <a:gd name="connsiteX2" fmla="*/ 20036 w 28614"/>
                  <a:gd name="connsiteY2" fmla="*/ 10731 h 28614"/>
                  <a:gd name="connsiteX3" fmla="*/ 19892 w 28614"/>
                  <a:gd name="connsiteY3" fmla="*/ 10732 h 28614"/>
                  <a:gd name="connsiteX4" fmla="*/ 10735 w 28614"/>
                  <a:gd name="connsiteY4" fmla="*/ 19600 h 28614"/>
                  <a:gd name="connsiteX5" fmla="*/ 10735 w 28614"/>
                  <a:gd name="connsiteY5" fmla="*/ 19889 h 28614"/>
                  <a:gd name="connsiteX6" fmla="*/ 10735 w 28614"/>
                  <a:gd name="connsiteY6" fmla="*/ 19889 h 28614"/>
                  <a:gd name="connsiteX7" fmla="*/ 10735 w 28614"/>
                  <a:gd name="connsiteY7" fmla="*/ 20890 h 28614"/>
                  <a:gd name="connsiteX8" fmla="*/ 19601 w 28614"/>
                  <a:gd name="connsiteY8" fmla="*/ 30329 h 28614"/>
                  <a:gd name="connsiteX9" fmla="*/ 19892 w 28614"/>
                  <a:gd name="connsiteY9" fmla="*/ 30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3"/>
                    </a:moveTo>
                    <a:cubicBezTo>
                      <a:pt x="25345" y="30333"/>
                      <a:pt x="29764" y="25914"/>
                      <a:pt x="29764" y="20461"/>
                    </a:cubicBezTo>
                    <a:cubicBezTo>
                      <a:pt x="29764" y="15087"/>
                      <a:pt x="25409" y="10732"/>
                      <a:pt x="20036" y="10731"/>
                    </a:cubicBezTo>
                    <a:cubicBezTo>
                      <a:pt x="19988" y="10731"/>
                      <a:pt x="19941" y="10731"/>
                      <a:pt x="19892" y="10732"/>
                    </a:cubicBezTo>
                    <a:cubicBezTo>
                      <a:pt x="14914" y="10652"/>
                      <a:pt x="10815" y="14622"/>
                      <a:pt x="10735" y="19600"/>
                    </a:cubicBezTo>
                    <a:cubicBezTo>
                      <a:pt x="10734" y="19697"/>
                      <a:pt x="10734" y="19793"/>
                      <a:pt x="10735" y="19889"/>
                    </a:cubicBezTo>
                    <a:lnTo>
                      <a:pt x="10735" y="19889"/>
                    </a:lnTo>
                    <a:lnTo>
                      <a:pt x="10735" y="20890"/>
                    </a:lnTo>
                    <a:cubicBezTo>
                      <a:pt x="10578" y="25945"/>
                      <a:pt x="14547" y="30170"/>
                      <a:pt x="19601" y="30329"/>
                    </a:cubicBezTo>
                    <a:cubicBezTo>
                      <a:pt x="19699" y="30332"/>
                      <a:pt x="19795" y="30333"/>
                      <a:pt x="19892" y="30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0" name="Freeform: Shape 58">
                <a:extLst>
                  <a:ext uri="{FF2B5EF4-FFF2-40B4-BE49-F238E27FC236}">
                    <a16:creationId xmlns:a16="http://schemas.microsoft.com/office/drawing/2014/main" id="{5B0FA218-FEA0-AA41-ACB7-7589405078E3}"/>
                  </a:ext>
                </a:extLst>
              </p:cNvPr>
              <p:cNvSpPr/>
              <p:nvPr/>
            </p:nvSpPr>
            <p:spPr>
              <a:xfrm>
                <a:off x="5458585" y="5607008"/>
                <a:ext cx="42922" cy="42922"/>
              </a:xfrm>
              <a:custGeom>
                <a:avLst/>
                <a:gdLst>
                  <a:gd name="connsiteX0" fmla="*/ 22893 w 42922"/>
                  <a:gd name="connsiteY0" fmla="*/ 10731 h 42922"/>
                  <a:gd name="connsiteX1" fmla="*/ 10732 w 42922"/>
                  <a:gd name="connsiteY1" fmla="*/ 22892 h 42922"/>
                  <a:gd name="connsiteX2" fmla="*/ 22464 w 42922"/>
                  <a:gd name="connsiteY2" fmla="*/ 35053 h 42922"/>
                  <a:gd name="connsiteX3" fmla="*/ 22464 w 42922"/>
                  <a:gd name="connsiteY3" fmla="*/ 35053 h 42922"/>
                  <a:gd name="connsiteX4" fmla="*/ 34625 w 42922"/>
                  <a:gd name="connsiteY4" fmla="*/ 22892 h 42922"/>
                  <a:gd name="connsiteX5" fmla="*/ 22464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10731"/>
                    </a:moveTo>
                    <a:cubicBezTo>
                      <a:pt x="16177" y="10731"/>
                      <a:pt x="10732" y="16176"/>
                      <a:pt x="10732" y="22892"/>
                    </a:cubicBezTo>
                    <a:cubicBezTo>
                      <a:pt x="10651" y="29475"/>
                      <a:pt x="15882" y="34897"/>
                      <a:pt x="22464" y="35053"/>
                    </a:cubicBezTo>
                    <a:lnTo>
                      <a:pt x="22464" y="35053"/>
                    </a:lnTo>
                    <a:cubicBezTo>
                      <a:pt x="29180" y="35053"/>
                      <a:pt x="34625" y="29608"/>
                      <a:pt x="34625" y="22892"/>
                    </a:cubicBezTo>
                    <a:cubicBezTo>
                      <a:pt x="34625" y="16176"/>
                      <a:pt x="29180" y="10731"/>
                      <a:pt x="2246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1" name="Freeform: Shape 59">
                <a:extLst>
                  <a:ext uri="{FF2B5EF4-FFF2-40B4-BE49-F238E27FC236}">
                    <a16:creationId xmlns:a16="http://schemas.microsoft.com/office/drawing/2014/main" id="{8435C6FB-3490-3842-8D97-3E31366F6C56}"/>
                  </a:ext>
                </a:extLst>
              </p:cNvPr>
              <p:cNvSpPr/>
              <p:nvPr/>
            </p:nvSpPr>
            <p:spPr>
              <a:xfrm>
                <a:off x="5067314" y="5563513"/>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2" name="Freeform: Shape 60">
                <a:extLst>
                  <a:ext uri="{FF2B5EF4-FFF2-40B4-BE49-F238E27FC236}">
                    <a16:creationId xmlns:a16="http://schemas.microsoft.com/office/drawing/2014/main" id="{9A64A39D-FBA5-1143-9230-8881E3CBAD47}"/>
                  </a:ext>
                </a:extLst>
              </p:cNvPr>
              <p:cNvSpPr/>
              <p:nvPr/>
            </p:nvSpPr>
            <p:spPr>
              <a:xfrm>
                <a:off x="5067314" y="5662522"/>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2"/>
                      <a:pt x="21239" y="15841"/>
                    </a:cubicBezTo>
                    <a:cubicBezTo>
                      <a:pt x="20533" y="13369"/>
                      <a:pt x="18601" y="11437"/>
                      <a:pt x="16129" y="10731"/>
                    </a:cubicBezTo>
                    <a:cubicBezTo>
                      <a:pt x="12178" y="11859"/>
                      <a:pt x="9890" y="15977"/>
                      <a:pt x="11019" y="19927"/>
                    </a:cubicBezTo>
                    <a:cubicBezTo>
                      <a:pt x="11725" y="22400"/>
                      <a:pt x="13657" y="24331"/>
                      <a:pt x="16129" y="250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3" name="Freeform: Shape 61">
                <a:extLst>
                  <a:ext uri="{FF2B5EF4-FFF2-40B4-BE49-F238E27FC236}">
                    <a16:creationId xmlns:a16="http://schemas.microsoft.com/office/drawing/2014/main" id="{EA677B59-34D2-4F46-B87A-A026BFCE1F12}"/>
                  </a:ext>
                </a:extLst>
              </p:cNvPr>
              <p:cNvSpPr/>
              <p:nvPr/>
            </p:nvSpPr>
            <p:spPr>
              <a:xfrm>
                <a:off x="5143712" y="5561787"/>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5"/>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4" name="Freeform: Shape 62">
                <a:extLst>
                  <a:ext uri="{FF2B5EF4-FFF2-40B4-BE49-F238E27FC236}">
                    <a16:creationId xmlns:a16="http://schemas.microsoft.com/office/drawing/2014/main" id="{3B387262-862A-B548-A08B-A8433A2F9A36}"/>
                  </a:ext>
                </a:extLst>
              </p:cNvPr>
              <p:cNvSpPr/>
              <p:nvPr/>
            </p:nvSpPr>
            <p:spPr>
              <a:xfrm>
                <a:off x="5144244" y="5711596"/>
                <a:ext cx="28615" cy="28615"/>
              </a:xfrm>
              <a:custGeom>
                <a:avLst/>
                <a:gdLst>
                  <a:gd name="connsiteX0" fmla="*/ 18463 w 28614"/>
                  <a:gd name="connsiteY0" fmla="*/ 27613 h 28614"/>
                  <a:gd name="connsiteX1" fmla="*/ 27190 w 28614"/>
                  <a:gd name="connsiteY1" fmla="*/ 19315 h 28614"/>
                  <a:gd name="connsiteX2" fmla="*/ 19182 w 28614"/>
                  <a:gd name="connsiteY2" fmla="*/ 10735 h 28614"/>
                  <a:gd name="connsiteX3" fmla="*/ 18892 w 28614"/>
                  <a:gd name="connsiteY3" fmla="*/ 10731 h 28614"/>
                  <a:gd name="connsiteX4" fmla="*/ 18892 w 28614"/>
                  <a:gd name="connsiteY4" fmla="*/ 10731 h 28614"/>
                  <a:gd name="connsiteX5" fmla="*/ 10737 w 28614"/>
                  <a:gd name="connsiteY5" fmla="*/ 18886 h 28614"/>
                  <a:gd name="connsiteX6" fmla="*/ 18463 w 28614"/>
                  <a:gd name="connsiteY6"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63" y="27613"/>
                    </a:moveTo>
                    <a:cubicBezTo>
                      <a:pt x="23150" y="27694"/>
                      <a:pt x="27034" y="24001"/>
                      <a:pt x="27190" y="19315"/>
                    </a:cubicBezTo>
                    <a:cubicBezTo>
                      <a:pt x="27348" y="14735"/>
                      <a:pt x="23764" y="10894"/>
                      <a:pt x="19182" y="10735"/>
                    </a:cubicBezTo>
                    <a:cubicBezTo>
                      <a:pt x="19086" y="10732"/>
                      <a:pt x="18989" y="10731"/>
                      <a:pt x="18892" y="10731"/>
                    </a:cubicBezTo>
                    <a:lnTo>
                      <a:pt x="18892" y="10731"/>
                    </a:lnTo>
                    <a:cubicBezTo>
                      <a:pt x="14388" y="10731"/>
                      <a:pt x="10737" y="14382"/>
                      <a:pt x="10737" y="18886"/>
                    </a:cubicBezTo>
                    <a:cubicBezTo>
                      <a:pt x="10568" y="23391"/>
                      <a:pt x="13970" y="27234"/>
                      <a:pt x="18463" y="276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5" name="Freeform: Shape 63">
                <a:extLst>
                  <a:ext uri="{FF2B5EF4-FFF2-40B4-BE49-F238E27FC236}">
                    <a16:creationId xmlns:a16="http://schemas.microsoft.com/office/drawing/2014/main" id="{49324944-25BF-E140-AADE-D1862B3A1E08}"/>
                  </a:ext>
                </a:extLst>
              </p:cNvPr>
              <p:cNvSpPr/>
              <p:nvPr/>
            </p:nvSpPr>
            <p:spPr>
              <a:xfrm>
                <a:off x="5143712" y="5660508"/>
                <a:ext cx="28615" cy="28615"/>
              </a:xfrm>
              <a:custGeom>
                <a:avLst/>
                <a:gdLst>
                  <a:gd name="connsiteX0" fmla="*/ 20425 w 28614"/>
                  <a:gd name="connsiteY0" fmla="*/ 26622 h 28614"/>
                  <a:gd name="connsiteX1" fmla="*/ 27436 w 28614"/>
                  <a:gd name="connsiteY1" fmla="*/ 19611 h 28614"/>
                  <a:gd name="connsiteX2" fmla="*/ 19445 w 28614"/>
                  <a:gd name="connsiteY2" fmla="*/ 10742 h 28614"/>
                  <a:gd name="connsiteX3" fmla="*/ 10839 w 28614"/>
                  <a:gd name="connsiteY3" fmla="*/ 17036 h 28614"/>
                  <a:gd name="connsiteX4" fmla="*/ 10839 w 28614"/>
                  <a:gd name="connsiteY4" fmla="*/ 19611 h 28614"/>
                  <a:gd name="connsiteX5" fmla="*/ 20425 w 28614"/>
                  <a:gd name="connsiteY5" fmla="*/ 266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26622"/>
                    </a:moveTo>
                    <a:cubicBezTo>
                      <a:pt x="24078" y="26137"/>
                      <a:pt x="26951" y="23264"/>
                      <a:pt x="27436" y="19611"/>
                    </a:cubicBezTo>
                    <a:cubicBezTo>
                      <a:pt x="27679" y="14956"/>
                      <a:pt x="24101" y="10984"/>
                      <a:pt x="19445" y="10742"/>
                    </a:cubicBezTo>
                    <a:cubicBezTo>
                      <a:pt x="15447" y="10533"/>
                      <a:pt x="11852" y="13163"/>
                      <a:pt x="10839" y="17036"/>
                    </a:cubicBezTo>
                    <a:cubicBezTo>
                      <a:pt x="10694" y="17889"/>
                      <a:pt x="10694" y="18759"/>
                      <a:pt x="10839" y="19611"/>
                    </a:cubicBezTo>
                    <a:cubicBezTo>
                      <a:pt x="11573" y="24181"/>
                      <a:pt x="15848" y="27307"/>
                      <a:pt x="20425" y="266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6" name="Freeform: Shape 64">
                <a:extLst>
                  <a:ext uri="{FF2B5EF4-FFF2-40B4-BE49-F238E27FC236}">
                    <a16:creationId xmlns:a16="http://schemas.microsoft.com/office/drawing/2014/main" id="{4216DFAA-C991-2B48-8DB4-4699319EBD65}"/>
                  </a:ext>
                </a:extLst>
              </p:cNvPr>
              <p:cNvSpPr/>
              <p:nvPr/>
            </p:nvSpPr>
            <p:spPr>
              <a:xfrm>
                <a:off x="5614537" y="5555358"/>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7" name="Freeform: Shape 65">
                <a:extLst>
                  <a:ext uri="{FF2B5EF4-FFF2-40B4-BE49-F238E27FC236}">
                    <a16:creationId xmlns:a16="http://schemas.microsoft.com/office/drawing/2014/main" id="{D0C14A69-053A-074D-AF0A-1401AB32A7A7}"/>
                  </a:ext>
                </a:extLst>
              </p:cNvPr>
              <p:cNvSpPr/>
              <p:nvPr/>
            </p:nvSpPr>
            <p:spPr>
              <a:xfrm>
                <a:off x="5144965" y="5610872"/>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8" name="Freeform: Shape 66">
                <a:extLst>
                  <a:ext uri="{FF2B5EF4-FFF2-40B4-BE49-F238E27FC236}">
                    <a16:creationId xmlns:a16="http://schemas.microsoft.com/office/drawing/2014/main" id="{1C575B7C-759A-6A48-AFE4-4DA2AF1D008B}"/>
                  </a:ext>
                </a:extLst>
              </p:cNvPr>
              <p:cNvSpPr/>
              <p:nvPr/>
            </p:nvSpPr>
            <p:spPr>
              <a:xfrm>
                <a:off x="5065845" y="5511291"/>
                <a:ext cx="28615" cy="28615"/>
              </a:xfrm>
              <a:custGeom>
                <a:avLst/>
                <a:gdLst>
                  <a:gd name="connsiteX0" fmla="*/ 18171 w 28614"/>
                  <a:gd name="connsiteY0" fmla="*/ 25325 h 28614"/>
                  <a:gd name="connsiteX1" fmla="*/ 27368 w 28614"/>
                  <a:gd name="connsiteY1" fmla="*/ 20214 h 28614"/>
                  <a:gd name="connsiteX2" fmla="*/ 22258 w 28614"/>
                  <a:gd name="connsiteY2" fmla="*/ 11017 h 28614"/>
                  <a:gd name="connsiteX3" fmla="*/ 18171 w 28614"/>
                  <a:gd name="connsiteY3" fmla="*/ 11017 h 28614"/>
                  <a:gd name="connsiteX4" fmla="*/ 18171 w 28614"/>
                  <a:gd name="connsiteY4" fmla="*/ 11017 h 28614"/>
                  <a:gd name="connsiteX5" fmla="*/ 10732 w 28614"/>
                  <a:gd name="connsiteY5" fmla="*/ 18169 h 28614"/>
                  <a:gd name="connsiteX6" fmla="*/ 10731 w 28614"/>
                  <a:gd name="connsiteY6" fmla="*/ 18314 h 28614"/>
                  <a:gd name="connsiteX7" fmla="*/ 18171 w 28614"/>
                  <a:gd name="connsiteY7"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171" y="25325"/>
                    </a:moveTo>
                    <a:cubicBezTo>
                      <a:pt x="22121" y="26453"/>
                      <a:pt x="26239" y="24166"/>
                      <a:pt x="27368" y="20214"/>
                    </a:cubicBezTo>
                    <a:cubicBezTo>
                      <a:pt x="28496" y="16264"/>
                      <a:pt x="26208" y="12146"/>
                      <a:pt x="22258" y="11017"/>
                    </a:cubicBezTo>
                    <a:cubicBezTo>
                      <a:pt x="20922" y="10635"/>
                      <a:pt x="19506" y="10635"/>
                      <a:pt x="18171" y="11017"/>
                    </a:cubicBezTo>
                    <a:lnTo>
                      <a:pt x="18171" y="11017"/>
                    </a:lnTo>
                    <a:cubicBezTo>
                      <a:pt x="14141" y="10938"/>
                      <a:pt x="10811" y="14140"/>
                      <a:pt x="10732" y="18169"/>
                    </a:cubicBezTo>
                    <a:cubicBezTo>
                      <a:pt x="10731" y="18218"/>
                      <a:pt x="10731" y="18265"/>
                      <a:pt x="10731" y="18314"/>
                    </a:cubicBezTo>
                    <a:cubicBezTo>
                      <a:pt x="10958" y="22254"/>
                      <a:pt x="14223" y="25332"/>
                      <a:pt x="18171" y="253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89" name="Freeform: Shape 67">
                <a:extLst>
                  <a:ext uri="{FF2B5EF4-FFF2-40B4-BE49-F238E27FC236}">
                    <a16:creationId xmlns:a16="http://schemas.microsoft.com/office/drawing/2014/main" id="{2A9B2F4B-3878-9C4D-9ACA-2DD383793EE3}"/>
                  </a:ext>
                </a:extLst>
              </p:cNvPr>
              <p:cNvSpPr/>
              <p:nvPr/>
            </p:nvSpPr>
            <p:spPr>
              <a:xfrm>
                <a:off x="5065845" y="5760385"/>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0" name="Freeform: Shape 68">
                <a:extLst>
                  <a:ext uri="{FF2B5EF4-FFF2-40B4-BE49-F238E27FC236}">
                    <a16:creationId xmlns:a16="http://schemas.microsoft.com/office/drawing/2014/main" id="{7537A86D-6A25-2849-B43E-888648F9FDDB}"/>
                  </a:ext>
                </a:extLst>
              </p:cNvPr>
              <p:cNvSpPr/>
              <p:nvPr/>
            </p:nvSpPr>
            <p:spPr>
              <a:xfrm>
                <a:off x="5300774" y="5570667"/>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1" name="Freeform: Shape 69">
                <a:extLst>
                  <a:ext uri="{FF2B5EF4-FFF2-40B4-BE49-F238E27FC236}">
                    <a16:creationId xmlns:a16="http://schemas.microsoft.com/office/drawing/2014/main" id="{7612A99C-7777-6240-AAED-AE6F371DE2E2}"/>
                  </a:ext>
                </a:extLst>
              </p:cNvPr>
              <p:cNvSpPr/>
              <p:nvPr/>
            </p:nvSpPr>
            <p:spPr>
              <a:xfrm>
                <a:off x="5379604" y="5707875"/>
                <a:ext cx="42922" cy="42922"/>
              </a:xfrm>
              <a:custGeom>
                <a:avLst/>
                <a:gdLst>
                  <a:gd name="connsiteX0" fmla="*/ 21608 w 42922"/>
                  <a:gd name="connsiteY0" fmla="*/ 33480 h 42922"/>
                  <a:gd name="connsiteX1" fmla="*/ 33197 w 42922"/>
                  <a:gd name="connsiteY1" fmla="*/ 22321 h 42922"/>
                  <a:gd name="connsiteX2" fmla="*/ 22185 w 42922"/>
                  <a:gd name="connsiteY2" fmla="*/ 10734 h 42922"/>
                  <a:gd name="connsiteX3" fmla="*/ 22037 w 42922"/>
                  <a:gd name="connsiteY3" fmla="*/ 10732 h 42922"/>
                  <a:gd name="connsiteX4" fmla="*/ 22037 w 42922"/>
                  <a:gd name="connsiteY4" fmla="*/ 10732 h 42922"/>
                  <a:gd name="connsiteX5" fmla="*/ 10736 w 42922"/>
                  <a:gd name="connsiteY5" fmla="*/ 21747 h 42922"/>
                  <a:gd name="connsiteX6" fmla="*/ 10735 w 42922"/>
                  <a:gd name="connsiteY6" fmla="*/ 21891 h 42922"/>
                  <a:gd name="connsiteX7" fmla="*/ 21608 w 42922"/>
                  <a:gd name="connsiteY7"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1608" y="33480"/>
                    </a:moveTo>
                    <a:cubicBezTo>
                      <a:pt x="27875" y="33561"/>
                      <a:pt x="33041" y="28586"/>
                      <a:pt x="33197" y="22321"/>
                    </a:cubicBezTo>
                    <a:cubicBezTo>
                      <a:pt x="33356" y="16080"/>
                      <a:pt x="28426" y="10893"/>
                      <a:pt x="22185" y="10734"/>
                    </a:cubicBezTo>
                    <a:cubicBezTo>
                      <a:pt x="22136" y="10733"/>
                      <a:pt x="22086" y="10732"/>
                      <a:pt x="22037" y="10732"/>
                    </a:cubicBezTo>
                    <a:lnTo>
                      <a:pt x="22037" y="10732"/>
                    </a:lnTo>
                    <a:cubicBezTo>
                      <a:pt x="15875" y="10653"/>
                      <a:pt x="10815" y="15585"/>
                      <a:pt x="10736" y="21747"/>
                    </a:cubicBezTo>
                    <a:cubicBezTo>
                      <a:pt x="10735" y="21796"/>
                      <a:pt x="10735" y="21843"/>
                      <a:pt x="10735" y="21891"/>
                    </a:cubicBezTo>
                    <a:cubicBezTo>
                      <a:pt x="10573" y="28081"/>
                      <a:pt x="15422" y="33247"/>
                      <a:pt x="21608" y="3348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2" name="Freeform: Shape 70">
                <a:extLst>
                  <a:ext uri="{FF2B5EF4-FFF2-40B4-BE49-F238E27FC236}">
                    <a16:creationId xmlns:a16="http://schemas.microsoft.com/office/drawing/2014/main" id="{503715CD-12E6-FE4B-8CF6-E9C3BC32196F}"/>
                  </a:ext>
                </a:extLst>
              </p:cNvPr>
              <p:cNvSpPr/>
              <p:nvPr/>
            </p:nvSpPr>
            <p:spPr>
              <a:xfrm>
                <a:off x="5379780" y="5758984"/>
                <a:ext cx="42922" cy="42922"/>
              </a:xfrm>
              <a:custGeom>
                <a:avLst/>
                <a:gdLst>
                  <a:gd name="connsiteX0" fmla="*/ 20574 w 42922"/>
                  <a:gd name="connsiteY0" fmla="*/ 10843 h 42922"/>
                  <a:gd name="connsiteX1" fmla="*/ 10845 w 42922"/>
                  <a:gd name="connsiteY1" fmla="*/ 20572 h 42922"/>
                  <a:gd name="connsiteX2" fmla="*/ 20574 w 42922"/>
                  <a:gd name="connsiteY2" fmla="*/ 33509 h 42922"/>
                  <a:gd name="connsiteX3" fmla="*/ 33511 w 42922"/>
                  <a:gd name="connsiteY3" fmla="*/ 23780 h 42922"/>
                  <a:gd name="connsiteX4" fmla="*/ 23782 w 42922"/>
                  <a:gd name="connsiteY4" fmla="*/ 10843 h 42922"/>
                  <a:gd name="connsiteX5" fmla="*/ 20574 w 42922"/>
                  <a:gd name="connsiteY5" fmla="*/ 1084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74" y="10843"/>
                    </a:moveTo>
                    <a:cubicBezTo>
                      <a:pt x="15526" y="11557"/>
                      <a:pt x="11559" y="15525"/>
                      <a:pt x="10845" y="20572"/>
                    </a:cubicBezTo>
                    <a:cubicBezTo>
                      <a:pt x="9959" y="26832"/>
                      <a:pt x="14314" y="32624"/>
                      <a:pt x="20574" y="33509"/>
                    </a:cubicBezTo>
                    <a:cubicBezTo>
                      <a:pt x="26834" y="34395"/>
                      <a:pt x="32625" y="30040"/>
                      <a:pt x="33511" y="23780"/>
                    </a:cubicBezTo>
                    <a:cubicBezTo>
                      <a:pt x="34396" y="17521"/>
                      <a:pt x="30041" y="11729"/>
                      <a:pt x="23782" y="10843"/>
                    </a:cubicBezTo>
                    <a:cubicBezTo>
                      <a:pt x="22717" y="10693"/>
                      <a:pt x="21638" y="10693"/>
                      <a:pt x="20574" y="1084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3" name="Freeform: Shape 71">
                <a:extLst>
                  <a:ext uri="{FF2B5EF4-FFF2-40B4-BE49-F238E27FC236}">
                    <a16:creationId xmlns:a16="http://schemas.microsoft.com/office/drawing/2014/main" id="{2B716724-CC27-EA48-BA3D-3547B02CA995}"/>
                  </a:ext>
                </a:extLst>
              </p:cNvPr>
              <p:cNvSpPr/>
              <p:nvPr/>
            </p:nvSpPr>
            <p:spPr>
              <a:xfrm>
                <a:off x="5300917" y="556007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4" name="Freeform: Shape 72">
                <a:extLst>
                  <a:ext uri="{FF2B5EF4-FFF2-40B4-BE49-F238E27FC236}">
                    <a16:creationId xmlns:a16="http://schemas.microsoft.com/office/drawing/2014/main" id="{639D7D7A-B5E2-7B49-BCCB-AEA9EB1F747D}"/>
                  </a:ext>
                </a:extLst>
              </p:cNvPr>
              <p:cNvSpPr/>
              <p:nvPr/>
            </p:nvSpPr>
            <p:spPr>
              <a:xfrm>
                <a:off x="5379274" y="5656607"/>
                <a:ext cx="42922" cy="42922"/>
              </a:xfrm>
              <a:custGeom>
                <a:avLst/>
                <a:gdLst>
                  <a:gd name="connsiteX0" fmla="*/ 23512 w 42922"/>
                  <a:gd name="connsiteY0" fmla="*/ 33241 h 42922"/>
                  <a:gd name="connsiteX1" fmla="*/ 33241 w 42922"/>
                  <a:gd name="connsiteY1" fmla="*/ 23512 h 42922"/>
                  <a:gd name="connsiteX2" fmla="*/ 23512 w 42922"/>
                  <a:gd name="connsiteY2" fmla="*/ 10829 h 42922"/>
                  <a:gd name="connsiteX3" fmla="*/ 10829 w 42922"/>
                  <a:gd name="connsiteY3" fmla="*/ 20558 h 42922"/>
                  <a:gd name="connsiteX4" fmla="*/ 20558 w 42922"/>
                  <a:gd name="connsiteY4" fmla="*/ 33241 h 42922"/>
                  <a:gd name="connsiteX5" fmla="*/ 23512 w 42922"/>
                  <a:gd name="connsiteY5" fmla="*/ 3324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512" y="33241"/>
                    </a:moveTo>
                    <a:cubicBezTo>
                      <a:pt x="28607" y="32621"/>
                      <a:pt x="32620" y="28607"/>
                      <a:pt x="33241" y="23512"/>
                    </a:cubicBezTo>
                    <a:cubicBezTo>
                      <a:pt x="34057" y="17323"/>
                      <a:pt x="29702" y="11646"/>
                      <a:pt x="23512" y="10829"/>
                    </a:cubicBezTo>
                    <a:cubicBezTo>
                      <a:pt x="17323" y="10013"/>
                      <a:pt x="11646" y="14370"/>
                      <a:pt x="10829" y="20558"/>
                    </a:cubicBezTo>
                    <a:cubicBezTo>
                      <a:pt x="10013" y="26747"/>
                      <a:pt x="14370" y="32426"/>
                      <a:pt x="20558" y="33241"/>
                    </a:cubicBezTo>
                    <a:cubicBezTo>
                      <a:pt x="21539" y="33370"/>
                      <a:pt x="22532" y="33370"/>
                      <a:pt x="23512" y="3324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5" name="Freeform: Shape 73">
                <a:extLst>
                  <a:ext uri="{FF2B5EF4-FFF2-40B4-BE49-F238E27FC236}">
                    <a16:creationId xmlns:a16="http://schemas.microsoft.com/office/drawing/2014/main" id="{DDD5C152-9038-854D-9AFA-D39A583FF79C}"/>
                  </a:ext>
                </a:extLst>
              </p:cNvPr>
              <p:cNvSpPr/>
              <p:nvPr/>
            </p:nvSpPr>
            <p:spPr>
              <a:xfrm>
                <a:off x="5379893" y="5508375"/>
                <a:ext cx="42922" cy="42922"/>
              </a:xfrm>
              <a:custGeom>
                <a:avLst/>
                <a:gdLst>
                  <a:gd name="connsiteX0" fmla="*/ 22178 w 42922"/>
                  <a:gd name="connsiteY0" fmla="*/ 10786 h 42922"/>
                  <a:gd name="connsiteX1" fmla="*/ 22178 w 42922"/>
                  <a:gd name="connsiteY1" fmla="*/ 10786 h 42922"/>
                  <a:gd name="connsiteX2" fmla="*/ 10732 w 42922"/>
                  <a:gd name="connsiteY2" fmla="*/ 22089 h 42922"/>
                  <a:gd name="connsiteX3" fmla="*/ 21890 w 42922"/>
                  <a:gd name="connsiteY3" fmla="*/ 33535 h 42922"/>
                  <a:gd name="connsiteX4" fmla="*/ 21891 w 42922"/>
                  <a:gd name="connsiteY4" fmla="*/ 33535 h 42922"/>
                  <a:gd name="connsiteX5" fmla="*/ 34662 w 42922"/>
                  <a:gd name="connsiteY5" fmla="*/ 23590 h 42922"/>
                  <a:gd name="connsiteX6" fmla="*/ 24717 w 42922"/>
                  <a:gd name="connsiteY6" fmla="*/ 10817 h 42922"/>
                  <a:gd name="connsiteX7" fmla="*/ 22178 w 42922"/>
                  <a:gd name="connsiteY7" fmla="*/ 1078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178" y="10786"/>
                    </a:moveTo>
                    <a:lnTo>
                      <a:pt x="22178" y="10786"/>
                    </a:lnTo>
                    <a:cubicBezTo>
                      <a:pt x="15911" y="10786"/>
                      <a:pt x="10810" y="15824"/>
                      <a:pt x="10732" y="22089"/>
                    </a:cubicBezTo>
                    <a:cubicBezTo>
                      <a:pt x="10651" y="28331"/>
                      <a:pt x="15648" y="33455"/>
                      <a:pt x="21890" y="33535"/>
                    </a:cubicBezTo>
                    <a:cubicBezTo>
                      <a:pt x="21890" y="33535"/>
                      <a:pt x="21891" y="33535"/>
                      <a:pt x="21891" y="33535"/>
                    </a:cubicBezTo>
                    <a:cubicBezTo>
                      <a:pt x="28164" y="34315"/>
                      <a:pt x="33882" y="29862"/>
                      <a:pt x="34662" y="23590"/>
                    </a:cubicBezTo>
                    <a:cubicBezTo>
                      <a:pt x="35442" y="17316"/>
                      <a:pt x="30990" y="11599"/>
                      <a:pt x="24717" y="10817"/>
                    </a:cubicBezTo>
                    <a:cubicBezTo>
                      <a:pt x="23874" y="10713"/>
                      <a:pt x="23023" y="10703"/>
                      <a:pt x="22178" y="107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6" name="Freeform: Shape 74">
                <a:extLst>
                  <a:ext uri="{FF2B5EF4-FFF2-40B4-BE49-F238E27FC236}">
                    <a16:creationId xmlns:a16="http://schemas.microsoft.com/office/drawing/2014/main" id="{0554427A-D338-7744-8388-BCADFD355E2C}"/>
                  </a:ext>
                </a:extLst>
              </p:cNvPr>
              <p:cNvSpPr/>
              <p:nvPr/>
            </p:nvSpPr>
            <p:spPr>
              <a:xfrm>
                <a:off x="5381171" y="5608579"/>
                <a:ext cx="42922" cy="42922"/>
              </a:xfrm>
              <a:custGeom>
                <a:avLst/>
                <a:gdLst>
                  <a:gd name="connsiteX0" fmla="*/ 20900 w 42922"/>
                  <a:gd name="connsiteY0" fmla="*/ 10734 h 42922"/>
                  <a:gd name="connsiteX1" fmla="*/ 20900 w 42922"/>
                  <a:gd name="connsiteY1" fmla="*/ 10734 h 42922"/>
                  <a:gd name="connsiteX2" fmla="*/ 10803 w 42922"/>
                  <a:gd name="connsiteY2" fmla="*/ 23386 h 42922"/>
                  <a:gd name="connsiteX3" fmla="*/ 20900 w 42922"/>
                  <a:gd name="connsiteY3" fmla="*/ 33483 h 42922"/>
                  <a:gd name="connsiteX4" fmla="*/ 32489 w 42922"/>
                  <a:gd name="connsiteY4" fmla="*/ 22180 h 42922"/>
                  <a:gd name="connsiteX5" fmla="*/ 21333 w 42922"/>
                  <a:gd name="connsiteY5" fmla="*/ 10731 h 42922"/>
                  <a:gd name="connsiteX6" fmla="*/ 20900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10734"/>
                    </a:moveTo>
                    <a:lnTo>
                      <a:pt x="20900" y="10734"/>
                    </a:lnTo>
                    <a:cubicBezTo>
                      <a:pt x="14617" y="11440"/>
                      <a:pt x="10098" y="17104"/>
                      <a:pt x="10803" y="23386"/>
                    </a:cubicBezTo>
                    <a:cubicBezTo>
                      <a:pt x="11400" y="28696"/>
                      <a:pt x="15590" y="32887"/>
                      <a:pt x="20900" y="33483"/>
                    </a:cubicBezTo>
                    <a:cubicBezTo>
                      <a:pt x="27191" y="33485"/>
                      <a:pt x="32333" y="28468"/>
                      <a:pt x="32489" y="22180"/>
                    </a:cubicBezTo>
                    <a:cubicBezTo>
                      <a:pt x="32571" y="15938"/>
                      <a:pt x="27576" y="10813"/>
                      <a:pt x="21333" y="10731"/>
                    </a:cubicBezTo>
                    <a:cubicBezTo>
                      <a:pt x="21189" y="10730"/>
                      <a:pt x="21044" y="10730"/>
                      <a:pt x="20900"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7" name="Freeform: Shape 75">
                <a:extLst>
                  <a:ext uri="{FF2B5EF4-FFF2-40B4-BE49-F238E27FC236}">
                    <a16:creationId xmlns:a16="http://schemas.microsoft.com/office/drawing/2014/main" id="{EBED2F23-494D-2347-95CE-6B15982476E4}"/>
                  </a:ext>
                </a:extLst>
              </p:cNvPr>
              <p:cNvSpPr/>
              <p:nvPr/>
            </p:nvSpPr>
            <p:spPr>
              <a:xfrm>
                <a:off x="5379322" y="5560311"/>
                <a:ext cx="28615" cy="28615"/>
              </a:xfrm>
              <a:custGeom>
                <a:avLst/>
                <a:gdLst>
                  <a:gd name="connsiteX0" fmla="*/ 23464 w 28614"/>
                  <a:gd name="connsiteY0" fmla="*/ 30387 h 28614"/>
                  <a:gd name="connsiteX1" fmla="*/ 30382 w 28614"/>
                  <a:gd name="connsiteY1" fmla="*/ 18027 h 28614"/>
                  <a:gd name="connsiteX2" fmla="*/ 18022 w 28614"/>
                  <a:gd name="connsiteY2" fmla="*/ 11110 h 28614"/>
                  <a:gd name="connsiteX3" fmla="*/ 10731 w 28614"/>
                  <a:gd name="connsiteY3" fmla="*/ 20515 h 28614"/>
                  <a:gd name="connsiteX4" fmla="*/ 23284 w 28614"/>
                  <a:gd name="connsiteY4" fmla="*/ 30410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4"/>
                      <a:pt x="31884" y="23350"/>
                      <a:pt x="30382" y="18027"/>
                    </a:cubicBezTo>
                    <a:cubicBezTo>
                      <a:pt x="28878" y="12704"/>
                      <a:pt x="23346" y="9607"/>
                      <a:pt x="18022" y="11110"/>
                    </a:cubicBezTo>
                    <a:cubicBezTo>
                      <a:pt x="13791" y="12305"/>
                      <a:pt x="10834" y="16119"/>
                      <a:pt x="10731" y="20515"/>
                    </a:cubicBezTo>
                    <a:cubicBezTo>
                      <a:pt x="11465" y="26714"/>
                      <a:pt x="17086" y="31144"/>
                      <a:pt x="23284" y="30410"/>
                    </a:cubicBezTo>
                    <a:cubicBezTo>
                      <a:pt x="23344" y="30402"/>
                      <a:pt x="23404" y="30395"/>
                      <a:pt x="23464" y="303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8" name="Freeform: Shape 76">
                <a:extLst>
                  <a:ext uri="{FF2B5EF4-FFF2-40B4-BE49-F238E27FC236}">
                    <a16:creationId xmlns:a16="http://schemas.microsoft.com/office/drawing/2014/main" id="{E52A88B9-93B5-5D48-B060-4592F8B790A0}"/>
                  </a:ext>
                </a:extLst>
              </p:cNvPr>
              <p:cNvSpPr/>
              <p:nvPr/>
            </p:nvSpPr>
            <p:spPr>
              <a:xfrm>
                <a:off x="5300774" y="5658945"/>
                <a:ext cx="28615" cy="28615"/>
              </a:xfrm>
              <a:custGeom>
                <a:avLst/>
                <a:gdLst>
                  <a:gd name="connsiteX0" fmla="*/ 10731 w 28614"/>
                  <a:gd name="connsiteY0" fmla="*/ 21175 h 28614"/>
                  <a:gd name="connsiteX1" fmla="*/ 21032 w 28614"/>
                  <a:gd name="connsiteY1" fmla="*/ 31476 h 28614"/>
                  <a:gd name="connsiteX2" fmla="*/ 31333 w 28614"/>
                  <a:gd name="connsiteY2" fmla="*/ 21175 h 28614"/>
                  <a:gd name="connsiteX3" fmla="*/ 31333 w 28614"/>
                  <a:gd name="connsiteY3" fmla="*/ 21175 h 28614"/>
                  <a:gd name="connsiteX4" fmla="*/ 20889 w 28614"/>
                  <a:gd name="connsiteY4" fmla="*/ 10731 h 28614"/>
                  <a:gd name="connsiteX5" fmla="*/ 10731 w 28614"/>
                  <a:gd name="connsiteY5" fmla="*/ 2088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1" y="21175"/>
                    </a:moveTo>
                    <a:cubicBezTo>
                      <a:pt x="10731" y="26864"/>
                      <a:pt x="15343" y="31476"/>
                      <a:pt x="21032" y="31476"/>
                    </a:cubicBezTo>
                    <a:cubicBezTo>
                      <a:pt x="26721" y="31476"/>
                      <a:pt x="31333" y="26864"/>
                      <a:pt x="31333" y="21175"/>
                    </a:cubicBezTo>
                    <a:lnTo>
                      <a:pt x="31333" y="21175"/>
                    </a:lnTo>
                    <a:cubicBezTo>
                      <a:pt x="31333" y="15406"/>
                      <a:pt x="26658" y="10731"/>
                      <a:pt x="20889" y="10731"/>
                    </a:cubicBezTo>
                    <a:cubicBezTo>
                      <a:pt x="15279" y="10731"/>
                      <a:pt x="10731" y="15279"/>
                      <a:pt x="10731" y="2088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99" name="Freeform: Shape 77">
                <a:extLst>
                  <a:ext uri="{FF2B5EF4-FFF2-40B4-BE49-F238E27FC236}">
                    <a16:creationId xmlns:a16="http://schemas.microsoft.com/office/drawing/2014/main" id="{DCC31BA7-6622-9742-9AA2-7AF52057E3F3}"/>
                  </a:ext>
                </a:extLst>
              </p:cNvPr>
              <p:cNvSpPr/>
              <p:nvPr/>
            </p:nvSpPr>
            <p:spPr>
              <a:xfrm>
                <a:off x="5144965" y="5510004"/>
                <a:ext cx="28615" cy="28615"/>
              </a:xfrm>
              <a:custGeom>
                <a:avLst/>
                <a:gdLst>
                  <a:gd name="connsiteX0" fmla="*/ 19029 w 28614"/>
                  <a:gd name="connsiteY0" fmla="*/ 10731 h 28614"/>
                  <a:gd name="connsiteX1" fmla="*/ 19029 w 28614"/>
                  <a:gd name="connsiteY1" fmla="*/ 10731 h 28614"/>
                  <a:gd name="connsiteX2" fmla="*/ 10731 w 28614"/>
                  <a:gd name="connsiteY2" fmla="*/ 19029 h 28614"/>
                  <a:gd name="connsiteX3" fmla="*/ 19029 w 28614"/>
                  <a:gd name="connsiteY3" fmla="*/ 27613 h 28614"/>
                  <a:gd name="connsiteX4" fmla="*/ 27470 w 28614"/>
                  <a:gd name="connsiteY4" fmla="*/ 19172 h 28614"/>
                  <a:gd name="connsiteX5" fmla="*/ 1902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29" y="10731"/>
                    </a:moveTo>
                    <a:lnTo>
                      <a:pt x="19029" y="10731"/>
                    </a:lnTo>
                    <a:cubicBezTo>
                      <a:pt x="14446" y="10731"/>
                      <a:pt x="10731" y="14446"/>
                      <a:pt x="10731" y="19029"/>
                    </a:cubicBezTo>
                    <a:cubicBezTo>
                      <a:pt x="10728" y="23660"/>
                      <a:pt x="14400" y="27459"/>
                      <a:pt x="19029" y="27613"/>
                    </a:cubicBezTo>
                    <a:cubicBezTo>
                      <a:pt x="23690" y="27613"/>
                      <a:pt x="27470" y="23833"/>
                      <a:pt x="27470" y="19172"/>
                    </a:cubicBezTo>
                    <a:cubicBezTo>
                      <a:pt x="27470" y="14511"/>
                      <a:pt x="23690" y="10731"/>
                      <a:pt x="1902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0" name="Freeform: Shape 78">
                <a:extLst>
                  <a:ext uri="{FF2B5EF4-FFF2-40B4-BE49-F238E27FC236}">
                    <a16:creationId xmlns:a16="http://schemas.microsoft.com/office/drawing/2014/main" id="{D2A6FAE0-D06D-2041-A703-C868F5E854C0}"/>
                  </a:ext>
                </a:extLst>
              </p:cNvPr>
              <p:cNvSpPr/>
              <p:nvPr/>
            </p:nvSpPr>
            <p:spPr>
              <a:xfrm>
                <a:off x="5300917" y="5709163"/>
                <a:ext cx="42922" cy="28615"/>
              </a:xfrm>
              <a:custGeom>
                <a:avLst/>
                <a:gdLst>
                  <a:gd name="connsiteX0" fmla="*/ 26469 w 42922"/>
                  <a:gd name="connsiteY0" fmla="*/ 11161 h 28614"/>
                  <a:gd name="connsiteX1" fmla="*/ 20746 w 42922"/>
                  <a:gd name="connsiteY1" fmla="*/ 11161 h 28614"/>
                  <a:gd name="connsiteX2" fmla="*/ 10731 w 42922"/>
                  <a:gd name="connsiteY2" fmla="*/ 21033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00" y="11235"/>
                      <a:pt x="10884" y="15590"/>
                      <a:pt x="10731" y="21033"/>
                    </a:cubicBezTo>
                    <a:cubicBezTo>
                      <a:pt x="10885" y="26453"/>
                      <a:pt x="15325" y="30765"/>
                      <a:pt x="20746" y="30762"/>
                    </a:cubicBezTo>
                    <a:cubicBezTo>
                      <a:pt x="26158" y="32343"/>
                      <a:pt x="31827" y="29236"/>
                      <a:pt x="33408" y="23823"/>
                    </a:cubicBezTo>
                    <a:cubicBezTo>
                      <a:pt x="34989" y="18410"/>
                      <a:pt x="31881" y="12742"/>
                      <a:pt x="26469" y="1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1" name="Freeform: Shape 79">
                <a:extLst>
                  <a:ext uri="{FF2B5EF4-FFF2-40B4-BE49-F238E27FC236}">
                    <a16:creationId xmlns:a16="http://schemas.microsoft.com/office/drawing/2014/main" id="{845BC190-C782-6D4D-98A5-FD3BE3AB7645}"/>
                  </a:ext>
                </a:extLst>
              </p:cNvPr>
              <p:cNvSpPr/>
              <p:nvPr/>
            </p:nvSpPr>
            <p:spPr>
              <a:xfrm>
                <a:off x="5301485" y="5608868"/>
                <a:ext cx="28615" cy="28615"/>
              </a:xfrm>
              <a:custGeom>
                <a:avLst/>
                <a:gdLst>
                  <a:gd name="connsiteX0" fmla="*/ 20750 w 28614"/>
                  <a:gd name="connsiteY0" fmla="*/ 31333 h 28614"/>
                  <a:gd name="connsiteX1" fmla="*/ 20750 w 28614"/>
                  <a:gd name="connsiteY1" fmla="*/ 31333 h 28614"/>
                  <a:gd name="connsiteX2" fmla="*/ 31194 w 28614"/>
                  <a:gd name="connsiteY2" fmla="*/ 21032 h 28614"/>
                  <a:gd name="connsiteX3" fmla="*/ 20893 w 28614"/>
                  <a:gd name="connsiteY3" fmla="*/ 10731 h 28614"/>
                  <a:gd name="connsiteX4" fmla="*/ 20893 w 28614"/>
                  <a:gd name="connsiteY4" fmla="*/ 10731 h 28614"/>
                  <a:gd name="connsiteX5" fmla="*/ 10733 w 28614"/>
                  <a:gd name="connsiteY5" fmla="*/ 20887 h 28614"/>
                  <a:gd name="connsiteX6" fmla="*/ 10735 w 28614"/>
                  <a:gd name="connsiteY6" fmla="*/ 21032 h 28614"/>
                  <a:gd name="connsiteX7" fmla="*/ 20460 w 28614"/>
                  <a:gd name="connsiteY7" fmla="*/ 31329 h 28614"/>
                  <a:gd name="connsiteX8" fmla="*/ 20750 w 28614"/>
                  <a:gd name="connsiteY8"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750" y="31333"/>
                    </a:moveTo>
                    <a:lnTo>
                      <a:pt x="20750" y="31333"/>
                    </a:lnTo>
                    <a:cubicBezTo>
                      <a:pt x="26463" y="31333"/>
                      <a:pt x="31116" y="26745"/>
                      <a:pt x="31194" y="21032"/>
                    </a:cubicBezTo>
                    <a:cubicBezTo>
                      <a:pt x="31194" y="15343"/>
                      <a:pt x="26582" y="10731"/>
                      <a:pt x="20893" y="10731"/>
                    </a:cubicBezTo>
                    <a:lnTo>
                      <a:pt x="20893" y="10731"/>
                    </a:lnTo>
                    <a:cubicBezTo>
                      <a:pt x="15283" y="10731"/>
                      <a:pt x="10735" y="15278"/>
                      <a:pt x="10733" y="20887"/>
                    </a:cubicBezTo>
                    <a:cubicBezTo>
                      <a:pt x="10733" y="20936"/>
                      <a:pt x="10735" y="20983"/>
                      <a:pt x="10735" y="21032"/>
                    </a:cubicBezTo>
                    <a:cubicBezTo>
                      <a:pt x="10577" y="26560"/>
                      <a:pt x="14931" y="31172"/>
                      <a:pt x="20460" y="31329"/>
                    </a:cubicBezTo>
                    <a:cubicBezTo>
                      <a:pt x="20557" y="31332"/>
                      <a:pt x="20653" y="31333"/>
                      <a:pt x="20750" y="31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2" name="Freeform: Shape 80">
                <a:extLst>
                  <a:ext uri="{FF2B5EF4-FFF2-40B4-BE49-F238E27FC236}">
                    <a16:creationId xmlns:a16="http://schemas.microsoft.com/office/drawing/2014/main" id="{FF19294C-F47B-7B4F-A9AE-7C5CC0FCE6F2}"/>
                  </a:ext>
                </a:extLst>
              </p:cNvPr>
              <p:cNvSpPr/>
              <p:nvPr/>
            </p:nvSpPr>
            <p:spPr>
              <a:xfrm>
                <a:off x="5223080" y="5508430"/>
                <a:ext cx="28615" cy="28615"/>
              </a:xfrm>
              <a:custGeom>
                <a:avLst/>
                <a:gdLst>
                  <a:gd name="connsiteX0" fmla="*/ 19892 w 28614"/>
                  <a:gd name="connsiteY0" fmla="*/ 10731 h 28614"/>
                  <a:gd name="connsiteX1" fmla="*/ 10735 w 28614"/>
                  <a:gd name="connsiteY1" fmla="*/ 20030 h 28614"/>
                  <a:gd name="connsiteX2" fmla="*/ 10735 w 28614"/>
                  <a:gd name="connsiteY2" fmla="*/ 21032 h 28614"/>
                  <a:gd name="connsiteX3" fmla="*/ 19458 w 28614"/>
                  <a:gd name="connsiteY3" fmla="*/ 30328 h 28614"/>
                  <a:gd name="connsiteX4" fmla="*/ 19749 w 28614"/>
                  <a:gd name="connsiteY4" fmla="*/ 30332 h 28614"/>
                  <a:gd name="connsiteX5" fmla="*/ 19749 w 28614"/>
                  <a:gd name="connsiteY5" fmla="*/ 30332 h 28614"/>
                  <a:gd name="connsiteX6" fmla="*/ 29620 w 28614"/>
                  <a:gd name="connsiteY6" fmla="*/ 20747 h 28614"/>
                  <a:gd name="connsiteX7" fmla="*/ 29621 w 28614"/>
                  <a:gd name="connsiteY7" fmla="*/ 20603 h 28614"/>
                  <a:gd name="connsiteX8" fmla="*/ 1989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731"/>
                    </a:moveTo>
                    <a:cubicBezTo>
                      <a:pt x="14811" y="10809"/>
                      <a:pt x="10735" y="14950"/>
                      <a:pt x="10735" y="20030"/>
                    </a:cubicBezTo>
                    <a:lnTo>
                      <a:pt x="10735" y="21032"/>
                    </a:lnTo>
                    <a:cubicBezTo>
                      <a:pt x="10578" y="26008"/>
                      <a:pt x="14482" y="30169"/>
                      <a:pt x="19458" y="30328"/>
                    </a:cubicBezTo>
                    <a:cubicBezTo>
                      <a:pt x="19556" y="30330"/>
                      <a:pt x="19652" y="30332"/>
                      <a:pt x="19749" y="30332"/>
                    </a:cubicBezTo>
                    <a:lnTo>
                      <a:pt x="19749" y="30332"/>
                    </a:lnTo>
                    <a:cubicBezTo>
                      <a:pt x="25121" y="30411"/>
                      <a:pt x="29541" y="26120"/>
                      <a:pt x="29620" y="20747"/>
                    </a:cubicBezTo>
                    <a:cubicBezTo>
                      <a:pt x="29621" y="20699"/>
                      <a:pt x="29621" y="20651"/>
                      <a:pt x="29621" y="20603"/>
                    </a:cubicBezTo>
                    <a:cubicBezTo>
                      <a:pt x="29621" y="15206"/>
                      <a:pt x="25289" y="10809"/>
                      <a:pt x="19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3" name="Freeform: Shape 81">
                <a:extLst>
                  <a:ext uri="{FF2B5EF4-FFF2-40B4-BE49-F238E27FC236}">
                    <a16:creationId xmlns:a16="http://schemas.microsoft.com/office/drawing/2014/main" id="{E0280A25-4A73-364C-B14C-C09AAF37BB63}"/>
                  </a:ext>
                </a:extLst>
              </p:cNvPr>
              <p:cNvSpPr/>
              <p:nvPr/>
            </p:nvSpPr>
            <p:spPr>
              <a:xfrm>
                <a:off x="5300774" y="5719751"/>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4" name="Freeform: Shape 82">
                <a:extLst>
                  <a:ext uri="{FF2B5EF4-FFF2-40B4-BE49-F238E27FC236}">
                    <a16:creationId xmlns:a16="http://schemas.microsoft.com/office/drawing/2014/main" id="{FE56C734-9DFE-994D-BB85-9748EA5B2E5F}"/>
                  </a:ext>
                </a:extLst>
              </p:cNvPr>
              <p:cNvSpPr/>
              <p:nvPr/>
            </p:nvSpPr>
            <p:spPr>
              <a:xfrm>
                <a:off x="5301346" y="5758524"/>
                <a:ext cx="28615" cy="28615"/>
              </a:xfrm>
              <a:custGeom>
                <a:avLst/>
                <a:gdLst>
                  <a:gd name="connsiteX0" fmla="*/ 21032 w 28614"/>
                  <a:gd name="connsiteY0" fmla="*/ 10732 h 28614"/>
                  <a:gd name="connsiteX1" fmla="*/ 10732 w 28614"/>
                  <a:gd name="connsiteY1" fmla="*/ 20745 h 28614"/>
                  <a:gd name="connsiteX2" fmla="*/ 10731 w 28614"/>
                  <a:gd name="connsiteY2" fmla="*/ 20890 h 28614"/>
                  <a:gd name="connsiteX3" fmla="*/ 10731 w 28614"/>
                  <a:gd name="connsiteY3" fmla="*/ 20890 h 28614"/>
                  <a:gd name="connsiteX4" fmla="*/ 21032 w 28614"/>
                  <a:gd name="connsiteY4" fmla="*/ 31191 h 28614"/>
                  <a:gd name="connsiteX5" fmla="*/ 31333 w 28614"/>
                  <a:gd name="connsiteY5" fmla="*/ 20890 h 28614"/>
                  <a:gd name="connsiteX6" fmla="*/ 31333 w 28614"/>
                  <a:gd name="connsiteY6" fmla="*/ 20890 h 28614"/>
                  <a:gd name="connsiteX7" fmla="*/ 21032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2"/>
                    </a:moveTo>
                    <a:cubicBezTo>
                      <a:pt x="15422" y="10653"/>
                      <a:pt x="10811" y="15135"/>
                      <a:pt x="10732" y="20745"/>
                    </a:cubicBezTo>
                    <a:cubicBezTo>
                      <a:pt x="10731" y="20794"/>
                      <a:pt x="10731" y="20841"/>
                      <a:pt x="10731" y="20890"/>
                    </a:cubicBezTo>
                    <a:lnTo>
                      <a:pt x="10731" y="20890"/>
                    </a:lnTo>
                    <a:cubicBezTo>
                      <a:pt x="10731" y="26579"/>
                      <a:pt x="15343" y="31191"/>
                      <a:pt x="21032" y="31191"/>
                    </a:cubicBezTo>
                    <a:cubicBezTo>
                      <a:pt x="26721" y="31191"/>
                      <a:pt x="31333" y="26579"/>
                      <a:pt x="31333" y="20890"/>
                    </a:cubicBezTo>
                    <a:lnTo>
                      <a:pt x="31333" y="20890"/>
                    </a:lnTo>
                    <a:cubicBezTo>
                      <a:pt x="31255" y="15257"/>
                      <a:pt x="26666" y="10732"/>
                      <a:pt x="2103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5" name="Freeform: Shape 83">
                <a:extLst>
                  <a:ext uri="{FF2B5EF4-FFF2-40B4-BE49-F238E27FC236}">
                    <a16:creationId xmlns:a16="http://schemas.microsoft.com/office/drawing/2014/main" id="{0DC6AB53-3584-804F-A3F8-82D9E0F2099C}"/>
                  </a:ext>
                </a:extLst>
              </p:cNvPr>
              <p:cNvSpPr/>
              <p:nvPr/>
            </p:nvSpPr>
            <p:spPr>
              <a:xfrm>
                <a:off x="5301346" y="5509002"/>
                <a:ext cx="28615" cy="28615"/>
              </a:xfrm>
              <a:custGeom>
                <a:avLst/>
                <a:gdLst>
                  <a:gd name="connsiteX0" fmla="*/ 20889 w 28614"/>
                  <a:gd name="connsiteY0" fmla="*/ 31333 h 28614"/>
                  <a:gd name="connsiteX1" fmla="*/ 20889 w 28614"/>
                  <a:gd name="connsiteY1" fmla="*/ 31333 h 28614"/>
                  <a:gd name="connsiteX2" fmla="*/ 31333 w 28614"/>
                  <a:gd name="connsiteY2" fmla="*/ 21032 h 28614"/>
                  <a:gd name="connsiteX3" fmla="*/ 21032 w 28614"/>
                  <a:gd name="connsiteY3" fmla="*/ 10731 h 28614"/>
                  <a:gd name="connsiteX4" fmla="*/ 21032 w 28614"/>
                  <a:gd name="connsiteY4" fmla="*/ 10731 h 28614"/>
                  <a:gd name="connsiteX5" fmla="*/ 10731 w 28614"/>
                  <a:gd name="connsiteY5" fmla="*/ 21032 h 28614"/>
                  <a:gd name="connsiteX6" fmla="*/ 21032 w 28614"/>
                  <a:gd name="connsiteY6"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889" y="31333"/>
                    </a:moveTo>
                    <a:lnTo>
                      <a:pt x="20889" y="31333"/>
                    </a:lnTo>
                    <a:cubicBezTo>
                      <a:pt x="26602" y="31333"/>
                      <a:pt x="31255" y="26745"/>
                      <a:pt x="31333" y="21032"/>
                    </a:cubicBezTo>
                    <a:cubicBezTo>
                      <a:pt x="31333" y="15343"/>
                      <a:pt x="26721" y="10731"/>
                      <a:pt x="21032" y="10731"/>
                    </a:cubicBezTo>
                    <a:lnTo>
                      <a:pt x="21032" y="10731"/>
                    </a:lnTo>
                    <a:cubicBezTo>
                      <a:pt x="15343" y="10731"/>
                      <a:pt x="10731" y="15343"/>
                      <a:pt x="10731" y="21032"/>
                    </a:cubicBezTo>
                    <a:cubicBezTo>
                      <a:pt x="10731" y="26721"/>
                      <a:pt x="15343" y="31333"/>
                      <a:pt x="21032" y="31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6" name="Freeform: Shape 84">
                <a:extLst>
                  <a:ext uri="{FF2B5EF4-FFF2-40B4-BE49-F238E27FC236}">
                    <a16:creationId xmlns:a16="http://schemas.microsoft.com/office/drawing/2014/main" id="{BDCBFB12-327B-5745-BD02-BA97F2FE0250}"/>
                  </a:ext>
                </a:extLst>
              </p:cNvPr>
              <p:cNvSpPr/>
              <p:nvPr/>
            </p:nvSpPr>
            <p:spPr>
              <a:xfrm>
                <a:off x="6016434" y="5659517"/>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7" name="Freeform: Shape 85">
                <a:extLst>
                  <a:ext uri="{FF2B5EF4-FFF2-40B4-BE49-F238E27FC236}">
                    <a16:creationId xmlns:a16="http://schemas.microsoft.com/office/drawing/2014/main" id="{38967CF8-6F6A-7F4C-8D2F-454C0AE34C76}"/>
                  </a:ext>
                </a:extLst>
              </p:cNvPr>
              <p:cNvSpPr/>
              <p:nvPr/>
            </p:nvSpPr>
            <p:spPr>
              <a:xfrm>
                <a:off x="6016434" y="5609297"/>
                <a:ext cx="28615" cy="28615"/>
              </a:xfrm>
              <a:custGeom>
                <a:avLst/>
                <a:gdLst>
                  <a:gd name="connsiteX0" fmla="*/ 21175 w 28614"/>
                  <a:gd name="connsiteY0" fmla="*/ 10732 h 28614"/>
                  <a:gd name="connsiteX1" fmla="*/ 10731 w 28614"/>
                  <a:gd name="connsiteY1" fmla="*/ 20747 h 28614"/>
                  <a:gd name="connsiteX2" fmla="*/ 10731 w 28614"/>
                  <a:gd name="connsiteY2" fmla="*/ 20747 h 28614"/>
                  <a:gd name="connsiteX3" fmla="*/ 21175 w 28614"/>
                  <a:gd name="connsiteY3" fmla="*/ 31191 h 28614"/>
                  <a:gd name="connsiteX4" fmla="*/ 31333 w 28614"/>
                  <a:gd name="connsiteY4" fmla="*/ 21033 h 28614"/>
                  <a:gd name="connsiteX5" fmla="*/ 31333 w 28614"/>
                  <a:gd name="connsiteY5" fmla="*/ 21033 h 28614"/>
                  <a:gd name="connsiteX6" fmla="*/ 21320 w 28614"/>
                  <a:gd name="connsiteY6" fmla="*/ 10733 h 28614"/>
                  <a:gd name="connsiteX7" fmla="*/ 21175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175" y="10732"/>
                    </a:moveTo>
                    <a:cubicBezTo>
                      <a:pt x="15541" y="10652"/>
                      <a:pt x="10886" y="15114"/>
                      <a:pt x="10731" y="20747"/>
                    </a:cubicBezTo>
                    <a:lnTo>
                      <a:pt x="10731" y="20747"/>
                    </a:lnTo>
                    <a:cubicBezTo>
                      <a:pt x="10731" y="26516"/>
                      <a:pt x="15406" y="31191"/>
                      <a:pt x="21175" y="31191"/>
                    </a:cubicBezTo>
                    <a:cubicBezTo>
                      <a:pt x="26785" y="31191"/>
                      <a:pt x="31333" y="26643"/>
                      <a:pt x="31333" y="21033"/>
                    </a:cubicBezTo>
                    <a:lnTo>
                      <a:pt x="31333" y="21033"/>
                    </a:lnTo>
                    <a:cubicBezTo>
                      <a:pt x="31412" y="15423"/>
                      <a:pt x="26929" y="10812"/>
                      <a:pt x="21320" y="10733"/>
                    </a:cubicBezTo>
                    <a:cubicBezTo>
                      <a:pt x="21271" y="10732"/>
                      <a:pt x="21224" y="10732"/>
                      <a:pt x="21175"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8" name="Freeform: Shape 86">
                <a:extLst>
                  <a:ext uri="{FF2B5EF4-FFF2-40B4-BE49-F238E27FC236}">
                    <a16:creationId xmlns:a16="http://schemas.microsoft.com/office/drawing/2014/main" id="{F9FE3874-C421-2345-82EC-5C8026380540}"/>
                  </a:ext>
                </a:extLst>
              </p:cNvPr>
              <p:cNvSpPr/>
              <p:nvPr/>
            </p:nvSpPr>
            <p:spPr>
              <a:xfrm>
                <a:off x="6177102" y="5660662"/>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09" name="Freeform: Shape 87">
                <a:extLst>
                  <a:ext uri="{FF2B5EF4-FFF2-40B4-BE49-F238E27FC236}">
                    <a16:creationId xmlns:a16="http://schemas.microsoft.com/office/drawing/2014/main" id="{DA8279AE-BEEA-DB4D-94C3-0300C3632279}"/>
                  </a:ext>
                </a:extLst>
              </p:cNvPr>
              <p:cNvSpPr/>
              <p:nvPr/>
            </p:nvSpPr>
            <p:spPr>
              <a:xfrm>
                <a:off x="6177058" y="5612351"/>
                <a:ext cx="28615" cy="28615"/>
              </a:xfrm>
              <a:custGeom>
                <a:avLst/>
                <a:gdLst>
                  <a:gd name="connsiteX0" fmla="*/ 18077 w 28614"/>
                  <a:gd name="connsiteY0" fmla="*/ 10825 h 28614"/>
                  <a:gd name="connsiteX1" fmla="*/ 10803 w 28614"/>
                  <a:gd name="connsiteY1" fmla="*/ 20291 h 28614"/>
                  <a:gd name="connsiteX2" fmla="*/ 18077 w 28614"/>
                  <a:gd name="connsiteY2" fmla="*/ 27565 h 28614"/>
                  <a:gd name="connsiteX3" fmla="*/ 27659 w 28614"/>
                  <a:gd name="connsiteY3" fmla="*/ 20444 h 28614"/>
                  <a:gd name="connsiteX4" fmla="*/ 27663 w 28614"/>
                  <a:gd name="connsiteY4" fmla="*/ 20411 h 28614"/>
                  <a:gd name="connsiteX5" fmla="*/ 27663 w 28614"/>
                  <a:gd name="connsiteY5" fmla="*/ 17835 h 28614"/>
                  <a:gd name="connsiteX6" fmla="*/ 18077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10825"/>
                    </a:moveTo>
                    <a:cubicBezTo>
                      <a:pt x="13454" y="11430"/>
                      <a:pt x="10198" y="15669"/>
                      <a:pt x="10803" y="20291"/>
                    </a:cubicBezTo>
                    <a:cubicBezTo>
                      <a:pt x="11301" y="24084"/>
                      <a:pt x="14285" y="27068"/>
                      <a:pt x="18077" y="27565"/>
                    </a:cubicBez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39"/>
                      <a:pt x="18077"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0" name="Freeform: Shape 88">
                <a:extLst>
                  <a:ext uri="{FF2B5EF4-FFF2-40B4-BE49-F238E27FC236}">
                    <a16:creationId xmlns:a16="http://schemas.microsoft.com/office/drawing/2014/main" id="{965B290C-1931-8949-93AE-0FD6A2EB0D64}"/>
                  </a:ext>
                </a:extLst>
              </p:cNvPr>
              <p:cNvSpPr/>
              <p:nvPr/>
            </p:nvSpPr>
            <p:spPr>
              <a:xfrm>
                <a:off x="6177106" y="5761238"/>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187 w 28614"/>
                  <a:gd name="connsiteY5" fmla="*/ 19465 h 28614"/>
                  <a:gd name="connsiteX6" fmla="*/ 27186 w 28614"/>
                  <a:gd name="connsiteY6" fmla="*/ 19320 h 28614"/>
                  <a:gd name="connsiteX7" fmla="*/ 19459 w 28614"/>
                  <a:gd name="connsiteY7"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534" y="27619"/>
                      <a:pt x="27186" y="23969"/>
                      <a:pt x="27187" y="19465"/>
                    </a:cubicBezTo>
                    <a:cubicBezTo>
                      <a:pt x="27187" y="19416"/>
                      <a:pt x="27187" y="19369"/>
                      <a:pt x="27186" y="19320"/>
                    </a:cubicBezTo>
                    <a:cubicBezTo>
                      <a:pt x="27277" y="14869"/>
                      <a:pt x="23896" y="11112"/>
                      <a:pt x="19459" y="107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1" name="Freeform: Shape 89">
                <a:extLst>
                  <a:ext uri="{FF2B5EF4-FFF2-40B4-BE49-F238E27FC236}">
                    <a16:creationId xmlns:a16="http://schemas.microsoft.com/office/drawing/2014/main" id="{05B4D4A8-C61E-FD46-9676-A69298E6A894}"/>
                  </a:ext>
                </a:extLst>
              </p:cNvPr>
              <p:cNvSpPr/>
              <p:nvPr/>
            </p:nvSpPr>
            <p:spPr>
              <a:xfrm>
                <a:off x="6177197" y="5711073"/>
                <a:ext cx="28615" cy="28615"/>
              </a:xfrm>
              <a:custGeom>
                <a:avLst/>
                <a:gdLst>
                  <a:gd name="connsiteX0" fmla="*/ 17938 w 28614"/>
                  <a:gd name="connsiteY0" fmla="*/ 10825 h 28614"/>
                  <a:gd name="connsiteX1" fmla="*/ 10823 w 28614"/>
                  <a:gd name="connsiteY1" fmla="*/ 20411 h 28614"/>
                  <a:gd name="connsiteX2" fmla="*/ 20409 w 28614"/>
                  <a:gd name="connsiteY2" fmla="*/ 27526 h 28614"/>
                  <a:gd name="connsiteX3" fmla="*/ 27524 w 28614"/>
                  <a:gd name="connsiteY3" fmla="*/ 20411 h 28614"/>
                  <a:gd name="connsiteX4" fmla="*/ 27524 w 28614"/>
                  <a:gd name="connsiteY4" fmla="*/ 17836 h 28614"/>
                  <a:gd name="connsiteX5" fmla="*/ 17938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938" y="10825"/>
                    </a:moveTo>
                    <a:cubicBezTo>
                      <a:pt x="13326" y="11507"/>
                      <a:pt x="10140" y="15800"/>
                      <a:pt x="10823" y="20411"/>
                    </a:cubicBezTo>
                    <a:cubicBezTo>
                      <a:pt x="11505" y="25022"/>
                      <a:pt x="15797" y="28208"/>
                      <a:pt x="20409" y="27526"/>
                    </a:cubicBezTo>
                    <a:cubicBezTo>
                      <a:pt x="24089" y="26981"/>
                      <a:pt x="26979" y="24091"/>
                      <a:pt x="27524" y="20411"/>
                    </a:cubicBezTo>
                    <a:cubicBezTo>
                      <a:pt x="27668" y="19558"/>
                      <a:pt x="27668" y="18688"/>
                      <a:pt x="27524" y="17836"/>
                    </a:cubicBezTo>
                    <a:cubicBezTo>
                      <a:pt x="26790" y="13266"/>
                      <a:pt x="22515" y="10140"/>
                      <a:pt x="17938"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2" name="Freeform: Shape 90">
                <a:extLst>
                  <a:ext uri="{FF2B5EF4-FFF2-40B4-BE49-F238E27FC236}">
                    <a16:creationId xmlns:a16="http://schemas.microsoft.com/office/drawing/2014/main" id="{763E4EA7-8E5B-4642-AE4F-13DA9EBB59F4}"/>
                  </a:ext>
                </a:extLst>
              </p:cNvPr>
              <p:cNvSpPr/>
              <p:nvPr/>
            </p:nvSpPr>
            <p:spPr>
              <a:xfrm>
                <a:off x="6257658" y="5561654"/>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3" name="Freeform: Shape 91">
                <a:extLst>
                  <a:ext uri="{FF2B5EF4-FFF2-40B4-BE49-F238E27FC236}">
                    <a16:creationId xmlns:a16="http://schemas.microsoft.com/office/drawing/2014/main" id="{4ED7583B-6765-C846-9133-C8A43D00EB1D}"/>
                  </a:ext>
                </a:extLst>
              </p:cNvPr>
              <p:cNvSpPr/>
              <p:nvPr/>
            </p:nvSpPr>
            <p:spPr>
              <a:xfrm>
                <a:off x="6256657" y="5512581"/>
                <a:ext cx="28615" cy="28615"/>
              </a:xfrm>
              <a:custGeom>
                <a:avLst/>
                <a:gdLst>
                  <a:gd name="connsiteX0" fmla="*/ 18170 w 28614"/>
                  <a:gd name="connsiteY0" fmla="*/ 25895 h 28614"/>
                  <a:gd name="connsiteX1" fmla="*/ 25895 w 28614"/>
                  <a:gd name="connsiteY1" fmla="*/ 18457 h 28614"/>
                  <a:gd name="connsiteX2" fmla="*/ 18457 w 28614"/>
                  <a:gd name="connsiteY2" fmla="*/ 10732 h 28614"/>
                  <a:gd name="connsiteX3" fmla="*/ 10732 w 28614"/>
                  <a:gd name="connsiteY3" fmla="*/ 18170 h 28614"/>
                  <a:gd name="connsiteX4" fmla="*/ 10731 w 28614"/>
                  <a:gd name="connsiteY4" fmla="*/ 18312 h 28614"/>
                  <a:gd name="connsiteX5" fmla="*/ 18170 w 28614"/>
                  <a:gd name="connsiteY5" fmla="*/ 2589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170" y="25895"/>
                    </a:moveTo>
                    <a:cubicBezTo>
                      <a:pt x="22358" y="25974"/>
                      <a:pt x="25816" y="22644"/>
                      <a:pt x="25895" y="18457"/>
                    </a:cubicBezTo>
                    <a:cubicBezTo>
                      <a:pt x="25974" y="14269"/>
                      <a:pt x="22644" y="10811"/>
                      <a:pt x="18457" y="10732"/>
                    </a:cubicBezTo>
                    <a:cubicBezTo>
                      <a:pt x="14269" y="10653"/>
                      <a:pt x="10811" y="13983"/>
                      <a:pt x="10732" y="18170"/>
                    </a:cubicBezTo>
                    <a:cubicBezTo>
                      <a:pt x="10731" y="18218"/>
                      <a:pt x="10731" y="18265"/>
                      <a:pt x="10731" y="18312"/>
                    </a:cubicBezTo>
                    <a:cubicBezTo>
                      <a:pt x="10729" y="22444"/>
                      <a:pt x="14038" y="25816"/>
                      <a:pt x="18170" y="258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4" name="Freeform: Shape 92">
                <a:extLst>
                  <a:ext uri="{FF2B5EF4-FFF2-40B4-BE49-F238E27FC236}">
                    <a16:creationId xmlns:a16="http://schemas.microsoft.com/office/drawing/2014/main" id="{292B412B-992F-574E-943C-C872F2651033}"/>
                  </a:ext>
                </a:extLst>
              </p:cNvPr>
              <p:cNvSpPr/>
              <p:nvPr/>
            </p:nvSpPr>
            <p:spPr>
              <a:xfrm>
                <a:off x="6177106" y="5560504"/>
                <a:ext cx="28615" cy="28615"/>
              </a:xfrm>
              <a:custGeom>
                <a:avLst/>
                <a:gdLst>
                  <a:gd name="connsiteX0" fmla="*/ 19459 w 28614"/>
                  <a:gd name="connsiteY0" fmla="*/ 10736 h 28614"/>
                  <a:gd name="connsiteX1" fmla="*/ 10732 w 28614"/>
                  <a:gd name="connsiteY1" fmla="*/ 18881 h 28614"/>
                  <a:gd name="connsiteX2" fmla="*/ 10732 w 28614"/>
                  <a:gd name="connsiteY2" fmla="*/ 18891 h 28614"/>
                  <a:gd name="connsiteX3" fmla="*/ 19030 w 28614"/>
                  <a:gd name="connsiteY3" fmla="*/ 27619 h 28614"/>
                  <a:gd name="connsiteX4" fmla="*/ 19030 w 28614"/>
                  <a:gd name="connsiteY4" fmla="*/ 27619 h 28614"/>
                  <a:gd name="connsiteX5" fmla="*/ 27472 w 28614"/>
                  <a:gd name="connsiteY5" fmla="*/ 19177 h 28614"/>
                  <a:gd name="connsiteX6" fmla="*/ 19030 w 28614"/>
                  <a:gd name="connsiteY6" fmla="*/ 107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59" y="10736"/>
                    </a:moveTo>
                    <a:cubicBezTo>
                      <a:pt x="14800" y="10575"/>
                      <a:pt x="10894" y="14222"/>
                      <a:pt x="10732" y="18881"/>
                    </a:cubicBezTo>
                    <a:cubicBezTo>
                      <a:pt x="10732" y="18884"/>
                      <a:pt x="10732" y="18888"/>
                      <a:pt x="10732" y="18891"/>
                    </a:cubicBezTo>
                    <a:cubicBezTo>
                      <a:pt x="10652" y="23578"/>
                      <a:pt x="14345" y="27463"/>
                      <a:pt x="19030" y="27619"/>
                    </a:cubicBezTo>
                    <a:lnTo>
                      <a:pt x="19030" y="27619"/>
                    </a:lnTo>
                    <a:cubicBezTo>
                      <a:pt x="23693" y="27619"/>
                      <a:pt x="27472" y="23838"/>
                      <a:pt x="27472" y="19177"/>
                    </a:cubicBezTo>
                    <a:cubicBezTo>
                      <a:pt x="27472" y="14516"/>
                      <a:pt x="23692" y="10736"/>
                      <a:pt x="19030" y="107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5" name="Freeform: Shape 93">
                <a:extLst>
                  <a:ext uri="{FF2B5EF4-FFF2-40B4-BE49-F238E27FC236}">
                    <a16:creationId xmlns:a16="http://schemas.microsoft.com/office/drawing/2014/main" id="{4DC9C860-6149-2E4A-BF39-F1762DC4C7E6}"/>
                  </a:ext>
                </a:extLst>
              </p:cNvPr>
              <p:cNvSpPr/>
              <p:nvPr/>
            </p:nvSpPr>
            <p:spPr>
              <a:xfrm>
                <a:off x="6016576" y="5758525"/>
                <a:ext cx="28615" cy="28615"/>
              </a:xfrm>
              <a:custGeom>
                <a:avLst/>
                <a:gdLst>
                  <a:gd name="connsiteX0" fmla="*/ 21176 w 28614"/>
                  <a:gd name="connsiteY0" fmla="*/ 10731 h 28614"/>
                  <a:gd name="connsiteX1" fmla="*/ 21176 w 28614"/>
                  <a:gd name="connsiteY1" fmla="*/ 10731 h 28614"/>
                  <a:gd name="connsiteX2" fmla="*/ 10732 w 28614"/>
                  <a:gd name="connsiteY2" fmla="*/ 21032 h 28614"/>
                  <a:gd name="connsiteX3" fmla="*/ 20746 w 28614"/>
                  <a:gd name="connsiteY3" fmla="*/ 31332 h 28614"/>
                  <a:gd name="connsiteX4" fmla="*/ 20890 w 28614"/>
                  <a:gd name="connsiteY4" fmla="*/ 31333 h 28614"/>
                  <a:gd name="connsiteX5" fmla="*/ 20890 w 28614"/>
                  <a:gd name="connsiteY5" fmla="*/ 31333 h 28614"/>
                  <a:gd name="connsiteX6" fmla="*/ 31050 w 28614"/>
                  <a:gd name="connsiteY6" fmla="*/ 21176 h 28614"/>
                  <a:gd name="connsiteX7" fmla="*/ 31048 w 28614"/>
                  <a:gd name="connsiteY7" fmla="*/ 21032 h 28614"/>
                  <a:gd name="connsiteX8" fmla="*/ 21325 w 28614"/>
                  <a:gd name="connsiteY8" fmla="*/ 10734 h 28614"/>
                  <a:gd name="connsiteX9" fmla="*/ 21176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176" y="10731"/>
                    </a:moveTo>
                    <a:lnTo>
                      <a:pt x="21176" y="10731"/>
                    </a:lnTo>
                    <a:cubicBezTo>
                      <a:pt x="15463" y="10731"/>
                      <a:pt x="10810" y="15319"/>
                      <a:pt x="10732" y="21032"/>
                    </a:cubicBezTo>
                    <a:cubicBezTo>
                      <a:pt x="10653" y="26642"/>
                      <a:pt x="15135" y="31253"/>
                      <a:pt x="20746" y="31332"/>
                    </a:cubicBezTo>
                    <a:cubicBezTo>
                      <a:pt x="20794" y="31333"/>
                      <a:pt x="20841" y="31333"/>
                      <a:pt x="20890" y="31333"/>
                    </a:cubicBezTo>
                    <a:lnTo>
                      <a:pt x="20890" y="31333"/>
                    </a:lnTo>
                    <a:cubicBezTo>
                      <a:pt x="26500" y="31333"/>
                      <a:pt x="31048" y="26786"/>
                      <a:pt x="31050" y="21176"/>
                    </a:cubicBezTo>
                    <a:cubicBezTo>
                      <a:pt x="31050" y="21128"/>
                      <a:pt x="31048" y="21081"/>
                      <a:pt x="31048" y="21032"/>
                    </a:cubicBezTo>
                    <a:cubicBezTo>
                      <a:pt x="31207" y="15504"/>
                      <a:pt x="26853" y="10892"/>
                      <a:pt x="21325" y="10734"/>
                    </a:cubicBezTo>
                    <a:cubicBezTo>
                      <a:pt x="21275" y="10732"/>
                      <a:pt x="21226" y="10731"/>
                      <a:pt x="21176"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6" name="Freeform: Shape 94">
                <a:extLst>
                  <a:ext uri="{FF2B5EF4-FFF2-40B4-BE49-F238E27FC236}">
                    <a16:creationId xmlns:a16="http://schemas.microsoft.com/office/drawing/2014/main" id="{E70B78AC-3868-5D46-8652-2E5C820A518F}"/>
                  </a:ext>
                </a:extLst>
              </p:cNvPr>
              <p:cNvSpPr/>
              <p:nvPr/>
            </p:nvSpPr>
            <p:spPr>
              <a:xfrm>
                <a:off x="6095698" y="5510004"/>
                <a:ext cx="28615" cy="28615"/>
              </a:xfrm>
              <a:custGeom>
                <a:avLst/>
                <a:gdLst>
                  <a:gd name="connsiteX0" fmla="*/ 20603 w 28614"/>
                  <a:gd name="connsiteY0" fmla="*/ 30332 h 28614"/>
                  <a:gd name="connsiteX1" fmla="*/ 29759 w 28614"/>
                  <a:gd name="connsiteY1" fmla="*/ 21175 h 28614"/>
                  <a:gd name="connsiteX2" fmla="*/ 29759 w 28614"/>
                  <a:gd name="connsiteY2" fmla="*/ 20030 h 28614"/>
                  <a:gd name="connsiteX3" fmla="*/ 20603 w 28614"/>
                  <a:gd name="connsiteY3" fmla="*/ 10731 h 28614"/>
                  <a:gd name="connsiteX4" fmla="*/ 10731 w 28614"/>
                  <a:gd name="connsiteY4" fmla="*/ 20603 h 28614"/>
                  <a:gd name="connsiteX5" fmla="*/ 20458 w 28614"/>
                  <a:gd name="connsiteY5" fmla="*/ 30333 h 28614"/>
                  <a:gd name="connsiteX6" fmla="*/ 20603 w 28614"/>
                  <a:gd name="connsiteY6"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30332"/>
                    </a:moveTo>
                    <a:cubicBezTo>
                      <a:pt x="25660" y="30332"/>
                      <a:pt x="29759" y="26233"/>
                      <a:pt x="29759" y="21175"/>
                    </a:cubicBezTo>
                    <a:lnTo>
                      <a:pt x="29759" y="20030"/>
                    </a:lnTo>
                    <a:cubicBezTo>
                      <a:pt x="29759" y="14950"/>
                      <a:pt x="25683" y="10809"/>
                      <a:pt x="20603" y="10731"/>
                    </a:cubicBezTo>
                    <a:cubicBezTo>
                      <a:pt x="15150" y="10731"/>
                      <a:pt x="10731" y="15150"/>
                      <a:pt x="10731" y="20603"/>
                    </a:cubicBezTo>
                    <a:cubicBezTo>
                      <a:pt x="10731" y="25977"/>
                      <a:pt x="15086" y="30332"/>
                      <a:pt x="20458" y="30333"/>
                    </a:cubicBezTo>
                    <a:cubicBezTo>
                      <a:pt x="20507" y="30333"/>
                      <a:pt x="20554" y="30332"/>
                      <a:pt x="20603" y="303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7" name="Freeform: Shape 95">
                <a:extLst>
                  <a:ext uri="{FF2B5EF4-FFF2-40B4-BE49-F238E27FC236}">
                    <a16:creationId xmlns:a16="http://schemas.microsoft.com/office/drawing/2014/main" id="{258D54DD-CB36-EA48-850D-51F518D08294}"/>
                  </a:ext>
                </a:extLst>
              </p:cNvPr>
              <p:cNvSpPr/>
              <p:nvPr/>
            </p:nvSpPr>
            <p:spPr>
              <a:xfrm>
                <a:off x="6176342" y="5513057"/>
                <a:ext cx="28615" cy="28615"/>
              </a:xfrm>
              <a:custGeom>
                <a:avLst/>
                <a:gdLst>
                  <a:gd name="connsiteX0" fmla="*/ 18077 w 28614"/>
                  <a:gd name="connsiteY0" fmla="*/ 27565 h 28614"/>
                  <a:gd name="connsiteX1" fmla="*/ 27659 w 28614"/>
                  <a:gd name="connsiteY1" fmla="*/ 20444 h 28614"/>
                  <a:gd name="connsiteX2" fmla="*/ 27663 w 28614"/>
                  <a:gd name="connsiteY2" fmla="*/ 20411 h 28614"/>
                  <a:gd name="connsiteX3" fmla="*/ 27663 w 28614"/>
                  <a:gd name="connsiteY3" fmla="*/ 17835 h 28614"/>
                  <a:gd name="connsiteX4" fmla="*/ 18077 w 28614"/>
                  <a:gd name="connsiteY4" fmla="*/ 10825 h 28614"/>
                  <a:gd name="connsiteX5" fmla="*/ 10803 w 28614"/>
                  <a:gd name="connsiteY5" fmla="*/ 20291 h 28614"/>
                  <a:gd name="connsiteX6" fmla="*/ 18077 w 28614"/>
                  <a:gd name="connsiteY6" fmla="*/ 2756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77" y="27565"/>
                    </a:moveTo>
                    <a:cubicBezTo>
                      <a:pt x="22690" y="28244"/>
                      <a:pt x="26979" y="25055"/>
                      <a:pt x="27659" y="20444"/>
                    </a:cubicBezTo>
                    <a:cubicBezTo>
                      <a:pt x="27660" y="20432"/>
                      <a:pt x="27661" y="20422"/>
                      <a:pt x="27663" y="20411"/>
                    </a:cubicBezTo>
                    <a:cubicBezTo>
                      <a:pt x="27807" y="19558"/>
                      <a:pt x="27807" y="18688"/>
                      <a:pt x="27663" y="17835"/>
                    </a:cubicBezTo>
                    <a:cubicBezTo>
                      <a:pt x="26929" y="13266"/>
                      <a:pt x="22654" y="10140"/>
                      <a:pt x="18077" y="10825"/>
                    </a:cubicBezTo>
                    <a:cubicBezTo>
                      <a:pt x="13454" y="11430"/>
                      <a:pt x="10198" y="15669"/>
                      <a:pt x="10803" y="20291"/>
                    </a:cubicBezTo>
                    <a:cubicBezTo>
                      <a:pt x="11301" y="24084"/>
                      <a:pt x="14285" y="27068"/>
                      <a:pt x="18077" y="2756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8" name="Freeform: Shape 96">
                <a:extLst>
                  <a:ext uri="{FF2B5EF4-FFF2-40B4-BE49-F238E27FC236}">
                    <a16:creationId xmlns:a16="http://schemas.microsoft.com/office/drawing/2014/main" id="{3F939290-5F76-004D-9C70-C5D4CFB5434D}"/>
                  </a:ext>
                </a:extLst>
              </p:cNvPr>
              <p:cNvSpPr/>
              <p:nvPr/>
            </p:nvSpPr>
            <p:spPr>
              <a:xfrm>
                <a:off x="6015718" y="5509144"/>
                <a:ext cx="28615" cy="28615"/>
              </a:xfrm>
              <a:custGeom>
                <a:avLst/>
                <a:gdLst>
                  <a:gd name="connsiteX0" fmla="*/ 21033 w 28614"/>
                  <a:gd name="connsiteY0" fmla="*/ 31191 h 28614"/>
                  <a:gd name="connsiteX1" fmla="*/ 31333 w 28614"/>
                  <a:gd name="connsiteY1" fmla="*/ 21178 h 28614"/>
                  <a:gd name="connsiteX2" fmla="*/ 31334 w 28614"/>
                  <a:gd name="connsiteY2" fmla="*/ 21033 h 28614"/>
                  <a:gd name="connsiteX3" fmla="*/ 31334 w 28614"/>
                  <a:gd name="connsiteY3" fmla="*/ 21033 h 28614"/>
                  <a:gd name="connsiteX4" fmla="*/ 21033 w 28614"/>
                  <a:gd name="connsiteY4" fmla="*/ 10732 h 28614"/>
                  <a:gd name="connsiteX5" fmla="*/ 10732 w 28614"/>
                  <a:gd name="connsiteY5" fmla="*/ 20745 h 28614"/>
                  <a:gd name="connsiteX6" fmla="*/ 10732 w 28614"/>
                  <a:gd name="connsiteY6" fmla="*/ 20747 h 28614"/>
                  <a:gd name="connsiteX7" fmla="*/ 10732 w 28614"/>
                  <a:gd name="connsiteY7" fmla="*/ 20747 h 28614"/>
                  <a:gd name="connsiteX8" fmla="*/ 20888 w 28614"/>
                  <a:gd name="connsiteY8" fmla="*/ 31190 h 28614"/>
                  <a:gd name="connsiteX9" fmla="*/ 21033 w 28614"/>
                  <a:gd name="connsiteY9"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3" y="31191"/>
                    </a:moveTo>
                    <a:cubicBezTo>
                      <a:pt x="26643" y="31270"/>
                      <a:pt x="31254" y="26788"/>
                      <a:pt x="31333" y="21178"/>
                    </a:cubicBezTo>
                    <a:cubicBezTo>
                      <a:pt x="31334" y="21129"/>
                      <a:pt x="31334" y="21082"/>
                      <a:pt x="31334" y="21033"/>
                    </a:cubicBezTo>
                    <a:lnTo>
                      <a:pt x="31334" y="21033"/>
                    </a:lnTo>
                    <a:cubicBezTo>
                      <a:pt x="31334" y="15344"/>
                      <a:pt x="26722" y="10732"/>
                      <a:pt x="21033" y="10732"/>
                    </a:cubicBezTo>
                    <a:cubicBezTo>
                      <a:pt x="15423" y="10652"/>
                      <a:pt x="10812" y="15136"/>
                      <a:pt x="10732" y="20745"/>
                    </a:cubicBezTo>
                    <a:cubicBezTo>
                      <a:pt x="10732" y="20745"/>
                      <a:pt x="10732" y="20747"/>
                      <a:pt x="10732" y="20747"/>
                    </a:cubicBezTo>
                    <a:lnTo>
                      <a:pt x="10732" y="20747"/>
                    </a:lnTo>
                    <a:cubicBezTo>
                      <a:pt x="10653" y="26436"/>
                      <a:pt x="15200" y="31111"/>
                      <a:pt x="20888" y="31190"/>
                    </a:cubicBezTo>
                    <a:cubicBezTo>
                      <a:pt x="20937" y="31191"/>
                      <a:pt x="20984" y="31191"/>
                      <a:pt x="21033" y="311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19" name="Freeform: Shape 97">
                <a:extLst>
                  <a:ext uri="{FF2B5EF4-FFF2-40B4-BE49-F238E27FC236}">
                    <a16:creationId xmlns:a16="http://schemas.microsoft.com/office/drawing/2014/main" id="{34CB6AC4-B70F-4E4A-8A48-F44389D63550}"/>
                  </a:ext>
                </a:extLst>
              </p:cNvPr>
              <p:cNvSpPr/>
              <p:nvPr/>
            </p:nvSpPr>
            <p:spPr>
              <a:xfrm>
                <a:off x="6097271" y="570873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0" name="Freeform: Shape 98">
                <a:extLst>
                  <a:ext uri="{FF2B5EF4-FFF2-40B4-BE49-F238E27FC236}">
                    <a16:creationId xmlns:a16="http://schemas.microsoft.com/office/drawing/2014/main" id="{3E5915A1-7065-5443-92FF-62B31A5B226E}"/>
                  </a:ext>
                </a:extLst>
              </p:cNvPr>
              <p:cNvSpPr/>
              <p:nvPr/>
            </p:nvSpPr>
            <p:spPr>
              <a:xfrm>
                <a:off x="6097271" y="5659946"/>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1" name="Freeform: Shape 99">
                <a:extLst>
                  <a:ext uri="{FF2B5EF4-FFF2-40B4-BE49-F238E27FC236}">
                    <a16:creationId xmlns:a16="http://schemas.microsoft.com/office/drawing/2014/main" id="{64CE36B5-C98D-874E-A1FD-4031FCFAE5CC}"/>
                  </a:ext>
                </a:extLst>
              </p:cNvPr>
              <p:cNvSpPr/>
              <p:nvPr/>
            </p:nvSpPr>
            <p:spPr>
              <a:xfrm>
                <a:off x="5614924" y="5506713"/>
                <a:ext cx="42922" cy="42922"/>
              </a:xfrm>
              <a:custGeom>
                <a:avLst/>
                <a:gdLst>
                  <a:gd name="connsiteX0" fmla="*/ 23506 w 42922"/>
                  <a:gd name="connsiteY0" fmla="*/ 39346 h 42922"/>
                  <a:gd name="connsiteX1" fmla="*/ 38958 w 42922"/>
                  <a:gd name="connsiteY1" fmla="*/ 26183 h 42922"/>
                  <a:gd name="connsiteX2" fmla="*/ 25795 w 42922"/>
                  <a:gd name="connsiteY2" fmla="*/ 10731 h 42922"/>
                  <a:gd name="connsiteX3" fmla="*/ 25795 w 42922"/>
                  <a:gd name="connsiteY3" fmla="*/ 10731 h 42922"/>
                  <a:gd name="connsiteX4" fmla="*/ 11488 w 42922"/>
                  <a:gd name="connsiteY4" fmla="*/ 25038 h 42922"/>
                  <a:gd name="connsiteX5" fmla="*/ 10772 w 42922"/>
                  <a:gd name="connsiteY5" fmla="*/ 24037 h 42922"/>
                  <a:gd name="connsiteX6" fmla="*/ 23506 w 42922"/>
                  <a:gd name="connsiteY6"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506" y="39346"/>
                    </a:moveTo>
                    <a:cubicBezTo>
                      <a:pt x="31408" y="39978"/>
                      <a:pt x="38326" y="34085"/>
                      <a:pt x="38958" y="26183"/>
                    </a:cubicBezTo>
                    <a:cubicBezTo>
                      <a:pt x="39590" y="18281"/>
                      <a:pt x="33697" y="11363"/>
                      <a:pt x="25795" y="10731"/>
                    </a:cubicBezTo>
                    <a:lnTo>
                      <a:pt x="25795" y="10731"/>
                    </a:lnTo>
                    <a:cubicBezTo>
                      <a:pt x="17893" y="10731"/>
                      <a:pt x="11488" y="17136"/>
                      <a:pt x="11488" y="25038"/>
                    </a:cubicBezTo>
                    <a:lnTo>
                      <a:pt x="10772" y="24037"/>
                    </a:lnTo>
                    <a:cubicBezTo>
                      <a:pt x="10187" y="31741"/>
                      <a:pt x="15824" y="38517"/>
                      <a:pt x="23506"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2" name="Freeform: Shape 100">
                <a:extLst>
                  <a:ext uri="{FF2B5EF4-FFF2-40B4-BE49-F238E27FC236}">
                    <a16:creationId xmlns:a16="http://schemas.microsoft.com/office/drawing/2014/main" id="{6BE8148F-7D3F-1142-9DB3-E63FDE529EC2}"/>
                  </a:ext>
                </a:extLst>
              </p:cNvPr>
              <p:cNvSpPr/>
              <p:nvPr/>
            </p:nvSpPr>
            <p:spPr>
              <a:xfrm>
                <a:off x="6097271" y="5559651"/>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2 w 28614"/>
                  <a:gd name="connsiteY3" fmla="*/ 20318 h 28614"/>
                  <a:gd name="connsiteX4" fmla="*/ 29473 w 28614"/>
                  <a:gd name="connsiteY4" fmla="*/ 20174 h 28614"/>
                  <a:gd name="connsiteX5" fmla="*/ 20174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1"/>
                    </a:moveTo>
                    <a:cubicBezTo>
                      <a:pt x="15021" y="10879"/>
                      <a:pt x="10880" y="15021"/>
                      <a:pt x="10731" y="20174"/>
                    </a:cubicBezTo>
                    <a:cubicBezTo>
                      <a:pt x="10885" y="25277"/>
                      <a:pt x="15069" y="29333"/>
                      <a:pt x="20174" y="29330"/>
                    </a:cubicBezTo>
                    <a:cubicBezTo>
                      <a:pt x="25230" y="29409"/>
                      <a:pt x="29393" y="25374"/>
                      <a:pt x="29472" y="20318"/>
                    </a:cubicBezTo>
                    <a:cubicBezTo>
                      <a:pt x="29473" y="20269"/>
                      <a:pt x="29473" y="20222"/>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3" name="Freeform: Shape 101">
                <a:extLst>
                  <a:ext uri="{FF2B5EF4-FFF2-40B4-BE49-F238E27FC236}">
                    <a16:creationId xmlns:a16="http://schemas.microsoft.com/office/drawing/2014/main" id="{3E88472C-18E7-A144-968C-9B0448B5543F}"/>
                  </a:ext>
                </a:extLst>
              </p:cNvPr>
              <p:cNvSpPr/>
              <p:nvPr/>
            </p:nvSpPr>
            <p:spPr>
              <a:xfrm>
                <a:off x="6013459" y="5708478"/>
                <a:ext cx="42922" cy="28615"/>
              </a:xfrm>
              <a:custGeom>
                <a:avLst/>
                <a:gdLst>
                  <a:gd name="connsiteX0" fmla="*/ 18141 w 42922"/>
                  <a:gd name="connsiteY0" fmla="*/ 30731 h 28614"/>
                  <a:gd name="connsiteX1" fmla="*/ 23721 w 42922"/>
                  <a:gd name="connsiteY1" fmla="*/ 30731 h 28614"/>
                  <a:gd name="connsiteX2" fmla="*/ 33879 w 42922"/>
                  <a:gd name="connsiteY2" fmla="*/ 20859 h 28614"/>
                  <a:gd name="connsiteX3" fmla="*/ 23721 w 42922"/>
                  <a:gd name="connsiteY3" fmla="*/ 11130 h 28614"/>
                  <a:gd name="connsiteX4" fmla="*/ 11147 w 42922"/>
                  <a:gd name="connsiteY4" fmla="*/ 18079 h 28614"/>
                  <a:gd name="connsiteX5" fmla="*/ 11130 w 42922"/>
                  <a:gd name="connsiteY5" fmla="*/ 18141 h 28614"/>
                  <a:gd name="connsiteX6" fmla="*/ 18079 w 42922"/>
                  <a:gd name="connsiteY6" fmla="*/ 30714 h 28614"/>
                  <a:gd name="connsiteX7" fmla="*/ 18141 w 42922"/>
                  <a:gd name="connsiteY7" fmla="*/ 3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28614">
                    <a:moveTo>
                      <a:pt x="18141" y="30731"/>
                    </a:moveTo>
                    <a:cubicBezTo>
                      <a:pt x="19976" y="31159"/>
                      <a:pt x="21885" y="31159"/>
                      <a:pt x="23721" y="30731"/>
                    </a:cubicBezTo>
                    <a:cubicBezTo>
                      <a:pt x="29190" y="30660"/>
                      <a:pt x="33651" y="26325"/>
                      <a:pt x="33879" y="20859"/>
                    </a:cubicBezTo>
                    <a:cubicBezTo>
                      <a:pt x="33649" y="15417"/>
                      <a:pt x="29167" y="11126"/>
                      <a:pt x="23721" y="11130"/>
                    </a:cubicBezTo>
                    <a:cubicBezTo>
                      <a:pt x="18329" y="9578"/>
                      <a:pt x="12701" y="12688"/>
                      <a:pt x="11147" y="18079"/>
                    </a:cubicBezTo>
                    <a:cubicBezTo>
                      <a:pt x="11141" y="18101"/>
                      <a:pt x="11136" y="18121"/>
                      <a:pt x="11130" y="18141"/>
                    </a:cubicBezTo>
                    <a:cubicBezTo>
                      <a:pt x="9578" y="23532"/>
                      <a:pt x="12688" y="29162"/>
                      <a:pt x="18079" y="30714"/>
                    </a:cubicBezTo>
                    <a:cubicBezTo>
                      <a:pt x="18101" y="30720"/>
                      <a:pt x="18121" y="30726"/>
                      <a:pt x="18141" y="3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4" name="Freeform: Shape 102">
                <a:extLst>
                  <a:ext uri="{FF2B5EF4-FFF2-40B4-BE49-F238E27FC236}">
                    <a16:creationId xmlns:a16="http://schemas.microsoft.com/office/drawing/2014/main" id="{292B37B7-66EA-9846-B90E-E69DE3BACB13}"/>
                  </a:ext>
                </a:extLst>
              </p:cNvPr>
              <p:cNvSpPr/>
              <p:nvPr/>
            </p:nvSpPr>
            <p:spPr>
              <a:xfrm>
                <a:off x="5935740" y="5558359"/>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3336 w 42922"/>
                  <a:gd name="connsiteY5" fmla="*/ 22180 h 42922"/>
                  <a:gd name="connsiteX6" fmla="*/ 22467 w 42922"/>
                  <a:gd name="connsiteY6" fmla="*/ 10737 h 42922"/>
                  <a:gd name="connsiteX7" fmla="*/ 22320 w 42922"/>
                  <a:gd name="connsiteY7"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276" y="33483"/>
                      <a:pt x="33336" y="28423"/>
                      <a:pt x="33336" y="22180"/>
                    </a:cubicBezTo>
                    <a:cubicBezTo>
                      <a:pt x="33495" y="16020"/>
                      <a:pt x="28629" y="10896"/>
                      <a:pt x="22467" y="10737"/>
                    </a:cubicBezTo>
                    <a:cubicBezTo>
                      <a:pt x="22418" y="10736"/>
                      <a:pt x="22368" y="10734"/>
                      <a:pt x="22320"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5" name="Freeform: Shape 103">
                <a:extLst>
                  <a:ext uri="{FF2B5EF4-FFF2-40B4-BE49-F238E27FC236}">
                    <a16:creationId xmlns:a16="http://schemas.microsoft.com/office/drawing/2014/main" id="{6BA76EB0-F671-6741-941B-D2C3F6AA8878}"/>
                  </a:ext>
                </a:extLst>
              </p:cNvPr>
              <p:cNvSpPr/>
              <p:nvPr/>
            </p:nvSpPr>
            <p:spPr>
              <a:xfrm>
                <a:off x="6096842" y="5759383"/>
                <a:ext cx="28615" cy="28615"/>
              </a:xfrm>
              <a:custGeom>
                <a:avLst/>
                <a:gdLst>
                  <a:gd name="connsiteX0" fmla="*/ 20603 w 28614"/>
                  <a:gd name="connsiteY0" fmla="*/ 10731 h 28614"/>
                  <a:gd name="connsiteX1" fmla="*/ 20603 w 28614"/>
                  <a:gd name="connsiteY1" fmla="*/ 10731 h 28614"/>
                  <a:gd name="connsiteX2" fmla="*/ 10731 w 28614"/>
                  <a:gd name="connsiteY2" fmla="*/ 20603 h 28614"/>
                  <a:gd name="connsiteX3" fmla="*/ 20603 w 28614"/>
                  <a:gd name="connsiteY3" fmla="*/ 30475 h 28614"/>
                  <a:gd name="connsiteX4" fmla="*/ 29903 w 28614"/>
                  <a:gd name="connsiteY4" fmla="*/ 21175 h 28614"/>
                  <a:gd name="connsiteX5" fmla="*/ 29903 w 28614"/>
                  <a:gd name="connsiteY5" fmla="*/ 20174 h 28614"/>
                  <a:gd name="connsiteX6" fmla="*/ 20603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603" y="10731"/>
                    </a:moveTo>
                    <a:lnTo>
                      <a:pt x="20603" y="10731"/>
                    </a:lnTo>
                    <a:cubicBezTo>
                      <a:pt x="15150" y="10731"/>
                      <a:pt x="10731" y="15150"/>
                      <a:pt x="10731" y="20603"/>
                    </a:cubicBezTo>
                    <a:cubicBezTo>
                      <a:pt x="10731" y="26055"/>
                      <a:pt x="15150" y="30475"/>
                      <a:pt x="20603" y="30475"/>
                    </a:cubicBezTo>
                    <a:cubicBezTo>
                      <a:pt x="25739" y="30475"/>
                      <a:pt x="29903" y="26311"/>
                      <a:pt x="29903" y="21175"/>
                    </a:cubicBezTo>
                    <a:lnTo>
                      <a:pt x="29903" y="20174"/>
                    </a:lnTo>
                    <a:cubicBezTo>
                      <a:pt x="29903" y="15014"/>
                      <a:pt x="25762" y="10809"/>
                      <a:pt x="2060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6" name="Freeform: Shape 104">
                <a:extLst>
                  <a:ext uri="{FF2B5EF4-FFF2-40B4-BE49-F238E27FC236}">
                    <a16:creationId xmlns:a16="http://schemas.microsoft.com/office/drawing/2014/main" id="{29286D87-D6C7-9241-A31A-B4AAEC7A72D5}"/>
                  </a:ext>
                </a:extLst>
              </p:cNvPr>
              <p:cNvSpPr/>
              <p:nvPr/>
            </p:nvSpPr>
            <p:spPr>
              <a:xfrm>
                <a:off x="6037037" y="556909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7" name="Freeform: Shape 105">
                <a:extLst>
                  <a:ext uri="{FF2B5EF4-FFF2-40B4-BE49-F238E27FC236}">
                    <a16:creationId xmlns:a16="http://schemas.microsoft.com/office/drawing/2014/main" id="{8220A6C9-C1CF-3845-9BE0-4DDF8C97882E}"/>
                  </a:ext>
                </a:extLst>
              </p:cNvPr>
              <p:cNvSpPr/>
              <p:nvPr/>
            </p:nvSpPr>
            <p:spPr>
              <a:xfrm>
                <a:off x="6013467" y="5559974"/>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8" name="Freeform: Shape 106">
                <a:extLst>
                  <a:ext uri="{FF2B5EF4-FFF2-40B4-BE49-F238E27FC236}">
                    <a16:creationId xmlns:a16="http://schemas.microsoft.com/office/drawing/2014/main" id="{9144AEDF-CA23-F844-992B-F9C4A44AE5D3}"/>
                  </a:ext>
                </a:extLst>
              </p:cNvPr>
              <p:cNvSpPr/>
              <p:nvPr/>
            </p:nvSpPr>
            <p:spPr>
              <a:xfrm>
                <a:off x="6037037" y="5718178"/>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29" name="Freeform: Shape 107">
                <a:extLst>
                  <a:ext uri="{FF2B5EF4-FFF2-40B4-BE49-F238E27FC236}">
                    <a16:creationId xmlns:a16="http://schemas.microsoft.com/office/drawing/2014/main" id="{51FB8901-315C-CC45-82EA-C82F859E114E}"/>
                  </a:ext>
                </a:extLst>
              </p:cNvPr>
              <p:cNvSpPr/>
              <p:nvPr/>
            </p:nvSpPr>
            <p:spPr>
              <a:xfrm>
                <a:off x="6257370" y="5710738"/>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0" name="Freeform: Shape 108">
                <a:extLst>
                  <a:ext uri="{FF2B5EF4-FFF2-40B4-BE49-F238E27FC236}">
                    <a16:creationId xmlns:a16="http://schemas.microsoft.com/office/drawing/2014/main" id="{31EA5509-DA2B-BC4C-B065-C1BBBE766B3C}"/>
                  </a:ext>
                </a:extLst>
              </p:cNvPr>
              <p:cNvSpPr/>
              <p:nvPr/>
            </p:nvSpPr>
            <p:spPr>
              <a:xfrm>
                <a:off x="6097271" y="5610299"/>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08" y="25071"/>
                      <a:pt x="14990" y="29253"/>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1" name="Freeform: Shape 109">
                <a:extLst>
                  <a:ext uri="{FF2B5EF4-FFF2-40B4-BE49-F238E27FC236}">
                    <a16:creationId xmlns:a16="http://schemas.microsoft.com/office/drawing/2014/main" id="{25AAA371-E7F7-8C40-A985-84556DD70429}"/>
                  </a:ext>
                </a:extLst>
              </p:cNvPr>
              <p:cNvSpPr/>
              <p:nvPr/>
            </p:nvSpPr>
            <p:spPr>
              <a:xfrm>
                <a:off x="6257658" y="5762388"/>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2" name="Freeform: Shape 110">
                <a:extLst>
                  <a:ext uri="{FF2B5EF4-FFF2-40B4-BE49-F238E27FC236}">
                    <a16:creationId xmlns:a16="http://schemas.microsoft.com/office/drawing/2014/main" id="{A0F93EC8-0D43-2E40-B957-B657018857B1}"/>
                  </a:ext>
                </a:extLst>
              </p:cNvPr>
              <p:cNvSpPr/>
              <p:nvPr/>
            </p:nvSpPr>
            <p:spPr>
              <a:xfrm>
                <a:off x="5935740" y="5657796"/>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3" name="Freeform: Shape 111">
                <a:extLst>
                  <a:ext uri="{FF2B5EF4-FFF2-40B4-BE49-F238E27FC236}">
                    <a16:creationId xmlns:a16="http://schemas.microsoft.com/office/drawing/2014/main" id="{643DB997-87D1-C245-918B-50EFEB1EB938}"/>
                  </a:ext>
                </a:extLst>
              </p:cNvPr>
              <p:cNvSpPr/>
              <p:nvPr/>
            </p:nvSpPr>
            <p:spPr>
              <a:xfrm>
                <a:off x="5934604" y="5757164"/>
                <a:ext cx="42922" cy="42922"/>
              </a:xfrm>
              <a:custGeom>
                <a:avLst/>
                <a:gdLst>
                  <a:gd name="connsiteX0" fmla="*/ 23455 w 42922"/>
                  <a:gd name="connsiteY0" fmla="*/ 10803 h 42922"/>
                  <a:gd name="connsiteX1" fmla="*/ 10803 w 42922"/>
                  <a:gd name="connsiteY1" fmla="*/ 20900 h 42922"/>
                  <a:gd name="connsiteX2" fmla="*/ 20900 w 42922"/>
                  <a:gd name="connsiteY2" fmla="*/ 33552 h 42922"/>
                  <a:gd name="connsiteX3" fmla="*/ 23455 w 42922"/>
                  <a:gd name="connsiteY3" fmla="*/ 33552 h 42922"/>
                  <a:gd name="connsiteX4" fmla="*/ 23455 w 42922"/>
                  <a:gd name="connsiteY4" fmla="*/ 33552 h 42922"/>
                  <a:gd name="connsiteX5" fmla="*/ 34757 w 42922"/>
                  <a:gd name="connsiteY5" fmla="*/ 22537 h 42922"/>
                  <a:gd name="connsiteX6" fmla="*/ 34758 w 42922"/>
                  <a:gd name="connsiteY6" fmla="*/ 22392 h 42922"/>
                  <a:gd name="connsiteX7" fmla="*/ 23744 w 42922"/>
                  <a:gd name="connsiteY7" fmla="*/ 10807 h 42922"/>
                  <a:gd name="connsiteX8" fmla="*/ 23455 w 42922"/>
                  <a:gd name="connsiteY8" fmla="*/ 1080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22" h="42922">
                    <a:moveTo>
                      <a:pt x="23455" y="10803"/>
                    </a:moveTo>
                    <a:cubicBezTo>
                      <a:pt x="17173" y="10098"/>
                      <a:pt x="11509" y="14618"/>
                      <a:pt x="10803" y="20900"/>
                    </a:cubicBezTo>
                    <a:cubicBezTo>
                      <a:pt x="10098" y="27182"/>
                      <a:pt x="14618" y="32847"/>
                      <a:pt x="20900" y="33552"/>
                    </a:cubicBezTo>
                    <a:cubicBezTo>
                      <a:pt x="21748" y="33648"/>
                      <a:pt x="22607" y="33648"/>
                      <a:pt x="23455" y="33552"/>
                    </a:cubicBezTo>
                    <a:lnTo>
                      <a:pt x="23455" y="33552"/>
                    </a:lnTo>
                    <a:cubicBezTo>
                      <a:pt x="29618" y="33631"/>
                      <a:pt x="34678" y="28699"/>
                      <a:pt x="34757" y="22537"/>
                    </a:cubicBezTo>
                    <a:cubicBezTo>
                      <a:pt x="34758" y="22488"/>
                      <a:pt x="34758" y="22441"/>
                      <a:pt x="34758" y="22392"/>
                    </a:cubicBezTo>
                    <a:cubicBezTo>
                      <a:pt x="34916" y="16151"/>
                      <a:pt x="29985" y="10965"/>
                      <a:pt x="23744" y="10807"/>
                    </a:cubicBezTo>
                    <a:cubicBezTo>
                      <a:pt x="23648" y="10805"/>
                      <a:pt x="23551" y="10803"/>
                      <a:pt x="23455" y="108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4" name="Freeform: Shape 112">
                <a:extLst>
                  <a:ext uri="{FF2B5EF4-FFF2-40B4-BE49-F238E27FC236}">
                    <a16:creationId xmlns:a16="http://schemas.microsoft.com/office/drawing/2014/main" id="{6A973CDD-3195-E34E-8163-38D3EAC53E0B}"/>
                  </a:ext>
                </a:extLst>
              </p:cNvPr>
              <p:cNvSpPr/>
              <p:nvPr/>
            </p:nvSpPr>
            <p:spPr>
              <a:xfrm>
                <a:off x="5935928" y="5609630"/>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510" y="11541"/>
                      <a:pt x="11543" y="15509"/>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5" name="Freeform: Shape 113">
                <a:extLst>
                  <a:ext uri="{FF2B5EF4-FFF2-40B4-BE49-F238E27FC236}">
                    <a16:creationId xmlns:a16="http://schemas.microsoft.com/office/drawing/2014/main" id="{205DD81C-8F77-5148-80AB-C9F97EBFD1EE}"/>
                  </a:ext>
                </a:extLst>
              </p:cNvPr>
              <p:cNvSpPr/>
              <p:nvPr/>
            </p:nvSpPr>
            <p:spPr>
              <a:xfrm>
                <a:off x="5936026" y="5708632"/>
                <a:ext cx="42922" cy="28615"/>
              </a:xfrm>
              <a:custGeom>
                <a:avLst/>
                <a:gdLst>
                  <a:gd name="connsiteX0" fmla="*/ 20460 w 42922"/>
                  <a:gd name="connsiteY0" fmla="*/ 10833 h 28614"/>
                  <a:gd name="connsiteX1" fmla="*/ 10731 w 42922"/>
                  <a:gd name="connsiteY1" fmla="*/ 20705 h 28614"/>
                  <a:gd name="connsiteX2" fmla="*/ 23407 w 42922"/>
                  <a:gd name="connsiteY2" fmla="*/ 30441 h 28614"/>
                  <a:gd name="connsiteX3" fmla="*/ 23464 w 42922"/>
                  <a:gd name="connsiteY3" fmla="*/ 30434 h 28614"/>
                  <a:gd name="connsiteX4" fmla="*/ 33193 w 42922"/>
                  <a:gd name="connsiteY4" fmla="*/ 20705 h 28614"/>
                  <a:gd name="connsiteX5" fmla="*/ 20640 w 42922"/>
                  <a:gd name="connsiteY5" fmla="*/ 10810 h 28614"/>
                  <a:gd name="connsiteX6" fmla="*/ 20460 w 42922"/>
                  <a:gd name="connsiteY6" fmla="*/ 108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0460" y="10833"/>
                    </a:moveTo>
                    <a:cubicBezTo>
                      <a:pt x="15366" y="11563"/>
                      <a:pt x="11386" y="15602"/>
                      <a:pt x="10731" y="20705"/>
                    </a:cubicBezTo>
                    <a:cubicBezTo>
                      <a:pt x="11543" y="26895"/>
                      <a:pt x="17219" y="31254"/>
                      <a:pt x="23407" y="30441"/>
                    </a:cubicBezTo>
                    <a:cubicBezTo>
                      <a:pt x="23427" y="30440"/>
                      <a:pt x="23446" y="30437"/>
                      <a:pt x="23464" y="30434"/>
                    </a:cubicBezTo>
                    <a:cubicBezTo>
                      <a:pt x="28559" y="29813"/>
                      <a:pt x="32572" y="25800"/>
                      <a:pt x="33193" y="20705"/>
                    </a:cubicBezTo>
                    <a:cubicBezTo>
                      <a:pt x="32459" y="14506"/>
                      <a:pt x="26838" y="10076"/>
                      <a:pt x="20640" y="10810"/>
                    </a:cubicBezTo>
                    <a:cubicBezTo>
                      <a:pt x="20580" y="10817"/>
                      <a:pt x="20520" y="10824"/>
                      <a:pt x="20460" y="108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6" name="Freeform: Shape 114">
                <a:extLst>
                  <a:ext uri="{FF2B5EF4-FFF2-40B4-BE49-F238E27FC236}">
                    <a16:creationId xmlns:a16="http://schemas.microsoft.com/office/drawing/2014/main" id="{29017297-3AA7-9948-9E34-D527DA651835}"/>
                  </a:ext>
                </a:extLst>
              </p:cNvPr>
              <p:cNvSpPr/>
              <p:nvPr/>
            </p:nvSpPr>
            <p:spPr>
              <a:xfrm>
                <a:off x="6257658" y="5661949"/>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7" name="Freeform: Shape 115">
                <a:extLst>
                  <a:ext uri="{FF2B5EF4-FFF2-40B4-BE49-F238E27FC236}">
                    <a16:creationId xmlns:a16="http://schemas.microsoft.com/office/drawing/2014/main" id="{FEE80753-E654-1E47-AFC2-7A791045598D}"/>
                  </a:ext>
                </a:extLst>
              </p:cNvPr>
              <p:cNvSpPr/>
              <p:nvPr/>
            </p:nvSpPr>
            <p:spPr>
              <a:xfrm>
                <a:off x="6257658" y="561201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8" name="Freeform: Shape 116">
                <a:extLst>
                  <a:ext uri="{FF2B5EF4-FFF2-40B4-BE49-F238E27FC236}">
                    <a16:creationId xmlns:a16="http://schemas.microsoft.com/office/drawing/2014/main" id="{066793C9-93BE-3149-BAF2-EDEA5A062AAC}"/>
                  </a:ext>
                </a:extLst>
              </p:cNvPr>
              <p:cNvSpPr/>
              <p:nvPr/>
            </p:nvSpPr>
            <p:spPr>
              <a:xfrm>
                <a:off x="5935130" y="5509346"/>
                <a:ext cx="42922" cy="28615"/>
              </a:xfrm>
              <a:custGeom>
                <a:avLst/>
                <a:gdLst>
                  <a:gd name="connsiteX0" fmla="*/ 23645 w 42922"/>
                  <a:gd name="connsiteY0" fmla="*/ 30417 h 28614"/>
                  <a:gd name="connsiteX1" fmla="*/ 33374 w 42922"/>
                  <a:gd name="connsiteY1" fmla="*/ 20688 h 28614"/>
                  <a:gd name="connsiteX2" fmla="*/ 20640 w 42922"/>
                  <a:gd name="connsiteY2" fmla="*/ 10816 h 28614"/>
                  <a:gd name="connsiteX3" fmla="*/ 10731 w 42922"/>
                  <a:gd name="connsiteY3" fmla="*/ 20937 h 28614"/>
                  <a:gd name="connsiteX4" fmla="*/ 20852 w 42922"/>
                  <a:gd name="connsiteY4" fmla="*/ 30845 h 28614"/>
                  <a:gd name="connsiteX5" fmla="*/ 23645 w 42922"/>
                  <a:gd name="connsiteY5" fmla="*/ 3041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7"/>
                    </a:moveTo>
                    <a:cubicBezTo>
                      <a:pt x="28671" y="29659"/>
                      <a:pt x="32616" y="25714"/>
                      <a:pt x="33374" y="20688"/>
                    </a:cubicBezTo>
                    <a:cubicBezTo>
                      <a:pt x="32557" y="14461"/>
                      <a:pt x="26874" y="10056"/>
                      <a:pt x="20640" y="10816"/>
                    </a:cubicBezTo>
                    <a:cubicBezTo>
                      <a:pt x="15109" y="10874"/>
                      <a:pt x="10674" y="15406"/>
                      <a:pt x="10731" y="20937"/>
                    </a:cubicBezTo>
                    <a:cubicBezTo>
                      <a:pt x="10790" y="26467"/>
                      <a:pt x="15321" y="30904"/>
                      <a:pt x="20852" y="30845"/>
                    </a:cubicBezTo>
                    <a:cubicBezTo>
                      <a:pt x="21799" y="30835"/>
                      <a:pt x="22739" y="30690"/>
                      <a:pt x="23645" y="304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39" name="Freeform: Shape 117">
                <a:extLst>
                  <a:ext uri="{FF2B5EF4-FFF2-40B4-BE49-F238E27FC236}">
                    <a16:creationId xmlns:a16="http://schemas.microsoft.com/office/drawing/2014/main" id="{51863C20-990F-2D47-BCE8-24735184BCCA}"/>
                  </a:ext>
                </a:extLst>
              </p:cNvPr>
              <p:cNvSpPr/>
              <p:nvPr/>
            </p:nvSpPr>
            <p:spPr>
              <a:xfrm>
                <a:off x="5379891" y="5912473"/>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1 h 42922"/>
                  <a:gd name="connsiteX5" fmla="*/ 22462 w 42922"/>
                  <a:gd name="connsiteY5" fmla="*/ 10733 h 42922"/>
                  <a:gd name="connsiteX6" fmla="*/ 22323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11" y="33776"/>
                      <a:pt x="33462" y="28781"/>
                      <a:pt x="33619" y="22461"/>
                    </a:cubicBezTo>
                    <a:cubicBezTo>
                      <a:pt x="33776" y="16142"/>
                      <a:pt x="28782" y="10891"/>
                      <a:pt x="22462" y="10733"/>
                    </a:cubicBezTo>
                    <a:cubicBezTo>
                      <a:pt x="22416" y="10732"/>
                      <a:pt x="22369" y="10731"/>
                      <a:pt x="2232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0" name="Freeform: Shape 118">
                <a:extLst>
                  <a:ext uri="{FF2B5EF4-FFF2-40B4-BE49-F238E27FC236}">
                    <a16:creationId xmlns:a16="http://schemas.microsoft.com/office/drawing/2014/main" id="{8AFBD4F3-9D6E-3F43-944D-4EE73910F09C}"/>
                  </a:ext>
                </a:extLst>
              </p:cNvPr>
              <p:cNvSpPr/>
              <p:nvPr/>
            </p:nvSpPr>
            <p:spPr>
              <a:xfrm>
                <a:off x="5300774" y="5875274"/>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lnTo>
                      <a:pt x="10731" y="10731"/>
                    </a:lnTo>
                    <a:cubicBezTo>
                      <a:pt x="10731" y="10731"/>
                      <a:pt x="10731" y="10731"/>
                      <a:pt x="1073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1" name="Freeform: Shape 119">
                <a:extLst>
                  <a:ext uri="{FF2B5EF4-FFF2-40B4-BE49-F238E27FC236}">
                    <a16:creationId xmlns:a16="http://schemas.microsoft.com/office/drawing/2014/main" id="{A84F109B-BC00-EE46-B8A0-51A0902ECC07}"/>
                  </a:ext>
                </a:extLst>
              </p:cNvPr>
              <p:cNvSpPr/>
              <p:nvPr/>
            </p:nvSpPr>
            <p:spPr>
              <a:xfrm>
                <a:off x="5301632" y="5813604"/>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2" name="Freeform: Shape 120">
                <a:extLst>
                  <a:ext uri="{FF2B5EF4-FFF2-40B4-BE49-F238E27FC236}">
                    <a16:creationId xmlns:a16="http://schemas.microsoft.com/office/drawing/2014/main" id="{E58495BC-46C6-DE4B-9965-0303CA3AA4E5}"/>
                  </a:ext>
                </a:extLst>
              </p:cNvPr>
              <p:cNvSpPr/>
              <p:nvPr/>
            </p:nvSpPr>
            <p:spPr>
              <a:xfrm>
                <a:off x="6177393" y="5965268"/>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3" name="Freeform: Shape 121">
                <a:extLst>
                  <a:ext uri="{FF2B5EF4-FFF2-40B4-BE49-F238E27FC236}">
                    <a16:creationId xmlns:a16="http://schemas.microsoft.com/office/drawing/2014/main" id="{E63532BA-1746-2047-BF0E-41BD2C16482B}"/>
                  </a:ext>
                </a:extLst>
              </p:cNvPr>
              <p:cNvSpPr/>
              <p:nvPr/>
            </p:nvSpPr>
            <p:spPr>
              <a:xfrm>
                <a:off x="5300774" y="6024358"/>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4" name="Freeform: Shape 122">
                <a:extLst>
                  <a:ext uri="{FF2B5EF4-FFF2-40B4-BE49-F238E27FC236}">
                    <a16:creationId xmlns:a16="http://schemas.microsoft.com/office/drawing/2014/main" id="{DE2DC6E2-6FBF-0F41-8EF7-5FCB39110EAD}"/>
                  </a:ext>
                </a:extLst>
              </p:cNvPr>
              <p:cNvSpPr/>
              <p:nvPr/>
            </p:nvSpPr>
            <p:spPr>
              <a:xfrm>
                <a:off x="5300917" y="6013769"/>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8"/>
                      <a:pt x="10885" y="15470"/>
                      <a:pt x="10731" y="20890"/>
                    </a:cubicBezTo>
                    <a:cubicBezTo>
                      <a:pt x="10884" y="26333"/>
                      <a:pt x="15300" y="30688"/>
                      <a:pt x="20746" y="30762"/>
                    </a:cubicBezTo>
                    <a:cubicBezTo>
                      <a:pt x="26158" y="32343"/>
                      <a:pt x="31827" y="29236"/>
                      <a:pt x="33408" y="23823"/>
                    </a:cubicBezTo>
                    <a:cubicBezTo>
                      <a:pt x="34989" y="18411"/>
                      <a:pt x="31881" y="12742"/>
                      <a:pt x="26469" y="1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5" name="Freeform: Shape 123">
                <a:extLst>
                  <a:ext uri="{FF2B5EF4-FFF2-40B4-BE49-F238E27FC236}">
                    <a16:creationId xmlns:a16="http://schemas.microsoft.com/office/drawing/2014/main" id="{03780F50-CEF0-A645-A3CC-557FCB653C18}"/>
                  </a:ext>
                </a:extLst>
              </p:cNvPr>
              <p:cNvSpPr/>
              <p:nvPr/>
            </p:nvSpPr>
            <p:spPr>
              <a:xfrm>
                <a:off x="5379322" y="5864258"/>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6"/>
                      <a:pt x="20460" y="11159"/>
                    </a:cubicBezTo>
                    <a:cubicBezTo>
                      <a:pt x="15342" y="11730"/>
                      <a:pt x="11301" y="15770"/>
                      <a:pt x="10731" y="20888"/>
                    </a:cubicBezTo>
                    <a:cubicBezTo>
                      <a:pt x="11465" y="27088"/>
                      <a:pt x="17086" y="31517"/>
                      <a:pt x="23284" y="30783"/>
                    </a:cubicBezTo>
                    <a:cubicBezTo>
                      <a:pt x="23344" y="30776"/>
                      <a:pt x="23404" y="30769"/>
                      <a:pt x="23464" y="307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6" name="Freeform: Shape 124">
                <a:extLst>
                  <a:ext uri="{FF2B5EF4-FFF2-40B4-BE49-F238E27FC236}">
                    <a16:creationId xmlns:a16="http://schemas.microsoft.com/office/drawing/2014/main" id="{6F4F6017-FDD0-0049-890C-841149CA12D3}"/>
                  </a:ext>
                </a:extLst>
              </p:cNvPr>
              <p:cNvSpPr/>
              <p:nvPr/>
            </p:nvSpPr>
            <p:spPr>
              <a:xfrm>
                <a:off x="5301346" y="6062988"/>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7" name="Freeform: Shape 125">
                <a:extLst>
                  <a:ext uri="{FF2B5EF4-FFF2-40B4-BE49-F238E27FC236}">
                    <a16:creationId xmlns:a16="http://schemas.microsoft.com/office/drawing/2014/main" id="{EC7E89F3-A7CA-0945-9F65-92AC6BB90893}"/>
                  </a:ext>
                </a:extLst>
              </p:cNvPr>
              <p:cNvSpPr/>
              <p:nvPr/>
            </p:nvSpPr>
            <p:spPr>
              <a:xfrm>
                <a:off x="6257370" y="5866117"/>
                <a:ext cx="28615" cy="28615"/>
              </a:xfrm>
              <a:custGeom>
                <a:avLst/>
                <a:gdLst>
                  <a:gd name="connsiteX0" fmla="*/ 18459 w 28614"/>
                  <a:gd name="connsiteY0" fmla="*/ 10731 h 28614"/>
                  <a:gd name="connsiteX1" fmla="*/ 11019 w 28614"/>
                  <a:gd name="connsiteY1" fmla="*/ 18171 h 28614"/>
                  <a:gd name="connsiteX2" fmla="*/ 16129 w 28614"/>
                  <a:gd name="connsiteY2" fmla="*/ 27367 h 28614"/>
                  <a:gd name="connsiteX3" fmla="*/ 25326 w 28614"/>
                  <a:gd name="connsiteY3" fmla="*/ 22258 h 28614"/>
                  <a:gd name="connsiteX4" fmla="*/ 25326 w 28614"/>
                  <a:gd name="connsiteY4" fmla="*/ 18171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1"/>
                    </a:cubicBezTo>
                    <a:cubicBezTo>
                      <a:pt x="9890" y="22121"/>
                      <a:pt x="12178" y="26238"/>
                      <a:pt x="16129" y="27367"/>
                    </a:cubicBezTo>
                    <a:cubicBezTo>
                      <a:pt x="20080" y="28496"/>
                      <a:pt x="24197" y="26208"/>
                      <a:pt x="25326" y="22258"/>
                    </a:cubicBezTo>
                    <a:cubicBezTo>
                      <a:pt x="25708" y="20922"/>
                      <a:pt x="25708" y="19507"/>
                      <a:pt x="25326" y="18171"/>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8" name="Freeform: Shape 126">
                <a:extLst>
                  <a:ext uri="{FF2B5EF4-FFF2-40B4-BE49-F238E27FC236}">
                    <a16:creationId xmlns:a16="http://schemas.microsoft.com/office/drawing/2014/main" id="{68AFDA86-4DCE-E549-B6F1-FADE4508E607}"/>
                  </a:ext>
                </a:extLst>
              </p:cNvPr>
              <p:cNvSpPr/>
              <p:nvPr/>
            </p:nvSpPr>
            <p:spPr>
              <a:xfrm>
                <a:off x="5300917" y="5864650"/>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5"/>
                      <a:pt x="20746" y="30654"/>
                    </a:cubicBezTo>
                    <a:cubicBezTo>
                      <a:pt x="26197" y="32220"/>
                      <a:pt x="31889" y="29087"/>
                      <a:pt x="33480" y="23643"/>
                    </a:cubicBezTo>
                    <a:cubicBezTo>
                      <a:pt x="34876" y="18248"/>
                      <a:pt x="31790" y="12706"/>
                      <a:pt x="26469" y="11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49" name="Freeform: Shape 127">
                <a:extLst>
                  <a:ext uri="{FF2B5EF4-FFF2-40B4-BE49-F238E27FC236}">
                    <a16:creationId xmlns:a16="http://schemas.microsoft.com/office/drawing/2014/main" id="{9A7C885D-74C0-924C-A948-705DA855DF9B}"/>
                  </a:ext>
                </a:extLst>
              </p:cNvPr>
              <p:cNvSpPr/>
              <p:nvPr/>
            </p:nvSpPr>
            <p:spPr>
              <a:xfrm>
                <a:off x="5143712" y="5962987"/>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0" name="Freeform: Shape 128">
                <a:extLst>
                  <a:ext uri="{FF2B5EF4-FFF2-40B4-BE49-F238E27FC236}">
                    <a16:creationId xmlns:a16="http://schemas.microsoft.com/office/drawing/2014/main" id="{20417BB3-84A9-A042-8CD8-7A80D257829B}"/>
                  </a:ext>
                </a:extLst>
              </p:cNvPr>
              <p:cNvSpPr/>
              <p:nvPr/>
            </p:nvSpPr>
            <p:spPr>
              <a:xfrm>
                <a:off x="6177117" y="6015679"/>
                <a:ext cx="28615" cy="28615"/>
              </a:xfrm>
              <a:custGeom>
                <a:avLst/>
                <a:gdLst>
                  <a:gd name="connsiteX0" fmla="*/ 18018 w 28614"/>
                  <a:gd name="connsiteY0" fmla="*/ 10825 h 28614"/>
                  <a:gd name="connsiteX1" fmla="*/ 11007 w 28614"/>
                  <a:gd name="connsiteY1" fmla="*/ 17836 h 28614"/>
                  <a:gd name="connsiteX2" fmla="*/ 17038 w 28614"/>
                  <a:gd name="connsiteY2" fmla="*/ 28138 h 28614"/>
                  <a:gd name="connsiteX3" fmla="*/ 27340 w 28614"/>
                  <a:gd name="connsiteY3" fmla="*/ 22108 h 28614"/>
                  <a:gd name="connsiteX4" fmla="*/ 27604 w 28614"/>
                  <a:gd name="connsiteY4" fmla="*/ 20411 h 28614"/>
                  <a:gd name="connsiteX5" fmla="*/ 27604 w 28614"/>
                  <a:gd name="connsiteY5" fmla="*/ 17836 h 28614"/>
                  <a:gd name="connsiteX6" fmla="*/ 18018 w 28614"/>
                  <a:gd name="connsiteY6"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018" y="10825"/>
                    </a:moveTo>
                    <a:cubicBezTo>
                      <a:pt x="14409" y="11399"/>
                      <a:pt x="11581" y="14227"/>
                      <a:pt x="11007" y="17836"/>
                    </a:cubicBezTo>
                    <a:cubicBezTo>
                      <a:pt x="9828" y="22345"/>
                      <a:pt x="12528" y="26958"/>
                      <a:pt x="17038" y="28138"/>
                    </a:cubicBezTo>
                    <a:cubicBezTo>
                      <a:pt x="21549" y="29317"/>
                      <a:pt x="26162" y="26617"/>
                      <a:pt x="27340" y="22108"/>
                    </a:cubicBezTo>
                    <a:cubicBezTo>
                      <a:pt x="27486" y="21553"/>
                      <a:pt x="27574" y="20983"/>
                      <a:pt x="27604" y="20411"/>
                    </a:cubicBezTo>
                    <a:cubicBezTo>
                      <a:pt x="27748" y="19558"/>
                      <a:pt x="27748" y="18688"/>
                      <a:pt x="27604" y="17836"/>
                    </a:cubicBezTo>
                    <a:cubicBezTo>
                      <a:pt x="26871" y="13266"/>
                      <a:pt x="22595" y="10140"/>
                      <a:pt x="18018"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1" name="Freeform: Shape 129">
                <a:extLst>
                  <a:ext uri="{FF2B5EF4-FFF2-40B4-BE49-F238E27FC236}">
                    <a16:creationId xmlns:a16="http://schemas.microsoft.com/office/drawing/2014/main" id="{08828148-AFC5-3443-8F7F-480CCD2FF54B}"/>
                  </a:ext>
                </a:extLst>
              </p:cNvPr>
              <p:cNvSpPr/>
              <p:nvPr/>
            </p:nvSpPr>
            <p:spPr>
              <a:xfrm>
                <a:off x="5379322" y="5964068"/>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7"/>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3"/>
                      <a:pt x="23446" y="30390"/>
                      <a:pt x="23464" y="303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2" name="Freeform: Shape 130">
                <a:extLst>
                  <a:ext uri="{FF2B5EF4-FFF2-40B4-BE49-F238E27FC236}">
                    <a16:creationId xmlns:a16="http://schemas.microsoft.com/office/drawing/2014/main" id="{A68880E4-1608-0A48-A35D-42F27A57FAFF}"/>
                  </a:ext>
                </a:extLst>
              </p:cNvPr>
              <p:cNvSpPr/>
              <p:nvPr/>
            </p:nvSpPr>
            <p:spPr>
              <a:xfrm>
                <a:off x="5379752" y="5812606"/>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5"/>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3" name="Freeform: Shape 131">
                <a:extLst>
                  <a:ext uri="{FF2B5EF4-FFF2-40B4-BE49-F238E27FC236}">
                    <a16:creationId xmlns:a16="http://schemas.microsoft.com/office/drawing/2014/main" id="{AF94D824-8BCB-8C46-9118-9A1C2E08D486}"/>
                  </a:ext>
                </a:extLst>
              </p:cNvPr>
              <p:cNvSpPr/>
              <p:nvPr/>
            </p:nvSpPr>
            <p:spPr>
              <a:xfrm>
                <a:off x="5143712" y="5864694"/>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7"/>
                      <a:pt x="21405" y="11007"/>
                    </a:cubicBezTo>
                    <a:cubicBezTo>
                      <a:pt x="16894" y="9828"/>
                      <a:pt x="12283" y="12528"/>
                      <a:pt x="11102" y="17038"/>
                    </a:cubicBezTo>
                    <a:cubicBezTo>
                      <a:pt x="10958" y="17593"/>
                      <a:pt x="10869" y="18162"/>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4" name="Freeform: Shape 132">
                <a:extLst>
                  <a:ext uri="{FF2B5EF4-FFF2-40B4-BE49-F238E27FC236}">
                    <a16:creationId xmlns:a16="http://schemas.microsoft.com/office/drawing/2014/main" id="{CD6C6F4A-9B85-4B46-BCA4-A6A24703FFBC}"/>
                  </a:ext>
                </a:extLst>
              </p:cNvPr>
              <p:cNvSpPr/>
              <p:nvPr/>
            </p:nvSpPr>
            <p:spPr>
              <a:xfrm>
                <a:off x="6095681" y="5814037"/>
                <a:ext cx="28615" cy="28615"/>
              </a:xfrm>
              <a:custGeom>
                <a:avLst/>
                <a:gdLst>
                  <a:gd name="connsiteX0" fmla="*/ 20620 w 28614"/>
                  <a:gd name="connsiteY0" fmla="*/ 30905 h 28614"/>
                  <a:gd name="connsiteX1" fmla="*/ 29776 w 28614"/>
                  <a:gd name="connsiteY1" fmla="*/ 21605 h 28614"/>
                  <a:gd name="connsiteX2" fmla="*/ 29776 w 28614"/>
                  <a:gd name="connsiteY2" fmla="*/ 21605 h 28614"/>
                  <a:gd name="connsiteX3" fmla="*/ 29776 w 28614"/>
                  <a:gd name="connsiteY3" fmla="*/ 19888 h 28614"/>
                  <a:gd name="connsiteX4" fmla="*/ 20620 w 28614"/>
                  <a:gd name="connsiteY4" fmla="*/ 10732 h 28614"/>
                  <a:gd name="connsiteX5" fmla="*/ 10749 w 28614"/>
                  <a:gd name="connsiteY5" fmla="*/ 20316 h 28614"/>
                  <a:gd name="connsiteX6" fmla="*/ 10748 w 28614"/>
                  <a:gd name="connsiteY6" fmla="*/ 20461 h 28614"/>
                  <a:gd name="connsiteX7" fmla="*/ 20030 w 28614"/>
                  <a:gd name="connsiteY7" fmla="*/ 30888 h 28614"/>
                  <a:gd name="connsiteX8" fmla="*/ 20620 w 28614"/>
                  <a:gd name="connsiteY8" fmla="*/ 3090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620" y="30905"/>
                    </a:moveTo>
                    <a:cubicBezTo>
                      <a:pt x="25700" y="30827"/>
                      <a:pt x="29776" y="26686"/>
                      <a:pt x="29776" y="21605"/>
                    </a:cubicBezTo>
                    <a:lnTo>
                      <a:pt x="29776" y="21605"/>
                    </a:lnTo>
                    <a:lnTo>
                      <a:pt x="29776" y="19888"/>
                    </a:lnTo>
                    <a:cubicBezTo>
                      <a:pt x="29776" y="14831"/>
                      <a:pt x="25677" y="10732"/>
                      <a:pt x="20620" y="10732"/>
                    </a:cubicBezTo>
                    <a:cubicBezTo>
                      <a:pt x="15247" y="10653"/>
                      <a:pt x="10828" y="14944"/>
                      <a:pt x="10749" y="20316"/>
                    </a:cubicBezTo>
                    <a:cubicBezTo>
                      <a:pt x="10748" y="20365"/>
                      <a:pt x="10748" y="20412"/>
                      <a:pt x="10748" y="20461"/>
                    </a:cubicBezTo>
                    <a:cubicBezTo>
                      <a:pt x="10431" y="25903"/>
                      <a:pt x="14588" y="30572"/>
                      <a:pt x="20030" y="30888"/>
                    </a:cubicBezTo>
                    <a:cubicBezTo>
                      <a:pt x="20226" y="30899"/>
                      <a:pt x="20424" y="30905"/>
                      <a:pt x="20620" y="3090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5" name="Freeform: Shape 133">
                <a:extLst>
                  <a:ext uri="{FF2B5EF4-FFF2-40B4-BE49-F238E27FC236}">
                    <a16:creationId xmlns:a16="http://schemas.microsoft.com/office/drawing/2014/main" id="{00401CF0-DFEF-DA46-A298-9F253696A6F8}"/>
                  </a:ext>
                </a:extLst>
              </p:cNvPr>
              <p:cNvSpPr/>
              <p:nvPr/>
            </p:nvSpPr>
            <p:spPr>
              <a:xfrm>
                <a:off x="6177102" y="6066420"/>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748 h 28614"/>
                  <a:gd name="connsiteX6" fmla="*/ 27189 w 28614"/>
                  <a:gd name="connsiteY6" fmla="*/ 19459 h 28614"/>
                  <a:gd name="connsiteX7" fmla="*/ 19463 w 28614"/>
                  <a:gd name="connsiteY7"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2"/>
                    </a:moveTo>
                    <a:cubicBezTo>
                      <a:pt x="14776" y="10652"/>
                      <a:pt x="10892" y="14345"/>
                      <a:pt x="10736" y="19030"/>
                    </a:cubicBezTo>
                    <a:cubicBezTo>
                      <a:pt x="10578" y="23610"/>
                      <a:pt x="14162" y="27452"/>
                      <a:pt x="18744" y="27610"/>
                    </a:cubicBezTo>
                    <a:cubicBezTo>
                      <a:pt x="18839" y="27613"/>
                      <a:pt x="18937" y="27615"/>
                      <a:pt x="19034" y="27615"/>
                    </a:cubicBezTo>
                    <a:lnTo>
                      <a:pt x="19034" y="27615"/>
                    </a:lnTo>
                    <a:cubicBezTo>
                      <a:pt x="23458" y="27695"/>
                      <a:pt x="27109" y="24172"/>
                      <a:pt x="27189" y="19748"/>
                    </a:cubicBezTo>
                    <a:cubicBezTo>
                      <a:pt x="27191" y="19653"/>
                      <a:pt x="27191" y="19555"/>
                      <a:pt x="27189" y="19459"/>
                    </a:cubicBezTo>
                    <a:cubicBezTo>
                      <a:pt x="27358" y="14954"/>
                      <a:pt x="23956" y="11111"/>
                      <a:pt x="19463"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6" name="Freeform: Shape 134">
                <a:extLst>
                  <a:ext uri="{FF2B5EF4-FFF2-40B4-BE49-F238E27FC236}">
                    <a16:creationId xmlns:a16="http://schemas.microsoft.com/office/drawing/2014/main" id="{E1F4E891-2103-AB49-8730-D1BDA114C2AE}"/>
                  </a:ext>
                </a:extLst>
              </p:cNvPr>
              <p:cNvSpPr/>
              <p:nvPr/>
            </p:nvSpPr>
            <p:spPr>
              <a:xfrm>
                <a:off x="5144285" y="6062751"/>
                <a:ext cx="28615" cy="28615"/>
              </a:xfrm>
              <a:custGeom>
                <a:avLst/>
                <a:gdLst>
                  <a:gd name="connsiteX0" fmla="*/ 10839 w 28614"/>
                  <a:gd name="connsiteY0" fmla="*/ 17836 h 28614"/>
                  <a:gd name="connsiteX1" fmla="*/ 10839 w 28614"/>
                  <a:gd name="connsiteY1" fmla="*/ 20411 h 28614"/>
                  <a:gd name="connsiteX2" fmla="*/ 20425 w 28614"/>
                  <a:gd name="connsiteY2" fmla="*/ 27422 h 28614"/>
                  <a:gd name="connsiteX3" fmla="*/ 27579 w 28614"/>
                  <a:gd name="connsiteY3" fmla="*/ 20411 h 28614"/>
                  <a:gd name="connsiteX4" fmla="*/ 20425 w 28614"/>
                  <a:gd name="connsiteY4" fmla="*/ 10825 h 28614"/>
                  <a:gd name="connsiteX5" fmla="*/ 10839 w 28614"/>
                  <a:gd name="connsiteY5" fmla="*/ 1783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839" y="17836"/>
                    </a:moveTo>
                    <a:cubicBezTo>
                      <a:pt x="10694" y="18688"/>
                      <a:pt x="10694" y="19558"/>
                      <a:pt x="10839" y="20411"/>
                    </a:cubicBezTo>
                    <a:cubicBezTo>
                      <a:pt x="11573" y="24981"/>
                      <a:pt x="15848" y="28107"/>
                      <a:pt x="20425" y="27422"/>
                    </a:cubicBezTo>
                    <a:cubicBezTo>
                      <a:pt x="24088" y="26905"/>
                      <a:pt x="26988" y="24064"/>
                      <a:pt x="27579" y="20411"/>
                    </a:cubicBezTo>
                    <a:cubicBezTo>
                      <a:pt x="28180" y="15807"/>
                      <a:pt x="25009" y="11560"/>
                      <a:pt x="20425" y="10825"/>
                    </a:cubicBezTo>
                    <a:cubicBezTo>
                      <a:pt x="15848" y="10139"/>
                      <a:pt x="11573" y="13266"/>
                      <a:pt x="10839" y="178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7" name="Freeform: Shape 135">
                <a:extLst>
                  <a:ext uri="{FF2B5EF4-FFF2-40B4-BE49-F238E27FC236}">
                    <a16:creationId xmlns:a16="http://schemas.microsoft.com/office/drawing/2014/main" id="{3CC86368-4B94-FA4B-B0C4-6AAC93EDBC8E}"/>
                  </a:ext>
                </a:extLst>
              </p:cNvPr>
              <p:cNvSpPr/>
              <p:nvPr/>
            </p:nvSpPr>
            <p:spPr>
              <a:xfrm>
                <a:off x="5222226" y="6015200"/>
                <a:ext cx="28615" cy="28615"/>
              </a:xfrm>
              <a:custGeom>
                <a:avLst/>
                <a:gdLst>
                  <a:gd name="connsiteX0" fmla="*/ 20030 w 28614"/>
                  <a:gd name="connsiteY0" fmla="*/ 29332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2"/>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8" name="Freeform: Shape 136">
                <a:extLst>
                  <a:ext uri="{FF2B5EF4-FFF2-40B4-BE49-F238E27FC236}">
                    <a16:creationId xmlns:a16="http://schemas.microsoft.com/office/drawing/2014/main" id="{91A93269-E0EA-894F-B3AC-D826F15C5D44}"/>
                  </a:ext>
                </a:extLst>
              </p:cNvPr>
              <p:cNvSpPr/>
              <p:nvPr/>
            </p:nvSpPr>
            <p:spPr>
              <a:xfrm>
                <a:off x="5143535" y="6016059"/>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59" name="Freeform: Shape 137">
                <a:extLst>
                  <a:ext uri="{FF2B5EF4-FFF2-40B4-BE49-F238E27FC236}">
                    <a16:creationId xmlns:a16="http://schemas.microsoft.com/office/drawing/2014/main" id="{6089ACE6-C462-5F4A-BCE3-073831AA8405}"/>
                  </a:ext>
                </a:extLst>
              </p:cNvPr>
              <p:cNvSpPr/>
              <p:nvPr/>
            </p:nvSpPr>
            <p:spPr>
              <a:xfrm>
                <a:off x="6258698" y="5817614"/>
                <a:ext cx="28615" cy="28615"/>
              </a:xfrm>
              <a:custGeom>
                <a:avLst/>
                <a:gdLst>
                  <a:gd name="connsiteX0" fmla="*/ 16129 w 28614"/>
                  <a:gd name="connsiteY0" fmla="*/ 25325 h 28614"/>
                  <a:gd name="connsiteX1" fmla="*/ 25326 w 28614"/>
                  <a:gd name="connsiteY1" fmla="*/ 20214 h 28614"/>
                  <a:gd name="connsiteX2" fmla="*/ 20217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3"/>
                      <a:pt x="24197" y="24166"/>
                      <a:pt x="25326" y="20214"/>
                    </a:cubicBezTo>
                    <a:cubicBezTo>
                      <a:pt x="26455" y="16264"/>
                      <a:pt x="24167" y="12146"/>
                      <a:pt x="20217" y="11017"/>
                    </a:cubicBezTo>
                    <a:cubicBezTo>
                      <a:pt x="18881" y="10635"/>
                      <a:pt x="17466" y="10635"/>
                      <a:pt x="16129" y="11017"/>
                    </a:cubicBezTo>
                    <a:cubicBezTo>
                      <a:pt x="12179" y="12146"/>
                      <a:pt x="9890" y="16264"/>
                      <a:pt x="11019" y="20214"/>
                    </a:cubicBezTo>
                    <a:cubicBezTo>
                      <a:pt x="11725" y="22686"/>
                      <a:pt x="13657" y="24619"/>
                      <a:pt x="16129" y="253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0" name="Freeform: Shape 138">
                <a:extLst>
                  <a:ext uri="{FF2B5EF4-FFF2-40B4-BE49-F238E27FC236}">
                    <a16:creationId xmlns:a16="http://schemas.microsoft.com/office/drawing/2014/main" id="{8DC6328A-731A-824B-A428-66AC480C8AC7}"/>
                  </a:ext>
                </a:extLst>
              </p:cNvPr>
              <p:cNvSpPr/>
              <p:nvPr/>
            </p:nvSpPr>
            <p:spPr>
              <a:xfrm>
                <a:off x="5066131" y="5916193"/>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1" name="Freeform: Shape 139">
                <a:extLst>
                  <a:ext uri="{FF2B5EF4-FFF2-40B4-BE49-F238E27FC236}">
                    <a16:creationId xmlns:a16="http://schemas.microsoft.com/office/drawing/2014/main" id="{FD39BF66-57C8-4E45-8779-51E8F771A133}"/>
                  </a:ext>
                </a:extLst>
              </p:cNvPr>
              <p:cNvSpPr/>
              <p:nvPr/>
            </p:nvSpPr>
            <p:spPr>
              <a:xfrm>
                <a:off x="5066168" y="5966412"/>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2" name="Freeform: Shape 140">
                <a:extLst>
                  <a:ext uri="{FF2B5EF4-FFF2-40B4-BE49-F238E27FC236}">
                    <a16:creationId xmlns:a16="http://schemas.microsoft.com/office/drawing/2014/main" id="{5BA781E9-772C-CC4E-8BA0-C23DBDA186FC}"/>
                  </a:ext>
                </a:extLst>
              </p:cNvPr>
              <p:cNvSpPr/>
              <p:nvPr/>
            </p:nvSpPr>
            <p:spPr>
              <a:xfrm>
                <a:off x="6176443" y="5817663"/>
                <a:ext cx="28615" cy="28615"/>
              </a:xfrm>
              <a:custGeom>
                <a:avLst/>
                <a:gdLst>
                  <a:gd name="connsiteX0" fmla="*/ 17976 w 28614"/>
                  <a:gd name="connsiteY0" fmla="*/ 27421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7 h 28614"/>
                  <a:gd name="connsiteX6" fmla="*/ 17976 w 28614"/>
                  <a:gd name="connsiteY6" fmla="*/ 274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1"/>
                    </a:moveTo>
                    <a:cubicBezTo>
                      <a:pt x="22553" y="28107"/>
                      <a:pt x="26828" y="24981"/>
                      <a:pt x="27562" y="20411"/>
                    </a:cubicBezTo>
                    <a:cubicBezTo>
                      <a:pt x="27706" y="19558"/>
                      <a:pt x="27706" y="18688"/>
                      <a:pt x="27562" y="17836"/>
                    </a:cubicBezTo>
                    <a:cubicBezTo>
                      <a:pt x="26828" y="13266"/>
                      <a:pt x="22553" y="10140"/>
                      <a:pt x="17976" y="10825"/>
                    </a:cubicBezTo>
                    <a:cubicBezTo>
                      <a:pt x="14313" y="11341"/>
                      <a:pt x="11413" y="14183"/>
                      <a:pt x="10822" y="17836"/>
                    </a:cubicBezTo>
                    <a:cubicBezTo>
                      <a:pt x="10142" y="22448"/>
                      <a:pt x="13331" y="26738"/>
                      <a:pt x="17943" y="27417"/>
                    </a:cubicBezTo>
                    <a:cubicBezTo>
                      <a:pt x="17954" y="27419"/>
                      <a:pt x="17964" y="27420"/>
                      <a:pt x="17976" y="274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3" name="Freeform: Shape 141">
                <a:extLst>
                  <a:ext uri="{FF2B5EF4-FFF2-40B4-BE49-F238E27FC236}">
                    <a16:creationId xmlns:a16="http://schemas.microsoft.com/office/drawing/2014/main" id="{F763F568-A234-0444-A8C7-FC38BB47C69A}"/>
                  </a:ext>
                </a:extLst>
              </p:cNvPr>
              <p:cNvSpPr/>
              <p:nvPr/>
            </p:nvSpPr>
            <p:spPr>
              <a:xfrm>
                <a:off x="5222226" y="5865831"/>
                <a:ext cx="28615" cy="28615"/>
              </a:xfrm>
              <a:custGeom>
                <a:avLst/>
                <a:gdLst>
                  <a:gd name="connsiteX0" fmla="*/ 20030 w 28614"/>
                  <a:gd name="connsiteY0" fmla="*/ 29330 h 28614"/>
                  <a:gd name="connsiteX1" fmla="*/ 29473 w 28614"/>
                  <a:gd name="connsiteY1" fmla="*/ 20174 h 28614"/>
                  <a:gd name="connsiteX2" fmla="*/ 20030 w 28614"/>
                  <a:gd name="connsiteY2" fmla="*/ 10731 h 28614"/>
                  <a:gd name="connsiteX3" fmla="*/ 10731 w 28614"/>
                  <a:gd name="connsiteY3" fmla="*/ 20174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4"/>
                    </a:cubicBezTo>
                    <a:cubicBezTo>
                      <a:pt x="29325" y="15021"/>
                      <a:pt x="25183" y="10879"/>
                      <a:pt x="20030" y="10731"/>
                    </a:cubicBezTo>
                    <a:cubicBezTo>
                      <a:pt x="14871" y="10809"/>
                      <a:pt x="10731" y="15014"/>
                      <a:pt x="10731" y="20174"/>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4" name="Freeform: Shape 142">
                <a:extLst>
                  <a:ext uri="{FF2B5EF4-FFF2-40B4-BE49-F238E27FC236}">
                    <a16:creationId xmlns:a16="http://schemas.microsoft.com/office/drawing/2014/main" id="{44D274D0-6AA2-4142-BFA9-0B6818C02810}"/>
                  </a:ext>
                </a:extLst>
              </p:cNvPr>
              <p:cNvSpPr/>
              <p:nvPr/>
            </p:nvSpPr>
            <p:spPr>
              <a:xfrm>
                <a:off x="5067643" y="5868406"/>
                <a:ext cx="28615" cy="28615"/>
              </a:xfrm>
              <a:custGeom>
                <a:avLst/>
                <a:gdLst>
                  <a:gd name="connsiteX0" fmla="*/ 15801 w 28614"/>
                  <a:gd name="connsiteY0" fmla="*/ 25038 h 28614"/>
                  <a:gd name="connsiteX1" fmla="*/ 20439 w 28614"/>
                  <a:gd name="connsiteY1" fmla="*/ 15369 h 28614"/>
                  <a:gd name="connsiteX2" fmla="*/ 15801 w 28614"/>
                  <a:gd name="connsiteY2" fmla="*/ 10731 h 28614"/>
                  <a:gd name="connsiteX3" fmla="*/ 11162 w 28614"/>
                  <a:gd name="connsiteY3" fmla="*/ 20400 h 28614"/>
                  <a:gd name="connsiteX4" fmla="*/ 15801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5801" y="25038"/>
                    </a:moveTo>
                    <a:cubicBezTo>
                      <a:pt x="19752" y="23649"/>
                      <a:pt x="21828" y="19321"/>
                      <a:pt x="20439" y="15369"/>
                    </a:cubicBezTo>
                    <a:cubicBezTo>
                      <a:pt x="19677" y="13200"/>
                      <a:pt x="17970" y="11493"/>
                      <a:pt x="15801" y="10731"/>
                    </a:cubicBezTo>
                    <a:cubicBezTo>
                      <a:pt x="11850" y="12120"/>
                      <a:pt x="9773" y="16448"/>
                      <a:pt x="11162" y="20400"/>
                    </a:cubicBezTo>
                    <a:cubicBezTo>
                      <a:pt x="11925" y="22569"/>
                      <a:pt x="13631" y="24276"/>
                      <a:pt x="15801" y="250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5" name="Freeform: Shape 143">
                <a:extLst>
                  <a:ext uri="{FF2B5EF4-FFF2-40B4-BE49-F238E27FC236}">
                    <a16:creationId xmlns:a16="http://schemas.microsoft.com/office/drawing/2014/main" id="{1C6DD0A3-4711-3642-96F5-BA40CCDA5F0D}"/>
                  </a:ext>
                </a:extLst>
              </p:cNvPr>
              <p:cNvSpPr/>
              <p:nvPr/>
            </p:nvSpPr>
            <p:spPr>
              <a:xfrm>
                <a:off x="5222224" y="5964552"/>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4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4"/>
                    </a:cubicBezTo>
                    <a:cubicBezTo>
                      <a:pt x="10811" y="25254"/>
                      <a:pt x="14951" y="29330"/>
                      <a:pt x="20032"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6" name="Freeform: Shape 144">
                <a:extLst>
                  <a:ext uri="{FF2B5EF4-FFF2-40B4-BE49-F238E27FC236}">
                    <a16:creationId xmlns:a16="http://schemas.microsoft.com/office/drawing/2014/main" id="{33B60EEA-192C-CC4D-8522-5DEF88471FC7}"/>
                  </a:ext>
                </a:extLst>
              </p:cNvPr>
              <p:cNvSpPr/>
              <p:nvPr/>
            </p:nvSpPr>
            <p:spPr>
              <a:xfrm>
                <a:off x="6257658" y="60664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7" name="Freeform: Shape 145">
                <a:extLst>
                  <a:ext uri="{FF2B5EF4-FFF2-40B4-BE49-F238E27FC236}">
                    <a16:creationId xmlns:a16="http://schemas.microsoft.com/office/drawing/2014/main" id="{277BD1BE-F61D-D146-8C89-E791477BDC8C}"/>
                  </a:ext>
                </a:extLst>
              </p:cNvPr>
              <p:cNvSpPr/>
              <p:nvPr/>
            </p:nvSpPr>
            <p:spPr>
              <a:xfrm>
                <a:off x="5065988" y="6064989"/>
                <a:ext cx="28615" cy="28615"/>
              </a:xfrm>
              <a:custGeom>
                <a:avLst/>
                <a:gdLst>
                  <a:gd name="connsiteX0" fmla="*/ 18027 w 28614"/>
                  <a:gd name="connsiteY0" fmla="*/ 10732 h 28614"/>
                  <a:gd name="connsiteX1" fmla="*/ 10732 w 28614"/>
                  <a:gd name="connsiteY1" fmla="*/ 18314 h 28614"/>
                  <a:gd name="connsiteX2" fmla="*/ 18314 w 28614"/>
                  <a:gd name="connsiteY2" fmla="*/ 25609 h 28614"/>
                  <a:gd name="connsiteX3" fmla="*/ 25610 w 28614"/>
                  <a:gd name="connsiteY3" fmla="*/ 18172 h 28614"/>
                  <a:gd name="connsiteX4" fmla="*/ 18172 w 28614"/>
                  <a:gd name="connsiteY4" fmla="*/ 10731 h 28614"/>
                  <a:gd name="connsiteX5" fmla="*/ 18027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7" y="10732"/>
                    </a:moveTo>
                    <a:cubicBezTo>
                      <a:pt x="13919" y="10811"/>
                      <a:pt x="10653" y="14206"/>
                      <a:pt x="10732" y="18314"/>
                    </a:cubicBezTo>
                    <a:cubicBezTo>
                      <a:pt x="10811" y="22421"/>
                      <a:pt x="14205" y="25688"/>
                      <a:pt x="18314" y="25609"/>
                    </a:cubicBezTo>
                    <a:cubicBezTo>
                      <a:pt x="22365" y="25532"/>
                      <a:pt x="25610" y="22225"/>
                      <a:pt x="25610" y="18172"/>
                    </a:cubicBezTo>
                    <a:cubicBezTo>
                      <a:pt x="25611" y="14063"/>
                      <a:pt x="22281" y="10732"/>
                      <a:pt x="18172" y="10731"/>
                    </a:cubicBezTo>
                    <a:cubicBezTo>
                      <a:pt x="18124" y="10731"/>
                      <a:pt x="18076" y="10731"/>
                      <a:pt x="18027"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8" name="Freeform: Shape 146">
                <a:extLst>
                  <a:ext uri="{FF2B5EF4-FFF2-40B4-BE49-F238E27FC236}">
                    <a16:creationId xmlns:a16="http://schemas.microsoft.com/office/drawing/2014/main" id="{6DABD596-CA17-904B-BC22-7263EB5AB5AF}"/>
                  </a:ext>
                </a:extLst>
              </p:cNvPr>
              <p:cNvSpPr/>
              <p:nvPr/>
            </p:nvSpPr>
            <p:spPr>
              <a:xfrm>
                <a:off x="5222937" y="6062988"/>
                <a:ext cx="28615" cy="28615"/>
              </a:xfrm>
              <a:custGeom>
                <a:avLst/>
                <a:gdLst>
                  <a:gd name="connsiteX0" fmla="*/ 19892 w 28614"/>
                  <a:gd name="connsiteY0" fmla="*/ 30332 h 28614"/>
                  <a:gd name="connsiteX1" fmla="*/ 29763 w 28614"/>
                  <a:gd name="connsiteY1" fmla="*/ 20747 h 28614"/>
                  <a:gd name="connsiteX2" fmla="*/ 29764 w 28614"/>
                  <a:gd name="connsiteY2" fmla="*/ 20603 h 28614"/>
                  <a:gd name="connsiteX3" fmla="*/ 19892 w 28614"/>
                  <a:gd name="connsiteY3" fmla="*/ 10731 h 28614"/>
                  <a:gd name="connsiteX4" fmla="*/ 10734 w 28614"/>
                  <a:gd name="connsiteY4" fmla="*/ 19886 h 28614"/>
                  <a:gd name="connsiteX5" fmla="*/ 10735 w 28614"/>
                  <a:gd name="connsiteY5" fmla="*/ 20030 h 28614"/>
                  <a:gd name="connsiteX6" fmla="*/ 10735 w 28614"/>
                  <a:gd name="connsiteY6" fmla="*/ 20030 h 28614"/>
                  <a:gd name="connsiteX7" fmla="*/ 10735 w 28614"/>
                  <a:gd name="connsiteY7" fmla="*/ 21032 h 28614"/>
                  <a:gd name="connsiteX8" fmla="*/ 19457 w 28614"/>
                  <a:gd name="connsiteY8" fmla="*/ 30329 h 28614"/>
                  <a:gd name="connsiteX9" fmla="*/ 19892 w 28614"/>
                  <a:gd name="connsiteY9" fmla="*/ 303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92" y="30332"/>
                    </a:moveTo>
                    <a:cubicBezTo>
                      <a:pt x="25265" y="30411"/>
                      <a:pt x="29684" y="26120"/>
                      <a:pt x="29763" y="20747"/>
                    </a:cubicBezTo>
                    <a:cubicBezTo>
                      <a:pt x="29764" y="20699"/>
                      <a:pt x="29764" y="20651"/>
                      <a:pt x="29764" y="20603"/>
                    </a:cubicBezTo>
                    <a:cubicBezTo>
                      <a:pt x="29764" y="15150"/>
                      <a:pt x="25345" y="10731"/>
                      <a:pt x="19892" y="10731"/>
                    </a:cubicBezTo>
                    <a:cubicBezTo>
                      <a:pt x="14834" y="10731"/>
                      <a:pt x="10735" y="14830"/>
                      <a:pt x="10734" y="19886"/>
                    </a:cubicBezTo>
                    <a:cubicBezTo>
                      <a:pt x="10734" y="19935"/>
                      <a:pt x="10734" y="19982"/>
                      <a:pt x="10735" y="20030"/>
                    </a:cubicBezTo>
                    <a:lnTo>
                      <a:pt x="10735" y="20030"/>
                    </a:lnTo>
                    <a:lnTo>
                      <a:pt x="10735" y="21032"/>
                    </a:lnTo>
                    <a:cubicBezTo>
                      <a:pt x="10576" y="26008"/>
                      <a:pt x="14481" y="30170"/>
                      <a:pt x="19457" y="30329"/>
                    </a:cubicBezTo>
                    <a:cubicBezTo>
                      <a:pt x="19602" y="30333"/>
                      <a:pt x="19748" y="30335"/>
                      <a:pt x="19892" y="303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69" name="Freeform: Shape 147">
                <a:extLst>
                  <a:ext uri="{FF2B5EF4-FFF2-40B4-BE49-F238E27FC236}">
                    <a16:creationId xmlns:a16="http://schemas.microsoft.com/office/drawing/2014/main" id="{6880EC3A-C189-9A42-97EB-5FCC6C05BEF0}"/>
                  </a:ext>
                </a:extLst>
              </p:cNvPr>
              <p:cNvSpPr/>
              <p:nvPr/>
            </p:nvSpPr>
            <p:spPr>
              <a:xfrm>
                <a:off x="5067314" y="6017490"/>
                <a:ext cx="28615" cy="28615"/>
              </a:xfrm>
              <a:custGeom>
                <a:avLst/>
                <a:gdLst>
                  <a:gd name="connsiteX0" fmla="*/ 16129 w 28614"/>
                  <a:gd name="connsiteY0" fmla="*/ 25038 h 28614"/>
                  <a:gd name="connsiteX1" fmla="*/ 21239 w 28614"/>
                  <a:gd name="connsiteY1" fmla="*/ 15841 h 28614"/>
                  <a:gd name="connsiteX2" fmla="*/ 16129 w 28614"/>
                  <a:gd name="connsiteY2" fmla="*/ 10731 h 28614"/>
                  <a:gd name="connsiteX3" fmla="*/ 11019 w 28614"/>
                  <a:gd name="connsiteY3" fmla="*/ 19927 h 28614"/>
                  <a:gd name="connsiteX4" fmla="*/ 16129 w 28614"/>
                  <a:gd name="connsiteY4" fmla="*/ 25038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6129" y="25038"/>
                    </a:moveTo>
                    <a:cubicBezTo>
                      <a:pt x="20080" y="23909"/>
                      <a:pt x="22368" y="19791"/>
                      <a:pt x="21239" y="15841"/>
                    </a:cubicBezTo>
                    <a:cubicBezTo>
                      <a:pt x="20533" y="13369"/>
                      <a:pt x="18601" y="11437"/>
                      <a:pt x="16129" y="10731"/>
                    </a:cubicBezTo>
                    <a:cubicBezTo>
                      <a:pt x="12178" y="11859"/>
                      <a:pt x="9890" y="15977"/>
                      <a:pt x="11019" y="19927"/>
                    </a:cubicBezTo>
                    <a:cubicBezTo>
                      <a:pt x="11725" y="22400"/>
                      <a:pt x="13657" y="24333"/>
                      <a:pt x="16129" y="2503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0" name="Freeform: Shape 148">
                <a:extLst>
                  <a:ext uri="{FF2B5EF4-FFF2-40B4-BE49-F238E27FC236}">
                    <a16:creationId xmlns:a16="http://schemas.microsoft.com/office/drawing/2014/main" id="{D826879D-BBC2-DC48-860D-0C8AA86696DC}"/>
                  </a:ext>
                </a:extLst>
              </p:cNvPr>
              <p:cNvSpPr/>
              <p:nvPr/>
            </p:nvSpPr>
            <p:spPr>
              <a:xfrm>
                <a:off x="5223083" y="5914189"/>
                <a:ext cx="28615" cy="28615"/>
              </a:xfrm>
              <a:custGeom>
                <a:avLst/>
                <a:gdLst>
                  <a:gd name="connsiteX0" fmla="*/ 10732 w 28614"/>
                  <a:gd name="connsiteY0" fmla="*/ 19888 h 28614"/>
                  <a:gd name="connsiteX1" fmla="*/ 19889 w 28614"/>
                  <a:gd name="connsiteY1" fmla="*/ 29329 h 28614"/>
                  <a:gd name="connsiteX2" fmla="*/ 29329 w 28614"/>
                  <a:gd name="connsiteY2" fmla="*/ 20172 h 28614"/>
                  <a:gd name="connsiteX3" fmla="*/ 20172 w 28614"/>
                  <a:gd name="connsiteY3" fmla="*/ 10732 h 28614"/>
                  <a:gd name="connsiteX4" fmla="*/ 19889 w 28614"/>
                  <a:gd name="connsiteY4" fmla="*/ 10732 h 28614"/>
                  <a:gd name="connsiteX5" fmla="*/ 10732 w 28614"/>
                  <a:gd name="connsiteY5" fmla="*/ 1988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0732" y="19888"/>
                    </a:moveTo>
                    <a:cubicBezTo>
                      <a:pt x="10653" y="25023"/>
                      <a:pt x="14754" y="29251"/>
                      <a:pt x="19889" y="29329"/>
                    </a:cubicBezTo>
                    <a:cubicBezTo>
                      <a:pt x="25023" y="29407"/>
                      <a:pt x="29251" y="25308"/>
                      <a:pt x="29329" y="20172"/>
                    </a:cubicBezTo>
                    <a:cubicBezTo>
                      <a:pt x="29407" y="15037"/>
                      <a:pt x="25308" y="10810"/>
                      <a:pt x="20172" y="10732"/>
                    </a:cubicBezTo>
                    <a:cubicBezTo>
                      <a:pt x="20077" y="10730"/>
                      <a:pt x="19983" y="10730"/>
                      <a:pt x="19889" y="10732"/>
                    </a:cubicBezTo>
                    <a:cubicBezTo>
                      <a:pt x="14831" y="10732"/>
                      <a:pt x="10732" y="14831"/>
                      <a:pt x="10732" y="198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1" name="Freeform: Shape 149">
                <a:extLst>
                  <a:ext uri="{FF2B5EF4-FFF2-40B4-BE49-F238E27FC236}">
                    <a16:creationId xmlns:a16="http://schemas.microsoft.com/office/drawing/2014/main" id="{2C5C7EE8-240F-3C42-8376-A9EE4321F359}"/>
                  </a:ext>
                </a:extLst>
              </p:cNvPr>
              <p:cNvSpPr/>
              <p:nvPr/>
            </p:nvSpPr>
            <p:spPr>
              <a:xfrm>
                <a:off x="6177393" y="5864972"/>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1"/>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2" name="Freeform: Shape 150">
                <a:extLst>
                  <a:ext uri="{FF2B5EF4-FFF2-40B4-BE49-F238E27FC236}">
                    <a16:creationId xmlns:a16="http://schemas.microsoft.com/office/drawing/2014/main" id="{3CD378B9-F55B-104C-9E87-F8636D1F90B2}"/>
                  </a:ext>
                </a:extLst>
              </p:cNvPr>
              <p:cNvSpPr/>
              <p:nvPr/>
            </p:nvSpPr>
            <p:spPr>
              <a:xfrm>
                <a:off x="6257372" y="5966268"/>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3" name="Freeform: Shape 151">
                <a:extLst>
                  <a:ext uri="{FF2B5EF4-FFF2-40B4-BE49-F238E27FC236}">
                    <a16:creationId xmlns:a16="http://schemas.microsoft.com/office/drawing/2014/main" id="{35B35AC5-4DD4-DB47-A9C6-71A94B3A9CC6}"/>
                  </a:ext>
                </a:extLst>
              </p:cNvPr>
              <p:cNvSpPr/>
              <p:nvPr/>
            </p:nvSpPr>
            <p:spPr>
              <a:xfrm>
                <a:off x="5380313" y="6012339"/>
                <a:ext cx="28615" cy="42922"/>
              </a:xfrm>
              <a:custGeom>
                <a:avLst/>
                <a:gdLst>
                  <a:gd name="connsiteX0" fmla="*/ 20900 w 28614"/>
                  <a:gd name="connsiteY0" fmla="*/ 33480 h 42922"/>
                  <a:gd name="connsiteX1" fmla="*/ 30997 w 28614"/>
                  <a:gd name="connsiteY1" fmla="*/ 20827 h 42922"/>
                  <a:gd name="connsiteX2" fmla="*/ 20900 w 28614"/>
                  <a:gd name="connsiteY2" fmla="*/ 10731 h 42922"/>
                  <a:gd name="connsiteX3" fmla="*/ 20900 w 28614"/>
                  <a:gd name="connsiteY3" fmla="*/ 10731 h 42922"/>
                  <a:gd name="connsiteX4" fmla="*/ 10803 w 28614"/>
                  <a:gd name="connsiteY4" fmla="*/ 23383 h 42922"/>
                  <a:gd name="connsiteX5" fmla="*/ 20900 w 28614"/>
                  <a:gd name="connsiteY5" fmla="*/ 334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42922">
                    <a:moveTo>
                      <a:pt x="20900" y="33480"/>
                    </a:moveTo>
                    <a:cubicBezTo>
                      <a:pt x="27182" y="32774"/>
                      <a:pt x="31702" y="27110"/>
                      <a:pt x="30997" y="20827"/>
                    </a:cubicBezTo>
                    <a:cubicBezTo>
                      <a:pt x="30400" y="15518"/>
                      <a:pt x="26209" y="11327"/>
                      <a:pt x="20900" y="10731"/>
                    </a:cubicBezTo>
                    <a:lnTo>
                      <a:pt x="20900" y="10731"/>
                    </a:lnTo>
                    <a:cubicBezTo>
                      <a:pt x="14617" y="11436"/>
                      <a:pt x="10098" y="17100"/>
                      <a:pt x="10803" y="23383"/>
                    </a:cubicBezTo>
                    <a:cubicBezTo>
                      <a:pt x="11400" y="28692"/>
                      <a:pt x="15590" y="32883"/>
                      <a:pt x="20900" y="3348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4" name="Freeform: Shape 152">
                <a:extLst>
                  <a:ext uri="{FF2B5EF4-FFF2-40B4-BE49-F238E27FC236}">
                    <a16:creationId xmlns:a16="http://schemas.microsoft.com/office/drawing/2014/main" id="{22676D0F-28C6-E84F-97B6-441A7AB2D4A8}"/>
                  </a:ext>
                </a:extLst>
              </p:cNvPr>
              <p:cNvSpPr/>
              <p:nvPr/>
            </p:nvSpPr>
            <p:spPr>
              <a:xfrm>
                <a:off x="5223080" y="5812964"/>
                <a:ext cx="28615" cy="28615"/>
              </a:xfrm>
              <a:custGeom>
                <a:avLst/>
                <a:gdLst>
                  <a:gd name="connsiteX0" fmla="*/ 19892 w 28614"/>
                  <a:gd name="connsiteY0" fmla="*/ 11375 h 28614"/>
                  <a:gd name="connsiteX1" fmla="*/ 10735 w 28614"/>
                  <a:gd name="connsiteY1" fmla="*/ 20532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3 h 28614"/>
                  <a:gd name="connsiteX8" fmla="*/ 19749 w 28614"/>
                  <a:gd name="connsiteY8" fmla="*/ 1080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1375"/>
                    </a:moveTo>
                    <a:cubicBezTo>
                      <a:pt x="14834" y="11375"/>
                      <a:pt x="10735" y="15474"/>
                      <a:pt x="10735" y="20532"/>
                    </a:cubicBezTo>
                    <a:lnTo>
                      <a:pt x="10735" y="20961"/>
                    </a:lnTo>
                    <a:cubicBezTo>
                      <a:pt x="10576" y="26016"/>
                      <a:pt x="14545" y="30242"/>
                      <a:pt x="19600" y="30401"/>
                    </a:cubicBezTo>
                    <a:cubicBezTo>
                      <a:pt x="19650" y="30402"/>
                      <a:pt x="19699" y="30404"/>
                      <a:pt x="19749" y="30404"/>
                    </a:cubicBezTo>
                    <a:lnTo>
                      <a:pt x="19749" y="30404"/>
                    </a:lnTo>
                    <a:cubicBezTo>
                      <a:pt x="25161" y="31059"/>
                      <a:pt x="30080" y="27202"/>
                      <a:pt x="30736" y="21789"/>
                    </a:cubicBezTo>
                    <a:cubicBezTo>
                      <a:pt x="31391" y="16377"/>
                      <a:pt x="27534" y="11458"/>
                      <a:pt x="22121" y="10803"/>
                    </a:cubicBezTo>
                    <a:cubicBezTo>
                      <a:pt x="21334" y="10707"/>
                      <a:pt x="20537" y="10707"/>
                      <a:pt x="19749" y="1080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5" name="Freeform: Shape 153">
                <a:extLst>
                  <a:ext uri="{FF2B5EF4-FFF2-40B4-BE49-F238E27FC236}">
                    <a16:creationId xmlns:a16="http://schemas.microsoft.com/office/drawing/2014/main" id="{09ECFF1E-BA90-FF49-B19B-67AD6BC0ECBC}"/>
                  </a:ext>
                </a:extLst>
              </p:cNvPr>
              <p:cNvSpPr/>
              <p:nvPr/>
            </p:nvSpPr>
            <p:spPr>
              <a:xfrm>
                <a:off x="5144964" y="5915478"/>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6" name="Freeform: Shape 154">
                <a:extLst>
                  <a:ext uri="{FF2B5EF4-FFF2-40B4-BE49-F238E27FC236}">
                    <a16:creationId xmlns:a16="http://schemas.microsoft.com/office/drawing/2014/main" id="{79252251-6AF2-CF40-BE6B-BCF6B9059805}"/>
                  </a:ext>
                </a:extLst>
              </p:cNvPr>
              <p:cNvSpPr/>
              <p:nvPr/>
            </p:nvSpPr>
            <p:spPr>
              <a:xfrm>
                <a:off x="5379894" y="6063474"/>
                <a:ext cx="42922" cy="28615"/>
              </a:xfrm>
              <a:custGeom>
                <a:avLst/>
                <a:gdLst>
                  <a:gd name="connsiteX0" fmla="*/ 20460 w 42922"/>
                  <a:gd name="connsiteY0" fmla="*/ 10817 h 28614"/>
                  <a:gd name="connsiteX1" fmla="*/ 10731 w 42922"/>
                  <a:gd name="connsiteY1" fmla="*/ 20689 h 28614"/>
                  <a:gd name="connsiteX2" fmla="*/ 23464 w 42922"/>
                  <a:gd name="connsiteY2" fmla="*/ 3041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619" y="26859"/>
                      <a:pt x="17279" y="31182"/>
                      <a:pt x="23464" y="30418"/>
                    </a:cubicBezTo>
                    <a:cubicBezTo>
                      <a:pt x="28591" y="29810"/>
                      <a:pt x="32654" y="25805"/>
                      <a:pt x="33336" y="20689"/>
                    </a:cubicBezTo>
                    <a:cubicBezTo>
                      <a:pt x="32448" y="14441"/>
                      <a:pt x="26724" y="10053"/>
                      <a:pt x="20460" y="108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7" name="Freeform: Shape 155">
                <a:extLst>
                  <a:ext uri="{FF2B5EF4-FFF2-40B4-BE49-F238E27FC236}">
                    <a16:creationId xmlns:a16="http://schemas.microsoft.com/office/drawing/2014/main" id="{C382F2A7-62E1-F544-AA41-57ECC16B11A1}"/>
                  </a:ext>
                </a:extLst>
              </p:cNvPr>
              <p:cNvSpPr/>
              <p:nvPr/>
            </p:nvSpPr>
            <p:spPr>
              <a:xfrm>
                <a:off x="6177382" y="5916957"/>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9"/>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8" name="Freeform: Shape 156">
                <a:extLst>
                  <a:ext uri="{FF2B5EF4-FFF2-40B4-BE49-F238E27FC236}">
                    <a16:creationId xmlns:a16="http://schemas.microsoft.com/office/drawing/2014/main" id="{028038F6-C10E-BD4D-89A4-8218AB8CE096}"/>
                  </a:ext>
                </a:extLst>
              </p:cNvPr>
              <p:cNvSpPr/>
              <p:nvPr/>
            </p:nvSpPr>
            <p:spPr>
              <a:xfrm>
                <a:off x="6257658" y="5916622"/>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79" name="Freeform: Shape 157">
                <a:extLst>
                  <a:ext uri="{FF2B5EF4-FFF2-40B4-BE49-F238E27FC236}">
                    <a16:creationId xmlns:a16="http://schemas.microsoft.com/office/drawing/2014/main" id="{ACB0EE6B-12C3-CD45-BFA5-77B720E85720}"/>
                  </a:ext>
                </a:extLst>
              </p:cNvPr>
              <p:cNvSpPr/>
              <p:nvPr/>
            </p:nvSpPr>
            <p:spPr>
              <a:xfrm>
                <a:off x="5144964" y="5814610"/>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0" name="Freeform: Shape 158">
                <a:extLst>
                  <a:ext uri="{FF2B5EF4-FFF2-40B4-BE49-F238E27FC236}">
                    <a16:creationId xmlns:a16="http://schemas.microsoft.com/office/drawing/2014/main" id="{AD5973A6-F11A-6E49-BD13-7563D3D6587F}"/>
                  </a:ext>
                </a:extLst>
              </p:cNvPr>
              <p:cNvSpPr/>
              <p:nvPr/>
            </p:nvSpPr>
            <p:spPr>
              <a:xfrm>
                <a:off x="5065843" y="5815182"/>
                <a:ext cx="28615" cy="28615"/>
              </a:xfrm>
              <a:custGeom>
                <a:avLst/>
                <a:gdLst>
                  <a:gd name="connsiteX0" fmla="*/ 18459 w 28614"/>
                  <a:gd name="connsiteY0" fmla="*/ 11160 h 28614"/>
                  <a:gd name="connsiteX1" fmla="*/ 11019 w 28614"/>
                  <a:gd name="connsiteY1" fmla="*/ 18311 h 28614"/>
                  <a:gd name="connsiteX2" fmla="*/ 11019 w 28614"/>
                  <a:gd name="connsiteY2" fmla="*/ 18314 h 28614"/>
                  <a:gd name="connsiteX3" fmla="*/ 16129 w 28614"/>
                  <a:gd name="connsiteY3" fmla="*/ 27510 h 28614"/>
                  <a:gd name="connsiteX4" fmla="*/ 25326 w 28614"/>
                  <a:gd name="connsiteY4" fmla="*/ 22401 h 28614"/>
                  <a:gd name="connsiteX5" fmla="*/ 25326 w 28614"/>
                  <a:gd name="connsiteY5" fmla="*/ 18314 h 28614"/>
                  <a:gd name="connsiteX6" fmla="*/ 18321 w 28614"/>
                  <a:gd name="connsiteY6" fmla="*/ 10736 h 28614"/>
                  <a:gd name="connsiteX7" fmla="*/ 18029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8459" y="11160"/>
                    </a:moveTo>
                    <a:cubicBezTo>
                      <a:pt x="14429" y="11080"/>
                      <a:pt x="11099" y="14282"/>
                      <a:pt x="11019" y="18311"/>
                    </a:cubicBezTo>
                    <a:cubicBezTo>
                      <a:pt x="11019" y="18312"/>
                      <a:pt x="11019" y="18312"/>
                      <a:pt x="11019" y="18314"/>
                    </a:cubicBezTo>
                    <a:cubicBezTo>
                      <a:pt x="9890" y="22264"/>
                      <a:pt x="12178" y="26382"/>
                      <a:pt x="16129" y="27510"/>
                    </a:cubicBezTo>
                    <a:cubicBezTo>
                      <a:pt x="20080" y="28639"/>
                      <a:pt x="24198" y="26352"/>
                      <a:pt x="25326" y="22401"/>
                    </a:cubicBezTo>
                    <a:cubicBezTo>
                      <a:pt x="25708" y="21065"/>
                      <a:pt x="25708" y="19650"/>
                      <a:pt x="25326" y="18314"/>
                    </a:cubicBezTo>
                    <a:cubicBezTo>
                      <a:pt x="25484" y="14287"/>
                      <a:pt x="22348" y="10894"/>
                      <a:pt x="18321" y="10736"/>
                    </a:cubicBezTo>
                    <a:cubicBezTo>
                      <a:pt x="18224" y="10732"/>
                      <a:pt x="18127" y="10731"/>
                      <a:pt x="1802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1" name="Freeform: Shape 159">
                <a:extLst>
                  <a:ext uri="{FF2B5EF4-FFF2-40B4-BE49-F238E27FC236}">
                    <a16:creationId xmlns:a16="http://schemas.microsoft.com/office/drawing/2014/main" id="{EFECD5AE-DF5B-C247-8CF5-1CFA0081FBA5}"/>
                  </a:ext>
                </a:extLst>
              </p:cNvPr>
              <p:cNvSpPr/>
              <p:nvPr/>
            </p:nvSpPr>
            <p:spPr>
              <a:xfrm>
                <a:off x="5300773" y="5963693"/>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7"/>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2" name="Freeform: Shape 160">
                <a:extLst>
                  <a:ext uri="{FF2B5EF4-FFF2-40B4-BE49-F238E27FC236}">
                    <a16:creationId xmlns:a16="http://schemas.microsoft.com/office/drawing/2014/main" id="{AE8D1975-6BC8-A040-B1FA-81CFF7E74905}"/>
                  </a:ext>
                </a:extLst>
              </p:cNvPr>
              <p:cNvSpPr/>
              <p:nvPr/>
            </p:nvSpPr>
            <p:spPr>
              <a:xfrm>
                <a:off x="6257658" y="6015344"/>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3" name="Freeform: Shape 161">
                <a:extLst>
                  <a:ext uri="{FF2B5EF4-FFF2-40B4-BE49-F238E27FC236}">
                    <a16:creationId xmlns:a16="http://schemas.microsoft.com/office/drawing/2014/main" id="{32FF805D-C290-794E-A965-765B3B5F6301}"/>
                  </a:ext>
                </a:extLst>
              </p:cNvPr>
              <p:cNvSpPr/>
              <p:nvPr/>
            </p:nvSpPr>
            <p:spPr>
              <a:xfrm>
                <a:off x="5301346" y="5913473"/>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2"/>
                      <a:pt x="21032" y="10732"/>
                    </a:cubicBezTo>
                    <a:lnTo>
                      <a:pt x="21032" y="10732"/>
                    </a:lnTo>
                    <a:cubicBezTo>
                      <a:pt x="15343" y="10732"/>
                      <a:pt x="10731" y="15345"/>
                      <a:pt x="10731" y="21033"/>
                    </a:cubicBezTo>
                    <a:cubicBezTo>
                      <a:pt x="10731" y="26722"/>
                      <a:pt x="15343" y="31335"/>
                      <a:pt x="21032" y="31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4" name="Freeform: Shape 162">
                <a:extLst>
                  <a:ext uri="{FF2B5EF4-FFF2-40B4-BE49-F238E27FC236}">
                    <a16:creationId xmlns:a16="http://schemas.microsoft.com/office/drawing/2014/main" id="{A2D405E4-B74F-AD40-A7D7-567F399BF7C0}"/>
                  </a:ext>
                </a:extLst>
              </p:cNvPr>
              <p:cNvSpPr/>
              <p:nvPr/>
            </p:nvSpPr>
            <p:spPr>
              <a:xfrm>
                <a:off x="5457726" y="5961548"/>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5" name="Freeform: Shape 163">
                <a:extLst>
                  <a:ext uri="{FF2B5EF4-FFF2-40B4-BE49-F238E27FC236}">
                    <a16:creationId xmlns:a16="http://schemas.microsoft.com/office/drawing/2014/main" id="{DF3C421A-00E2-3E4F-A06F-9BA0074DA759}"/>
                  </a:ext>
                </a:extLst>
              </p:cNvPr>
              <p:cNvSpPr/>
              <p:nvPr/>
            </p:nvSpPr>
            <p:spPr>
              <a:xfrm>
                <a:off x="5775210" y="596083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6" name="Freeform: Shape 164">
                <a:extLst>
                  <a:ext uri="{FF2B5EF4-FFF2-40B4-BE49-F238E27FC236}">
                    <a16:creationId xmlns:a16="http://schemas.microsoft.com/office/drawing/2014/main" id="{1E3B19D3-D8A9-0948-90C5-68E283C25A91}"/>
                  </a:ext>
                </a:extLst>
              </p:cNvPr>
              <p:cNvSpPr/>
              <p:nvPr/>
            </p:nvSpPr>
            <p:spPr>
              <a:xfrm>
                <a:off x="5775210" y="5910899"/>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7" name="Freeform: Shape 165">
                <a:extLst>
                  <a:ext uri="{FF2B5EF4-FFF2-40B4-BE49-F238E27FC236}">
                    <a16:creationId xmlns:a16="http://schemas.microsoft.com/office/drawing/2014/main" id="{DD12BBBB-7DD8-9542-9F78-DCE6FC00B771}"/>
                  </a:ext>
                </a:extLst>
              </p:cNvPr>
              <p:cNvSpPr/>
              <p:nvPr/>
            </p:nvSpPr>
            <p:spPr>
              <a:xfrm>
                <a:off x="5775210" y="6010479"/>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8" name="Freeform: Shape 166">
                <a:extLst>
                  <a:ext uri="{FF2B5EF4-FFF2-40B4-BE49-F238E27FC236}">
                    <a16:creationId xmlns:a16="http://schemas.microsoft.com/office/drawing/2014/main" id="{14E0BE5F-9CA5-074D-8947-37B46514F7A4}"/>
                  </a:ext>
                </a:extLst>
              </p:cNvPr>
              <p:cNvSpPr/>
              <p:nvPr/>
            </p:nvSpPr>
            <p:spPr>
              <a:xfrm>
                <a:off x="5775210" y="5811462"/>
                <a:ext cx="42922" cy="42922"/>
              </a:xfrm>
              <a:custGeom>
                <a:avLst/>
                <a:gdLst>
                  <a:gd name="connsiteX0" fmla="*/ 37056 w 42922"/>
                  <a:gd name="connsiteY0" fmla="*/ 23893 h 42922"/>
                  <a:gd name="connsiteX1" fmla="*/ 23893 w 42922"/>
                  <a:gd name="connsiteY1" fmla="*/ 37056 h 42922"/>
                  <a:gd name="connsiteX2" fmla="*/ 10731 w 42922"/>
                  <a:gd name="connsiteY2" fmla="*/ 23893 h 42922"/>
                  <a:gd name="connsiteX3" fmla="*/ 23893 w 42922"/>
                  <a:gd name="connsiteY3" fmla="*/ 10731 h 42922"/>
                  <a:gd name="connsiteX4" fmla="*/ 37056 w 42922"/>
                  <a:gd name="connsiteY4" fmla="*/ 238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3"/>
                    </a:moveTo>
                    <a:cubicBezTo>
                      <a:pt x="37056" y="31163"/>
                      <a:pt x="31163" y="37056"/>
                      <a:pt x="23893" y="37056"/>
                    </a:cubicBezTo>
                    <a:cubicBezTo>
                      <a:pt x="16624" y="37056"/>
                      <a:pt x="10731" y="31163"/>
                      <a:pt x="10731" y="23893"/>
                    </a:cubicBezTo>
                    <a:cubicBezTo>
                      <a:pt x="10731" y="16624"/>
                      <a:pt x="16624" y="10731"/>
                      <a:pt x="23893" y="10731"/>
                    </a:cubicBezTo>
                    <a:cubicBezTo>
                      <a:pt x="31163" y="10731"/>
                      <a:pt x="37056" y="16624"/>
                      <a:pt x="37056" y="2389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89" name="Freeform: Shape 167">
                <a:extLst>
                  <a:ext uri="{FF2B5EF4-FFF2-40B4-BE49-F238E27FC236}">
                    <a16:creationId xmlns:a16="http://schemas.microsoft.com/office/drawing/2014/main" id="{4FC7137E-2481-804F-AEB1-A95C42AB7112}"/>
                  </a:ext>
                </a:extLst>
              </p:cNvPr>
              <p:cNvSpPr/>
              <p:nvPr/>
            </p:nvSpPr>
            <p:spPr>
              <a:xfrm>
                <a:off x="5775210" y="5861252"/>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0" name="Freeform: Shape 168">
                <a:extLst>
                  <a:ext uri="{FF2B5EF4-FFF2-40B4-BE49-F238E27FC236}">
                    <a16:creationId xmlns:a16="http://schemas.microsoft.com/office/drawing/2014/main" id="{75D16198-C51B-9545-8580-1ED37DF6E95C}"/>
                  </a:ext>
                </a:extLst>
              </p:cNvPr>
              <p:cNvSpPr/>
              <p:nvPr/>
            </p:nvSpPr>
            <p:spPr>
              <a:xfrm>
                <a:off x="5614537" y="595940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1" name="Freeform: Shape 169">
                <a:extLst>
                  <a:ext uri="{FF2B5EF4-FFF2-40B4-BE49-F238E27FC236}">
                    <a16:creationId xmlns:a16="http://schemas.microsoft.com/office/drawing/2014/main" id="{9E4CCB4C-D4C6-F948-8FEF-02BB21CD6E7B}"/>
                  </a:ext>
                </a:extLst>
              </p:cNvPr>
              <p:cNvSpPr/>
              <p:nvPr/>
            </p:nvSpPr>
            <p:spPr>
              <a:xfrm>
                <a:off x="5775210" y="6060269"/>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2" name="Freeform: Shape 170">
                <a:extLst>
                  <a:ext uri="{FF2B5EF4-FFF2-40B4-BE49-F238E27FC236}">
                    <a16:creationId xmlns:a16="http://schemas.microsoft.com/office/drawing/2014/main" id="{6CF86469-D978-DC4B-A707-DE4C0A666337}"/>
                  </a:ext>
                </a:extLst>
              </p:cNvPr>
              <p:cNvSpPr/>
              <p:nvPr/>
            </p:nvSpPr>
            <p:spPr>
              <a:xfrm>
                <a:off x="6016434" y="5963551"/>
                <a:ext cx="28615" cy="28615"/>
              </a:xfrm>
              <a:custGeom>
                <a:avLst/>
                <a:gdLst>
                  <a:gd name="connsiteX0" fmla="*/ 21175 w 28614"/>
                  <a:gd name="connsiteY0" fmla="*/ 31333 h 28614"/>
                  <a:gd name="connsiteX1" fmla="*/ 31476 w 28614"/>
                  <a:gd name="connsiteY1" fmla="*/ 21032 h 28614"/>
                  <a:gd name="connsiteX2" fmla="*/ 21175 w 28614"/>
                  <a:gd name="connsiteY2" fmla="*/ 10731 h 28614"/>
                  <a:gd name="connsiteX3" fmla="*/ 21175 w 28614"/>
                  <a:gd name="connsiteY3" fmla="*/ 10731 h 28614"/>
                  <a:gd name="connsiteX4" fmla="*/ 10731 w 28614"/>
                  <a:gd name="connsiteY4" fmla="*/ 21175 h 28614"/>
                  <a:gd name="connsiteX5" fmla="*/ 20889 w 28614"/>
                  <a:gd name="connsiteY5" fmla="*/ 3133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1175" y="31333"/>
                    </a:moveTo>
                    <a:cubicBezTo>
                      <a:pt x="26864" y="31333"/>
                      <a:pt x="31476" y="26721"/>
                      <a:pt x="31476" y="21032"/>
                    </a:cubicBezTo>
                    <a:cubicBezTo>
                      <a:pt x="31476" y="15343"/>
                      <a:pt x="26864" y="10731"/>
                      <a:pt x="21175" y="10731"/>
                    </a:cubicBezTo>
                    <a:lnTo>
                      <a:pt x="21175" y="10731"/>
                    </a:lnTo>
                    <a:cubicBezTo>
                      <a:pt x="15406" y="10731"/>
                      <a:pt x="10731" y="15406"/>
                      <a:pt x="10731" y="21175"/>
                    </a:cubicBezTo>
                    <a:cubicBezTo>
                      <a:pt x="10731" y="26785"/>
                      <a:pt x="15279" y="31333"/>
                      <a:pt x="20889" y="313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3" name="Freeform: Shape 171">
                <a:extLst>
                  <a:ext uri="{FF2B5EF4-FFF2-40B4-BE49-F238E27FC236}">
                    <a16:creationId xmlns:a16="http://schemas.microsoft.com/office/drawing/2014/main" id="{6369B7C4-CE29-A64A-B489-425AF969B256}"/>
                  </a:ext>
                </a:extLst>
              </p:cNvPr>
              <p:cNvSpPr/>
              <p:nvPr/>
            </p:nvSpPr>
            <p:spPr>
              <a:xfrm>
                <a:off x="6013467" y="5863865"/>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4" name="Freeform: Shape 172">
                <a:extLst>
                  <a:ext uri="{FF2B5EF4-FFF2-40B4-BE49-F238E27FC236}">
                    <a16:creationId xmlns:a16="http://schemas.microsoft.com/office/drawing/2014/main" id="{C601974D-9B4E-8146-9D11-4C82929C181C}"/>
                  </a:ext>
                </a:extLst>
              </p:cNvPr>
              <p:cNvSpPr/>
              <p:nvPr/>
            </p:nvSpPr>
            <p:spPr>
              <a:xfrm>
                <a:off x="6037037" y="6023499"/>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5" name="Freeform: Shape 173">
                <a:extLst>
                  <a:ext uri="{FF2B5EF4-FFF2-40B4-BE49-F238E27FC236}">
                    <a16:creationId xmlns:a16="http://schemas.microsoft.com/office/drawing/2014/main" id="{6EFE58B2-136D-644B-98F0-341C893049F8}"/>
                  </a:ext>
                </a:extLst>
              </p:cNvPr>
              <p:cNvSpPr/>
              <p:nvPr/>
            </p:nvSpPr>
            <p:spPr>
              <a:xfrm>
                <a:off x="5694659" y="581046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6" name="Freeform: Shape 174">
                <a:extLst>
                  <a:ext uri="{FF2B5EF4-FFF2-40B4-BE49-F238E27FC236}">
                    <a16:creationId xmlns:a16="http://schemas.microsoft.com/office/drawing/2014/main" id="{3B7316E5-C19F-9248-A6BE-6EDEE82E04F5}"/>
                  </a:ext>
                </a:extLst>
              </p:cNvPr>
              <p:cNvSpPr/>
              <p:nvPr/>
            </p:nvSpPr>
            <p:spPr>
              <a:xfrm>
                <a:off x="6016577" y="6062988"/>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7" name="Freeform: Shape 175">
                <a:extLst>
                  <a:ext uri="{FF2B5EF4-FFF2-40B4-BE49-F238E27FC236}">
                    <a16:creationId xmlns:a16="http://schemas.microsoft.com/office/drawing/2014/main" id="{36285E11-66C2-EB4A-A75B-F48205562A13}"/>
                  </a:ext>
                </a:extLst>
              </p:cNvPr>
              <p:cNvSpPr/>
              <p:nvPr/>
            </p:nvSpPr>
            <p:spPr>
              <a:xfrm>
                <a:off x="5614680" y="5909039"/>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8" name="Freeform: Shape 176">
                <a:extLst>
                  <a:ext uri="{FF2B5EF4-FFF2-40B4-BE49-F238E27FC236}">
                    <a16:creationId xmlns:a16="http://schemas.microsoft.com/office/drawing/2014/main" id="{F2B5364B-519E-C747-AE04-4103A3F19BDD}"/>
                  </a:ext>
                </a:extLst>
              </p:cNvPr>
              <p:cNvSpPr/>
              <p:nvPr/>
            </p:nvSpPr>
            <p:spPr>
              <a:xfrm>
                <a:off x="5694802" y="586010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799" name="Freeform: Shape 177">
                <a:extLst>
                  <a:ext uri="{FF2B5EF4-FFF2-40B4-BE49-F238E27FC236}">
                    <a16:creationId xmlns:a16="http://schemas.microsoft.com/office/drawing/2014/main" id="{3C311149-12DF-3B42-94C2-C202087322D0}"/>
                  </a:ext>
                </a:extLst>
              </p:cNvPr>
              <p:cNvSpPr/>
              <p:nvPr/>
            </p:nvSpPr>
            <p:spPr>
              <a:xfrm>
                <a:off x="6013467" y="6012949"/>
                <a:ext cx="42922" cy="28615"/>
              </a:xfrm>
              <a:custGeom>
                <a:avLst/>
                <a:gdLst>
                  <a:gd name="connsiteX0" fmla="*/ 18133 w 42922"/>
                  <a:gd name="connsiteY0" fmla="*/ 30724 h 28614"/>
                  <a:gd name="connsiteX1" fmla="*/ 23713 w 42922"/>
                  <a:gd name="connsiteY1" fmla="*/ 30724 h 28614"/>
                  <a:gd name="connsiteX2" fmla="*/ 33871 w 42922"/>
                  <a:gd name="connsiteY2" fmla="*/ 20995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60" y="30728"/>
                      <a:pt x="33641" y="26437"/>
                      <a:pt x="33871" y="20995"/>
                    </a:cubicBezTo>
                    <a:cubicBezTo>
                      <a:pt x="33644" y="15529"/>
                      <a:pt x="29183" y="11194"/>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0" name="Freeform: Shape 178">
                <a:extLst>
                  <a:ext uri="{FF2B5EF4-FFF2-40B4-BE49-F238E27FC236}">
                    <a16:creationId xmlns:a16="http://schemas.microsoft.com/office/drawing/2014/main" id="{A1BCDF0C-3C06-C34D-B62F-799086B5612F}"/>
                  </a:ext>
                </a:extLst>
              </p:cNvPr>
              <p:cNvSpPr/>
              <p:nvPr/>
            </p:nvSpPr>
            <p:spPr>
              <a:xfrm>
                <a:off x="6016434" y="5913900"/>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1"/>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1" name="Freeform: Shape 179">
                <a:extLst>
                  <a:ext uri="{FF2B5EF4-FFF2-40B4-BE49-F238E27FC236}">
                    <a16:creationId xmlns:a16="http://schemas.microsoft.com/office/drawing/2014/main" id="{EFE56B01-2AC3-0D4E-9EE2-E4F33047B06C}"/>
                  </a:ext>
                </a:extLst>
              </p:cNvPr>
              <p:cNvSpPr/>
              <p:nvPr/>
            </p:nvSpPr>
            <p:spPr>
              <a:xfrm>
                <a:off x="5935740" y="5962403"/>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2" name="Freeform: Shape 180">
                <a:extLst>
                  <a:ext uri="{FF2B5EF4-FFF2-40B4-BE49-F238E27FC236}">
                    <a16:creationId xmlns:a16="http://schemas.microsoft.com/office/drawing/2014/main" id="{F03ECE94-C1FD-794F-A586-5CE34A1FC872}"/>
                  </a:ext>
                </a:extLst>
              </p:cNvPr>
              <p:cNvSpPr/>
              <p:nvPr/>
            </p:nvSpPr>
            <p:spPr>
              <a:xfrm>
                <a:off x="5855761" y="5862254"/>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3" name="Freeform: Shape 181">
                <a:extLst>
                  <a:ext uri="{FF2B5EF4-FFF2-40B4-BE49-F238E27FC236}">
                    <a16:creationId xmlns:a16="http://schemas.microsoft.com/office/drawing/2014/main" id="{8A86ACA8-8F48-3D45-B947-BF8DD8DD29BC}"/>
                  </a:ext>
                </a:extLst>
              </p:cNvPr>
              <p:cNvSpPr/>
              <p:nvPr/>
            </p:nvSpPr>
            <p:spPr>
              <a:xfrm>
                <a:off x="5854903" y="5811605"/>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4" name="Freeform: Shape 182">
                <a:extLst>
                  <a:ext uri="{FF2B5EF4-FFF2-40B4-BE49-F238E27FC236}">
                    <a16:creationId xmlns:a16="http://schemas.microsoft.com/office/drawing/2014/main" id="{E1CAB9D0-AFB0-C445-AE8D-A6FC9D44BDA6}"/>
                  </a:ext>
                </a:extLst>
              </p:cNvPr>
              <p:cNvSpPr/>
              <p:nvPr/>
            </p:nvSpPr>
            <p:spPr>
              <a:xfrm>
                <a:off x="5935928" y="5914237"/>
                <a:ext cx="42922" cy="42922"/>
              </a:xfrm>
              <a:custGeom>
                <a:avLst/>
                <a:gdLst>
                  <a:gd name="connsiteX0" fmla="*/ 20558 w 42922"/>
                  <a:gd name="connsiteY0" fmla="*/ 10827 h 42922"/>
                  <a:gd name="connsiteX1" fmla="*/ 10829 w 42922"/>
                  <a:gd name="connsiteY1" fmla="*/ 20556 h 42922"/>
                  <a:gd name="connsiteX2" fmla="*/ 20558 w 42922"/>
                  <a:gd name="connsiteY2" fmla="*/ 33240 h 42922"/>
                  <a:gd name="connsiteX3" fmla="*/ 33241 w 42922"/>
                  <a:gd name="connsiteY3" fmla="*/ 23511 h 42922"/>
                  <a:gd name="connsiteX4" fmla="*/ 23512 w 42922"/>
                  <a:gd name="connsiteY4" fmla="*/ 10827 h 42922"/>
                  <a:gd name="connsiteX5" fmla="*/ 20558 w 42922"/>
                  <a:gd name="connsiteY5" fmla="*/ 1082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58" y="10827"/>
                    </a:moveTo>
                    <a:cubicBezTo>
                      <a:pt x="15463" y="11448"/>
                      <a:pt x="11450" y="15461"/>
                      <a:pt x="10829" y="20556"/>
                    </a:cubicBezTo>
                    <a:cubicBezTo>
                      <a:pt x="10013" y="26746"/>
                      <a:pt x="14368" y="32423"/>
                      <a:pt x="20558" y="33240"/>
                    </a:cubicBezTo>
                    <a:cubicBezTo>
                      <a:pt x="26747" y="34055"/>
                      <a:pt x="32424" y="29699"/>
                      <a:pt x="33241" y="23511"/>
                    </a:cubicBezTo>
                    <a:cubicBezTo>
                      <a:pt x="34057" y="17321"/>
                      <a:pt x="29700" y="11643"/>
                      <a:pt x="23512" y="10827"/>
                    </a:cubicBezTo>
                    <a:cubicBezTo>
                      <a:pt x="22531" y="10698"/>
                      <a:pt x="21538" y="10698"/>
                      <a:pt x="20558" y="1082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5" name="Freeform: Shape 183">
                <a:extLst>
                  <a:ext uri="{FF2B5EF4-FFF2-40B4-BE49-F238E27FC236}">
                    <a16:creationId xmlns:a16="http://schemas.microsoft.com/office/drawing/2014/main" id="{01F580E8-0DA3-AE4F-A9B9-51FC58876B71}"/>
                  </a:ext>
                </a:extLst>
              </p:cNvPr>
              <p:cNvSpPr/>
              <p:nvPr/>
            </p:nvSpPr>
            <p:spPr>
              <a:xfrm>
                <a:off x="5935946" y="6013671"/>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2"/>
                      <a:pt x="20703" y="33258"/>
                    </a:cubicBezTo>
                    <a:cubicBezTo>
                      <a:pt x="26902" y="33993"/>
                      <a:pt x="32523" y="29564"/>
                      <a:pt x="33259" y="23364"/>
                    </a:cubicBezTo>
                    <a:cubicBezTo>
                      <a:pt x="33994" y="17166"/>
                      <a:pt x="29565" y="11545"/>
                      <a:pt x="23367" y="10809"/>
                    </a:cubicBezTo>
                    <a:cubicBezTo>
                      <a:pt x="22427" y="10698"/>
                      <a:pt x="21477" y="10705"/>
                      <a:pt x="20540" y="1082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6" name="Freeform: Shape 184">
                <a:extLst>
                  <a:ext uri="{FF2B5EF4-FFF2-40B4-BE49-F238E27FC236}">
                    <a16:creationId xmlns:a16="http://schemas.microsoft.com/office/drawing/2014/main" id="{D73604A1-E75E-D149-8BEB-B2A0904CB2AD}"/>
                  </a:ext>
                </a:extLst>
              </p:cNvPr>
              <p:cNvSpPr/>
              <p:nvPr/>
            </p:nvSpPr>
            <p:spPr>
              <a:xfrm>
                <a:off x="5935130" y="5813950"/>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3"/>
                      <a:pt x="23645" y="304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7" name="Freeform: Shape 185">
                <a:extLst>
                  <a:ext uri="{FF2B5EF4-FFF2-40B4-BE49-F238E27FC236}">
                    <a16:creationId xmlns:a16="http://schemas.microsoft.com/office/drawing/2014/main" id="{A14F9E82-E106-F746-8B61-6499647D87D3}"/>
                  </a:ext>
                </a:extLst>
              </p:cNvPr>
              <p:cNvSpPr/>
              <p:nvPr/>
            </p:nvSpPr>
            <p:spPr>
              <a:xfrm>
                <a:off x="5935740" y="6061840"/>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8" name="Freeform: Shape 186">
                <a:extLst>
                  <a:ext uri="{FF2B5EF4-FFF2-40B4-BE49-F238E27FC236}">
                    <a16:creationId xmlns:a16="http://schemas.microsoft.com/office/drawing/2014/main" id="{6C0F5270-6B83-4143-BFB6-39DD8FFCC4EF}"/>
                  </a:ext>
                </a:extLst>
              </p:cNvPr>
              <p:cNvSpPr/>
              <p:nvPr/>
            </p:nvSpPr>
            <p:spPr>
              <a:xfrm>
                <a:off x="5855476" y="6011337"/>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09" name="Freeform: Shape 187">
                <a:extLst>
                  <a:ext uri="{FF2B5EF4-FFF2-40B4-BE49-F238E27FC236}">
                    <a16:creationId xmlns:a16="http://schemas.microsoft.com/office/drawing/2014/main" id="{5F811078-8DAA-AD41-9B1C-C146EA23634C}"/>
                  </a:ext>
                </a:extLst>
              </p:cNvPr>
              <p:cNvSpPr/>
              <p:nvPr/>
            </p:nvSpPr>
            <p:spPr>
              <a:xfrm>
                <a:off x="5935739" y="5862823"/>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6"/>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0" name="Freeform: Shape 188">
                <a:extLst>
                  <a:ext uri="{FF2B5EF4-FFF2-40B4-BE49-F238E27FC236}">
                    <a16:creationId xmlns:a16="http://schemas.microsoft.com/office/drawing/2014/main" id="{0CC2ACE3-0C93-C945-8991-FFC458B8A341}"/>
                  </a:ext>
                </a:extLst>
              </p:cNvPr>
              <p:cNvSpPr/>
              <p:nvPr/>
            </p:nvSpPr>
            <p:spPr>
              <a:xfrm>
                <a:off x="5614951" y="5811605"/>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80"/>
                      <a:pt x="15974" y="38094"/>
                      <a:pt x="23480" y="389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1" name="Freeform: Shape 189">
                <a:extLst>
                  <a:ext uri="{FF2B5EF4-FFF2-40B4-BE49-F238E27FC236}">
                    <a16:creationId xmlns:a16="http://schemas.microsoft.com/office/drawing/2014/main" id="{FDA5F9E5-296D-1742-B891-5E0F53883BD2}"/>
                  </a:ext>
                </a:extLst>
              </p:cNvPr>
              <p:cNvSpPr/>
              <p:nvPr/>
            </p:nvSpPr>
            <p:spPr>
              <a:xfrm>
                <a:off x="5855761" y="5911901"/>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2" name="Freeform: Shape 190">
                <a:extLst>
                  <a:ext uri="{FF2B5EF4-FFF2-40B4-BE49-F238E27FC236}">
                    <a16:creationId xmlns:a16="http://schemas.microsoft.com/office/drawing/2014/main" id="{360A36F9-D900-DE4C-B11E-D9FB0CA9D3F1}"/>
                  </a:ext>
                </a:extLst>
              </p:cNvPr>
              <p:cNvSpPr/>
              <p:nvPr/>
            </p:nvSpPr>
            <p:spPr>
              <a:xfrm>
                <a:off x="5856190" y="6061270"/>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3" name="Freeform: Shape 191">
                <a:extLst>
                  <a:ext uri="{FF2B5EF4-FFF2-40B4-BE49-F238E27FC236}">
                    <a16:creationId xmlns:a16="http://schemas.microsoft.com/office/drawing/2014/main" id="{6F16D638-23CC-B247-B103-11653F189800}"/>
                  </a:ext>
                </a:extLst>
              </p:cNvPr>
              <p:cNvSpPr/>
              <p:nvPr/>
            </p:nvSpPr>
            <p:spPr>
              <a:xfrm>
                <a:off x="5614537" y="5859965"/>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4" name="Freeform: Shape 192">
                <a:extLst>
                  <a:ext uri="{FF2B5EF4-FFF2-40B4-BE49-F238E27FC236}">
                    <a16:creationId xmlns:a16="http://schemas.microsoft.com/office/drawing/2014/main" id="{73FB7CF6-DD61-3947-A1C8-322C2C22005F}"/>
                  </a:ext>
                </a:extLst>
              </p:cNvPr>
              <p:cNvSpPr/>
              <p:nvPr/>
            </p:nvSpPr>
            <p:spPr>
              <a:xfrm>
                <a:off x="5855476" y="5961690"/>
                <a:ext cx="42922" cy="42922"/>
              </a:xfrm>
              <a:custGeom>
                <a:avLst/>
                <a:gdLst>
                  <a:gd name="connsiteX0" fmla="*/ 23178 w 42922"/>
                  <a:gd name="connsiteY0" fmla="*/ 10731 h 42922"/>
                  <a:gd name="connsiteX1" fmla="*/ 10731 w 42922"/>
                  <a:gd name="connsiteY1" fmla="*/ 22891 h 42922"/>
                  <a:gd name="connsiteX2" fmla="*/ 22891 w 42922"/>
                  <a:gd name="connsiteY2" fmla="*/ 35339 h 42922"/>
                  <a:gd name="connsiteX3" fmla="*/ 35337 w 42922"/>
                  <a:gd name="connsiteY3" fmla="*/ 23178 h 42922"/>
                  <a:gd name="connsiteX4" fmla="*/ 35339 w 42922"/>
                  <a:gd name="connsiteY4" fmla="*/ 23036 h 42922"/>
                  <a:gd name="connsiteX5" fmla="*/ 2317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178" y="10731"/>
                    </a:moveTo>
                    <a:cubicBezTo>
                      <a:pt x="16383" y="10653"/>
                      <a:pt x="10810" y="16097"/>
                      <a:pt x="10731" y="22891"/>
                    </a:cubicBezTo>
                    <a:cubicBezTo>
                      <a:pt x="10651" y="29687"/>
                      <a:pt x="16097" y="35260"/>
                      <a:pt x="22891" y="35339"/>
                    </a:cubicBezTo>
                    <a:cubicBezTo>
                      <a:pt x="29686" y="35418"/>
                      <a:pt x="35259" y="29974"/>
                      <a:pt x="35337" y="23178"/>
                    </a:cubicBezTo>
                    <a:cubicBezTo>
                      <a:pt x="35339" y="23130"/>
                      <a:pt x="35339" y="23083"/>
                      <a:pt x="35339" y="23036"/>
                    </a:cubicBezTo>
                    <a:cubicBezTo>
                      <a:pt x="35339" y="16296"/>
                      <a:pt x="29918" y="10810"/>
                      <a:pt x="2317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5" name="Freeform: Shape 193">
                <a:extLst>
                  <a:ext uri="{FF2B5EF4-FFF2-40B4-BE49-F238E27FC236}">
                    <a16:creationId xmlns:a16="http://schemas.microsoft.com/office/drawing/2014/main" id="{6DF4B545-380A-6C45-848B-DADD85515728}"/>
                  </a:ext>
                </a:extLst>
              </p:cNvPr>
              <p:cNvSpPr/>
              <p:nvPr/>
            </p:nvSpPr>
            <p:spPr>
              <a:xfrm>
                <a:off x="5614394" y="6009192"/>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6" name="Freeform: Shape 194">
                <a:extLst>
                  <a:ext uri="{FF2B5EF4-FFF2-40B4-BE49-F238E27FC236}">
                    <a16:creationId xmlns:a16="http://schemas.microsoft.com/office/drawing/2014/main" id="{9983885A-51D0-7540-B9FE-BE4DD5409005}"/>
                  </a:ext>
                </a:extLst>
              </p:cNvPr>
              <p:cNvSpPr/>
              <p:nvPr/>
            </p:nvSpPr>
            <p:spPr>
              <a:xfrm>
                <a:off x="5536847" y="6060269"/>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7" name="Freeform: Shape 195">
                <a:extLst>
                  <a:ext uri="{FF2B5EF4-FFF2-40B4-BE49-F238E27FC236}">
                    <a16:creationId xmlns:a16="http://schemas.microsoft.com/office/drawing/2014/main" id="{B458CE4E-0337-6C49-A88F-A571A7D0A8E1}"/>
                  </a:ext>
                </a:extLst>
              </p:cNvPr>
              <p:cNvSpPr/>
              <p:nvPr/>
            </p:nvSpPr>
            <p:spPr>
              <a:xfrm>
                <a:off x="5615109" y="6059268"/>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8" name="Freeform: Shape 196">
                <a:extLst>
                  <a:ext uri="{FF2B5EF4-FFF2-40B4-BE49-F238E27FC236}">
                    <a16:creationId xmlns:a16="http://schemas.microsoft.com/office/drawing/2014/main" id="{CA5439C6-003A-3A41-88ED-D5047EB8904E}"/>
                  </a:ext>
                </a:extLst>
              </p:cNvPr>
              <p:cNvSpPr/>
              <p:nvPr/>
            </p:nvSpPr>
            <p:spPr>
              <a:xfrm>
                <a:off x="5536990" y="5910470"/>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19" name="Freeform: Shape 197">
                <a:extLst>
                  <a:ext uri="{FF2B5EF4-FFF2-40B4-BE49-F238E27FC236}">
                    <a16:creationId xmlns:a16="http://schemas.microsoft.com/office/drawing/2014/main" id="{19E49DCD-B302-5048-8CCD-43678AAF3BC2}"/>
                  </a:ext>
                </a:extLst>
              </p:cNvPr>
              <p:cNvSpPr/>
              <p:nvPr/>
            </p:nvSpPr>
            <p:spPr>
              <a:xfrm>
                <a:off x="5536275" y="5861252"/>
                <a:ext cx="42922" cy="42922"/>
              </a:xfrm>
              <a:custGeom>
                <a:avLst/>
                <a:gdLst>
                  <a:gd name="connsiteX0" fmla="*/ 23893 w 42922"/>
                  <a:gd name="connsiteY0" fmla="*/ 37056 h 42922"/>
                  <a:gd name="connsiteX1" fmla="*/ 37056 w 42922"/>
                  <a:gd name="connsiteY1" fmla="*/ 23894 h 42922"/>
                  <a:gd name="connsiteX2" fmla="*/ 23893 w 42922"/>
                  <a:gd name="connsiteY2" fmla="*/ 10731 h 42922"/>
                  <a:gd name="connsiteX3" fmla="*/ 10731 w 42922"/>
                  <a:gd name="connsiteY3" fmla="*/ 23894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4"/>
                    </a:cubicBezTo>
                    <a:cubicBezTo>
                      <a:pt x="37056" y="16624"/>
                      <a:pt x="31163" y="10731"/>
                      <a:pt x="23893" y="10731"/>
                    </a:cubicBezTo>
                    <a:cubicBezTo>
                      <a:pt x="16624" y="10731"/>
                      <a:pt x="10731" y="16624"/>
                      <a:pt x="10731" y="23894"/>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0" name="Freeform: Shape 198">
                <a:extLst>
                  <a:ext uri="{FF2B5EF4-FFF2-40B4-BE49-F238E27FC236}">
                    <a16:creationId xmlns:a16="http://schemas.microsoft.com/office/drawing/2014/main" id="{48AB9EE5-30F5-694C-8132-DD96C2B64BCF}"/>
                  </a:ext>
                </a:extLst>
              </p:cNvPr>
              <p:cNvSpPr/>
              <p:nvPr/>
            </p:nvSpPr>
            <p:spPr>
              <a:xfrm>
                <a:off x="5536274" y="5960689"/>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1" name="Freeform: Shape 199">
                <a:extLst>
                  <a:ext uri="{FF2B5EF4-FFF2-40B4-BE49-F238E27FC236}">
                    <a16:creationId xmlns:a16="http://schemas.microsoft.com/office/drawing/2014/main" id="{A1B94B0B-69E8-3A43-B14F-8490CA41A616}"/>
                  </a:ext>
                </a:extLst>
              </p:cNvPr>
              <p:cNvSpPr/>
              <p:nvPr/>
            </p:nvSpPr>
            <p:spPr>
              <a:xfrm>
                <a:off x="5536274" y="6010336"/>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2"/>
                      <a:pt x="37056" y="23892"/>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2" name="Freeform: Shape 200">
                <a:extLst>
                  <a:ext uri="{FF2B5EF4-FFF2-40B4-BE49-F238E27FC236}">
                    <a16:creationId xmlns:a16="http://schemas.microsoft.com/office/drawing/2014/main" id="{F7556705-437F-9541-A743-076890063E76}"/>
                  </a:ext>
                </a:extLst>
              </p:cNvPr>
              <p:cNvSpPr/>
              <p:nvPr/>
            </p:nvSpPr>
            <p:spPr>
              <a:xfrm>
                <a:off x="5457727" y="5862254"/>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3" name="Freeform: Shape 201">
                <a:extLst>
                  <a:ext uri="{FF2B5EF4-FFF2-40B4-BE49-F238E27FC236}">
                    <a16:creationId xmlns:a16="http://schemas.microsoft.com/office/drawing/2014/main" id="{AB01B503-C03E-AA45-9F4A-A49C0746A5A2}"/>
                  </a:ext>
                </a:extLst>
              </p:cNvPr>
              <p:cNvSpPr/>
              <p:nvPr/>
            </p:nvSpPr>
            <p:spPr>
              <a:xfrm>
                <a:off x="6097271" y="6013626"/>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4" name="Freeform: Shape 202">
                <a:extLst>
                  <a:ext uri="{FF2B5EF4-FFF2-40B4-BE49-F238E27FC236}">
                    <a16:creationId xmlns:a16="http://schemas.microsoft.com/office/drawing/2014/main" id="{E639CAC8-BE0A-A843-8FA9-90061D241EF3}"/>
                  </a:ext>
                </a:extLst>
              </p:cNvPr>
              <p:cNvSpPr/>
              <p:nvPr/>
            </p:nvSpPr>
            <p:spPr>
              <a:xfrm>
                <a:off x="5536990" y="581246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5" name="Freeform: Shape 203">
                <a:extLst>
                  <a:ext uri="{FF2B5EF4-FFF2-40B4-BE49-F238E27FC236}">
                    <a16:creationId xmlns:a16="http://schemas.microsoft.com/office/drawing/2014/main" id="{7E9302CE-9D9E-4E49-85C9-7E79833F4C4A}"/>
                  </a:ext>
                </a:extLst>
              </p:cNvPr>
              <p:cNvSpPr/>
              <p:nvPr/>
            </p:nvSpPr>
            <p:spPr>
              <a:xfrm>
                <a:off x="6096984" y="6063989"/>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6" name="Freeform: Shape 204">
                <a:extLst>
                  <a:ext uri="{FF2B5EF4-FFF2-40B4-BE49-F238E27FC236}">
                    <a16:creationId xmlns:a16="http://schemas.microsoft.com/office/drawing/2014/main" id="{1011CED8-21CA-DE46-A372-5544D9F41BDD}"/>
                  </a:ext>
                </a:extLst>
              </p:cNvPr>
              <p:cNvSpPr/>
              <p:nvPr/>
            </p:nvSpPr>
            <p:spPr>
              <a:xfrm>
                <a:off x="6097271" y="5914905"/>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2"/>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7" name="Freeform: Shape 205">
                <a:extLst>
                  <a:ext uri="{FF2B5EF4-FFF2-40B4-BE49-F238E27FC236}">
                    <a16:creationId xmlns:a16="http://schemas.microsoft.com/office/drawing/2014/main" id="{5AE97BD9-9AFA-CC4D-BF9F-229D700BC880}"/>
                  </a:ext>
                </a:extLst>
              </p:cNvPr>
              <p:cNvSpPr/>
              <p:nvPr/>
            </p:nvSpPr>
            <p:spPr>
              <a:xfrm>
                <a:off x="6097414" y="5964552"/>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4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0"/>
                      <a:pt x="29252" y="25254"/>
                      <a:pt x="29330" y="20174"/>
                    </a:cubicBezTo>
                    <a:cubicBezTo>
                      <a:pt x="29330" y="15014"/>
                      <a:pt x="25190" y="10809"/>
                      <a:pt x="20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8" name="Freeform: Shape 206">
                <a:extLst>
                  <a:ext uri="{FF2B5EF4-FFF2-40B4-BE49-F238E27FC236}">
                    <a16:creationId xmlns:a16="http://schemas.microsoft.com/office/drawing/2014/main" id="{D49D1E0D-168C-4F40-867F-6A8242242FC1}"/>
                  </a:ext>
                </a:extLst>
              </p:cNvPr>
              <p:cNvSpPr/>
              <p:nvPr/>
            </p:nvSpPr>
            <p:spPr>
              <a:xfrm>
                <a:off x="6097271" y="5864257"/>
                <a:ext cx="28615" cy="28615"/>
              </a:xfrm>
              <a:custGeom>
                <a:avLst/>
                <a:gdLst>
                  <a:gd name="connsiteX0" fmla="*/ 20174 w 28614"/>
                  <a:gd name="connsiteY0" fmla="*/ 10731 h 28614"/>
                  <a:gd name="connsiteX1" fmla="*/ 10731 w 28614"/>
                  <a:gd name="connsiteY1" fmla="*/ 20174 h 28614"/>
                  <a:gd name="connsiteX2" fmla="*/ 20174 w 28614"/>
                  <a:gd name="connsiteY2" fmla="*/ 29330 h 28614"/>
                  <a:gd name="connsiteX3" fmla="*/ 29473 w 28614"/>
                  <a:gd name="connsiteY3" fmla="*/ 20174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4"/>
                    </a:cubicBezTo>
                    <a:cubicBezTo>
                      <a:pt x="10885" y="25277"/>
                      <a:pt x="15069" y="29333"/>
                      <a:pt x="20174" y="29330"/>
                    </a:cubicBezTo>
                    <a:cubicBezTo>
                      <a:pt x="25254" y="29330"/>
                      <a:pt x="29395" y="25254"/>
                      <a:pt x="29473" y="20174"/>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29" name="Freeform: Shape 207">
                <a:extLst>
                  <a:ext uri="{FF2B5EF4-FFF2-40B4-BE49-F238E27FC236}">
                    <a16:creationId xmlns:a16="http://schemas.microsoft.com/office/drawing/2014/main" id="{65ED1B61-95D7-D54F-A288-37D99E6FD5B7}"/>
                  </a:ext>
                </a:extLst>
              </p:cNvPr>
              <p:cNvSpPr/>
              <p:nvPr/>
            </p:nvSpPr>
            <p:spPr>
              <a:xfrm>
                <a:off x="6015719" y="5813604"/>
                <a:ext cx="28615" cy="28615"/>
              </a:xfrm>
              <a:custGeom>
                <a:avLst/>
                <a:gdLst>
                  <a:gd name="connsiteX0" fmla="*/ 21032 w 28614"/>
                  <a:gd name="connsiteY0" fmla="*/ 10735 h 28614"/>
                  <a:gd name="connsiteX1" fmla="*/ 10735 w 28614"/>
                  <a:gd name="connsiteY1" fmla="*/ 20460 h 28614"/>
                  <a:gd name="connsiteX2" fmla="*/ 10731 w 28614"/>
                  <a:gd name="connsiteY2" fmla="*/ 20750 h 28614"/>
                  <a:gd name="connsiteX3" fmla="*/ 10731 w 28614"/>
                  <a:gd name="connsiteY3" fmla="*/ 20750 h 28614"/>
                  <a:gd name="connsiteX4" fmla="*/ 21032 w 28614"/>
                  <a:gd name="connsiteY4" fmla="*/ 31194 h 28614"/>
                  <a:gd name="connsiteX5" fmla="*/ 31332 w 28614"/>
                  <a:gd name="connsiteY5" fmla="*/ 21181 h 28614"/>
                  <a:gd name="connsiteX6" fmla="*/ 31333 w 28614"/>
                  <a:gd name="connsiteY6" fmla="*/ 21036 h 28614"/>
                  <a:gd name="connsiteX7" fmla="*/ 31333 w 28614"/>
                  <a:gd name="connsiteY7" fmla="*/ 21036 h 28614"/>
                  <a:gd name="connsiteX8" fmla="*/ 21320 w 28614"/>
                  <a:gd name="connsiteY8" fmla="*/ 10735 h 28614"/>
                  <a:gd name="connsiteX9" fmla="*/ 21032 w 28614"/>
                  <a:gd name="connsiteY9"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5"/>
                    </a:moveTo>
                    <a:cubicBezTo>
                      <a:pt x="15504" y="10577"/>
                      <a:pt x="10892" y="14931"/>
                      <a:pt x="10735" y="20460"/>
                    </a:cubicBezTo>
                    <a:cubicBezTo>
                      <a:pt x="10732" y="20557"/>
                      <a:pt x="10731" y="20653"/>
                      <a:pt x="10731" y="20750"/>
                    </a:cubicBezTo>
                    <a:lnTo>
                      <a:pt x="10731" y="20750"/>
                    </a:lnTo>
                    <a:cubicBezTo>
                      <a:pt x="10731" y="26463"/>
                      <a:pt x="15319" y="31116"/>
                      <a:pt x="21032" y="31194"/>
                    </a:cubicBezTo>
                    <a:cubicBezTo>
                      <a:pt x="26642" y="31273"/>
                      <a:pt x="31253" y="26791"/>
                      <a:pt x="31332" y="21181"/>
                    </a:cubicBezTo>
                    <a:cubicBezTo>
                      <a:pt x="31333" y="21132"/>
                      <a:pt x="31333" y="21085"/>
                      <a:pt x="31333" y="21036"/>
                    </a:cubicBezTo>
                    <a:lnTo>
                      <a:pt x="31333" y="21036"/>
                    </a:lnTo>
                    <a:cubicBezTo>
                      <a:pt x="31414" y="15426"/>
                      <a:pt x="26930" y="10815"/>
                      <a:pt x="21320" y="10735"/>
                    </a:cubicBezTo>
                    <a:cubicBezTo>
                      <a:pt x="21224" y="10733"/>
                      <a:pt x="21128" y="10733"/>
                      <a:pt x="21032" y="107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0" name="Freeform: Shape 208">
                <a:extLst>
                  <a:ext uri="{FF2B5EF4-FFF2-40B4-BE49-F238E27FC236}">
                    <a16:creationId xmlns:a16="http://schemas.microsoft.com/office/drawing/2014/main" id="{E4A56E81-CB06-9147-993B-351DF9D3F9EC}"/>
                  </a:ext>
                </a:extLst>
              </p:cNvPr>
              <p:cNvSpPr/>
              <p:nvPr/>
            </p:nvSpPr>
            <p:spPr>
              <a:xfrm>
                <a:off x="5458299" y="6060842"/>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1" name="Freeform: Shape 209">
                <a:extLst>
                  <a:ext uri="{FF2B5EF4-FFF2-40B4-BE49-F238E27FC236}">
                    <a16:creationId xmlns:a16="http://schemas.microsoft.com/office/drawing/2014/main" id="{4712452F-C6CA-D44B-AE89-89FE6EE3B0D0}"/>
                  </a:ext>
                </a:extLst>
              </p:cNvPr>
              <p:cNvSpPr/>
              <p:nvPr/>
            </p:nvSpPr>
            <p:spPr>
              <a:xfrm>
                <a:off x="6037037" y="5873700"/>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2" name="Freeform: Shape 210">
                <a:extLst>
                  <a:ext uri="{FF2B5EF4-FFF2-40B4-BE49-F238E27FC236}">
                    <a16:creationId xmlns:a16="http://schemas.microsoft.com/office/drawing/2014/main" id="{FC23280F-E0F6-6E47-875F-EF53C6BF6FFB}"/>
                  </a:ext>
                </a:extLst>
              </p:cNvPr>
              <p:cNvSpPr/>
              <p:nvPr/>
            </p:nvSpPr>
            <p:spPr>
              <a:xfrm>
                <a:off x="5694659" y="6009192"/>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3" name="Freeform: Shape 211">
                <a:extLst>
                  <a:ext uri="{FF2B5EF4-FFF2-40B4-BE49-F238E27FC236}">
                    <a16:creationId xmlns:a16="http://schemas.microsoft.com/office/drawing/2014/main" id="{5C1F4755-1029-B642-82EC-109EFAF0B300}"/>
                  </a:ext>
                </a:extLst>
              </p:cNvPr>
              <p:cNvSpPr/>
              <p:nvPr/>
            </p:nvSpPr>
            <p:spPr>
              <a:xfrm>
                <a:off x="5694659" y="5959831"/>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4" name="Freeform: Shape 212">
                <a:extLst>
                  <a:ext uri="{FF2B5EF4-FFF2-40B4-BE49-F238E27FC236}">
                    <a16:creationId xmlns:a16="http://schemas.microsoft.com/office/drawing/2014/main" id="{E5260FFA-66E8-2643-AC12-07BA7DB22291}"/>
                  </a:ext>
                </a:extLst>
              </p:cNvPr>
              <p:cNvSpPr/>
              <p:nvPr/>
            </p:nvSpPr>
            <p:spPr>
              <a:xfrm>
                <a:off x="5694802" y="6059125"/>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5" name="Freeform: Shape 213">
                <a:extLst>
                  <a:ext uri="{FF2B5EF4-FFF2-40B4-BE49-F238E27FC236}">
                    <a16:creationId xmlns:a16="http://schemas.microsoft.com/office/drawing/2014/main" id="{F270AAC8-CD83-9E47-BB58-93A30AAA2781}"/>
                  </a:ext>
                </a:extLst>
              </p:cNvPr>
              <p:cNvSpPr/>
              <p:nvPr/>
            </p:nvSpPr>
            <p:spPr>
              <a:xfrm>
                <a:off x="5694659" y="5909898"/>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6" name="Freeform: Shape 214">
                <a:extLst>
                  <a:ext uri="{FF2B5EF4-FFF2-40B4-BE49-F238E27FC236}">
                    <a16:creationId xmlns:a16="http://schemas.microsoft.com/office/drawing/2014/main" id="{4A4BF91E-52A4-0940-9953-50A2EE5B1ADE}"/>
                  </a:ext>
                </a:extLst>
              </p:cNvPr>
              <p:cNvSpPr/>
              <p:nvPr/>
            </p:nvSpPr>
            <p:spPr>
              <a:xfrm>
                <a:off x="5458577" y="5911472"/>
                <a:ext cx="42922" cy="42922"/>
              </a:xfrm>
              <a:custGeom>
                <a:avLst/>
                <a:gdLst>
                  <a:gd name="connsiteX0" fmla="*/ 22900 w 42922"/>
                  <a:gd name="connsiteY0" fmla="*/ 10731 h 42922"/>
                  <a:gd name="connsiteX1" fmla="*/ 10739 w 42922"/>
                  <a:gd name="connsiteY1" fmla="*/ 22892 h 42922"/>
                  <a:gd name="connsiteX2" fmla="*/ 22034 w 42922"/>
                  <a:gd name="connsiteY2" fmla="*/ 35045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8"/>
                      <a:pt x="15559" y="34809"/>
                      <a:pt x="22034" y="35045"/>
                    </a:cubicBezTo>
                    <a:cubicBezTo>
                      <a:pt x="22179" y="35051"/>
                      <a:pt x="22325" y="35053"/>
                      <a:pt x="22471" y="35053"/>
                    </a:cubicBezTo>
                    <a:lnTo>
                      <a:pt x="22471" y="35053"/>
                    </a:lnTo>
                    <a:cubicBezTo>
                      <a:pt x="29187" y="35053"/>
                      <a:pt x="34632" y="29608"/>
                      <a:pt x="34632" y="22892"/>
                    </a:cubicBezTo>
                    <a:cubicBezTo>
                      <a:pt x="34632" y="16176"/>
                      <a:pt x="29187" y="10731"/>
                      <a:pt x="2247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7" name="Freeform: Shape 215">
                <a:extLst>
                  <a:ext uri="{FF2B5EF4-FFF2-40B4-BE49-F238E27FC236}">
                    <a16:creationId xmlns:a16="http://schemas.microsoft.com/office/drawing/2014/main" id="{66C9AF52-AACB-BC43-ABEA-D3DAEC4127A5}"/>
                  </a:ext>
                </a:extLst>
              </p:cNvPr>
              <p:cNvSpPr/>
              <p:nvPr/>
            </p:nvSpPr>
            <p:spPr>
              <a:xfrm>
                <a:off x="5458585" y="5811749"/>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7"/>
                      <a:pt x="34841" y="23009"/>
                    </a:cubicBezTo>
                    <a:cubicBezTo>
                      <a:pt x="34495" y="17046"/>
                      <a:pt x="30177" y="12064"/>
                      <a:pt x="24324" y="1087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8" name="Freeform: Shape 216">
                <a:extLst>
                  <a:ext uri="{FF2B5EF4-FFF2-40B4-BE49-F238E27FC236}">
                    <a16:creationId xmlns:a16="http://schemas.microsoft.com/office/drawing/2014/main" id="{D9B9992A-945D-B14C-8AD5-0F490D5CA7B2}"/>
                  </a:ext>
                </a:extLst>
              </p:cNvPr>
              <p:cNvSpPr/>
              <p:nvPr/>
            </p:nvSpPr>
            <p:spPr>
              <a:xfrm>
                <a:off x="5457726" y="6011195"/>
                <a:ext cx="42922" cy="42922"/>
              </a:xfrm>
              <a:custGeom>
                <a:avLst/>
                <a:gdLst>
                  <a:gd name="connsiteX0" fmla="*/ 22893 w 42922"/>
                  <a:gd name="connsiteY0" fmla="*/ 35339 h 42922"/>
                  <a:gd name="connsiteX1" fmla="*/ 35339 w 42922"/>
                  <a:gd name="connsiteY1" fmla="*/ 23178 h 42922"/>
                  <a:gd name="connsiteX2" fmla="*/ 23178 w 42922"/>
                  <a:gd name="connsiteY2" fmla="*/ 10731 h 42922"/>
                  <a:gd name="connsiteX3" fmla="*/ 10732 w 42922"/>
                  <a:gd name="connsiteY3" fmla="*/ 22893 h 42922"/>
                  <a:gd name="connsiteX4" fmla="*/ 10732 w 42922"/>
                  <a:gd name="connsiteY4" fmla="*/ 23178 h 42922"/>
                  <a:gd name="connsiteX5" fmla="*/ 22893 w 42922"/>
                  <a:gd name="connsiteY5" fmla="*/ 353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3" y="35339"/>
                    </a:moveTo>
                    <a:cubicBezTo>
                      <a:pt x="29688" y="35418"/>
                      <a:pt x="35260" y="29972"/>
                      <a:pt x="35339" y="23178"/>
                    </a:cubicBezTo>
                    <a:cubicBezTo>
                      <a:pt x="35418" y="16383"/>
                      <a:pt x="29972" y="10810"/>
                      <a:pt x="23178" y="10731"/>
                    </a:cubicBezTo>
                    <a:cubicBezTo>
                      <a:pt x="16383" y="10653"/>
                      <a:pt x="10810" y="16098"/>
                      <a:pt x="10732" y="22893"/>
                    </a:cubicBezTo>
                    <a:cubicBezTo>
                      <a:pt x="10730" y="22987"/>
                      <a:pt x="10730" y="23083"/>
                      <a:pt x="10732" y="23178"/>
                    </a:cubicBezTo>
                    <a:cubicBezTo>
                      <a:pt x="10809" y="29862"/>
                      <a:pt x="16209" y="35262"/>
                      <a:pt x="22893" y="353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39" name="Freeform: Shape 217">
                <a:extLst>
                  <a:ext uri="{FF2B5EF4-FFF2-40B4-BE49-F238E27FC236}">
                    <a16:creationId xmlns:a16="http://schemas.microsoft.com/office/drawing/2014/main" id="{62605019-1A7A-2F42-A725-6FF5C7992AE0}"/>
                  </a:ext>
                </a:extLst>
              </p:cNvPr>
              <p:cNvSpPr/>
              <p:nvPr/>
            </p:nvSpPr>
            <p:spPr>
              <a:xfrm>
                <a:off x="5457727" y="6256711"/>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0" name="Freeform: Shape 218">
                <a:extLst>
                  <a:ext uri="{FF2B5EF4-FFF2-40B4-BE49-F238E27FC236}">
                    <a16:creationId xmlns:a16="http://schemas.microsoft.com/office/drawing/2014/main" id="{57810419-6BCB-E643-B6EB-022B16A6B51C}"/>
                  </a:ext>
                </a:extLst>
              </p:cNvPr>
              <p:cNvSpPr/>
              <p:nvPr/>
            </p:nvSpPr>
            <p:spPr>
              <a:xfrm>
                <a:off x="5222226" y="6159993"/>
                <a:ext cx="28615" cy="28615"/>
              </a:xfrm>
              <a:custGeom>
                <a:avLst/>
                <a:gdLst>
                  <a:gd name="connsiteX0" fmla="*/ 20030 w 28614"/>
                  <a:gd name="connsiteY0" fmla="*/ 29330 h 28614"/>
                  <a:gd name="connsiteX1" fmla="*/ 29473 w 28614"/>
                  <a:gd name="connsiteY1" fmla="*/ 20173 h 28614"/>
                  <a:gd name="connsiteX2" fmla="*/ 20030 w 28614"/>
                  <a:gd name="connsiteY2" fmla="*/ 10731 h 28614"/>
                  <a:gd name="connsiteX3" fmla="*/ 10731 w 28614"/>
                  <a:gd name="connsiteY3" fmla="*/ 20173 h 28614"/>
                  <a:gd name="connsiteX4" fmla="*/ 20030 w 28614"/>
                  <a:gd name="connsiteY4" fmla="*/ 2933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29330"/>
                    </a:moveTo>
                    <a:cubicBezTo>
                      <a:pt x="25135" y="29333"/>
                      <a:pt x="29319" y="25277"/>
                      <a:pt x="29473" y="20173"/>
                    </a:cubicBezTo>
                    <a:cubicBezTo>
                      <a:pt x="29325" y="15021"/>
                      <a:pt x="25183" y="10879"/>
                      <a:pt x="20030" y="10731"/>
                    </a:cubicBezTo>
                    <a:cubicBezTo>
                      <a:pt x="14871" y="10809"/>
                      <a:pt x="10731" y="15014"/>
                      <a:pt x="10731" y="20173"/>
                    </a:cubicBezTo>
                    <a:cubicBezTo>
                      <a:pt x="10809" y="25254"/>
                      <a:pt x="14950" y="29330"/>
                      <a:pt x="20030"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1" name="Freeform: Shape 219">
                <a:extLst>
                  <a:ext uri="{FF2B5EF4-FFF2-40B4-BE49-F238E27FC236}">
                    <a16:creationId xmlns:a16="http://schemas.microsoft.com/office/drawing/2014/main" id="{97C57260-0FF0-A244-878A-46C4BE3A9D79}"/>
                  </a:ext>
                </a:extLst>
              </p:cNvPr>
              <p:cNvSpPr/>
              <p:nvPr/>
            </p:nvSpPr>
            <p:spPr>
              <a:xfrm>
                <a:off x="6013467" y="6158027"/>
                <a:ext cx="42922" cy="28615"/>
              </a:xfrm>
              <a:custGeom>
                <a:avLst/>
                <a:gdLst>
                  <a:gd name="connsiteX0" fmla="*/ 18133 w 42922"/>
                  <a:gd name="connsiteY0" fmla="*/ 30724 h 28614"/>
                  <a:gd name="connsiteX1" fmla="*/ 23713 w 42922"/>
                  <a:gd name="connsiteY1" fmla="*/ 30724 h 28614"/>
                  <a:gd name="connsiteX2" fmla="*/ 33871 w 42922"/>
                  <a:gd name="connsiteY2" fmla="*/ 20852 h 28614"/>
                  <a:gd name="connsiteX3" fmla="*/ 23713 w 42922"/>
                  <a:gd name="connsiteY3" fmla="*/ 11123 h 28614"/>
                  <a:gd name="connsiteX4" fmla="*/ 11123 w 42922"/>
                  <a:gd name="connsiteY4" fmla="*/ 18133 h 28614"/>
                  <a:gd name="connsiteX5" fmla="*/ 18133 w 42922"/>
                  <a:gd name="connsiteY5" fmla="*/ 3072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18133" y="30724"/>
                    </a:moveTo>
                    <a:cubicBezTo>
                      <a:pt x="19949" y="31295"/>
                      <a:pt x="21898" y="31295"/>
                      <a:pt x="23713" y="30724"/>
                    </a:cubicBezTo>
                    <a:cubicBezTo>
                      <a:pt x="29183" y="30652"/>
                      <a:pt x="33644" y="26317"/>
                      <a:pt x="33871" y="20852"/>
                    </a:cubicBezTo>
                    <a:cubicBezTo>
                      <a:pt x="33641" y="15409"/>
                      <a:pt x="29160" y="11118"/>
                      <a:pt x="23713" y="11123"/>
                    </a:cubicBezTo>
                    <a:cubicBezTo>
                      <a:pt x="18301" y="9582"/>
                      <a:pt x="12664" y="12721"/>
                      <a:pt x="11123" y="18133"/>
                    </a:cubicBezTo>
                    <a:cubicBezTo>
                      <a:pt x="9582" y="23546"/>
                      <a:pt x="12721" y="29183"/>
                      <a:pt x="18133" y="3072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2" name="Freeform: Shape 220">
                <a:extLst>
                  <a:ext uri="{FF2B5EF4-FFF2-40B4-BE49-F238E27FC236}">
                    <a16:creationId xmlns:a16="http://schemas.microsoft.com/office/drawing/2014/main" id="{F1A414E4-3A33-1C4A-9990-69FCFB360289}"/>
                  </a:ext>
                </a:extLst>
              </p:cNvPr>
              <p:cNvSpPr/>
              <p:nvPr/>
            </p:nvSpPr>
            <p:spPr>
              <a:xfrm>
                <a:off x="5614680" y="6203487"/>
                <a:ext cx="42922" cy="42922"/>
              </a:xfrm>
              <a:custGeom>
                <a:avLst/>
                <a:gdLst>
                  <a:gd name="connsiteX0" fmla="*/ 25753 w 42922"/>
                  <a:gd name="connsiteY0" fmla="*/ 39346 h 42922"/>
                  <a:gd name="connsiteX1" fmla="*/ 40061 w 42922"/>
                  <a:gd name="connsiteY1" fmla="*/ 25038 h 42922"/>
                  <a:gd name="connsiteX2" fmla="*/ 25753 w 42922"/>
                  <a:gd name="connsiteY2" fmla="*/ 10731 h 42922"/>
                  <a:gd name="connsiteX3" fmla="*/ 11446 w 42922"/>
                  <a:gd name="connsiteY3" fmla="*/ 25038 h 42922"/>
                  <a:gd name="connsiteX4" fmla="*/ 10731 w 42922"/>
                  <a:gd name="connsiteY4" fmla="*/ 26040 h 42922"/>
                  <a:gd name="connsiteX5" fmla="*/ 25753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753" y="39346"/>
                    </a:moveTo>
                    <a:cubicBezTo>
                      <a:pt x="33655" y="39346"/>
                      <a:pt x="40061" y="32940"/>
                      <a:pt x="40061" y="25038"/>
                    </a:cubicBezTo>
                    <a:cubicBezTo>
                      <a:pt x="40061" y="17136"/>
                      <a:pt x="33655" y="10731"/>
                      <a:pt x="25753" y="10731"/>
                    </a:cubicBezTo>
                    <a:cubicBezTo>
                      <a:pt x="17851" y="10731"/>
                      <a:pt x="11446" y="17136"/>
                      <a:pt x="11446" y="25038"/>
                    </a:cubicBezTo>
                    <a:lnTo>
                      <a:pt x="10731" y="26040"/>
                    </a:lnTo>
                    <a:cubicBezTo>
                      <a:pt x="11267" y="33831"/>
                      <a:pt x="17953" y="39755"/>
                      <a:pt x="25753"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3" name="Freeform: Shape 221">
                <a:extLst>
                  <a:ext uri="{FF2B5EF4-FFF2-40B4-BE49-F238E27FC236}">
                    <a16:creationId xmlns:a16="http://schemas.microsoft.com/office/drawing/2014/main" id="{CEB5B0D1-48CD-BA44-A194-B69C2A0672CC}"/>
                  </a:ext>
                </a:extLst>
              </p:cNvPr>
              <p:cNvSpPr/>
              <p:nvPr/>
            </p:nvSpPr>
            <p:spPr>
              <a:xfrm>
                <a:off x="5614537" y="6154126"/>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4" name="Freeform: Shape 222">
                <a:extLst>
                  <a:ext uri="{FF2B5EF4-FFF2-40B4-BE49-F238E27FC236}">
                    <a16:creationId xmlns:a16="http://schemas.microsoft.com/office/drawing/2014/main" id="{443D43D7-05DF-094E-8B4D-1AFD4D29C8F7}"/>
                  </a:ext>
                </a:extLst>
              </p:cNvPr>
              <p:cNvSpPr/>
              <p:nvPr/>
            </p:nvSpPr>
            <p:spPr>
              <a:xfrm>
                <a:off x="5614951" y="6105767"/>
                <a:ext cx="42922" cy="42922"/>
              </a:xfrm>
              <a:custGeom>
                <a:avLst/>
                <a:gdLst>
                  <a:gd name="connsiteX0" fmla="*/ 23480 w 42922"/>
                  <a:gd name="connsiteY0" fmla="*/ 38916 h 42922"/>
                  <a:gd name="connsiteX1" fmla="*/ 38645 w 42922"/>
                  <a:gd name="connsiteY1" fmla="*/ 26040 h 42922"/>
                  <a:gd name="connsiteX2" fmla="*/ 25769 w 42922"/>
                  <a:gd name="connsiteY2" fmla="*/ 10731 h 42922"/>
                  <a:gd name="connsiteX3" fmla="*/ 25769 w 42922"/>
                  <a:gd name="connsiteY3" fmla="*/ 10731 h 42922"/>
                  <a:gd name="connsiteX4" fmla="*/ 11461 w 42922"/>
                  <a:gd name="connsiteY4" fmla="*/ 25038 h 42922"/>
                  <a:gd name="connsiteX5" fmla="*/ 10746 w 42922"/>
                  <a:gd name="connsiteY5" fmla="*/ 24037 h 42922"/>
                  <a:gd name="connsiteX6" fmla="*/ 23480 w 42922"/>
                  <a:gd name="connsiteY6" fmla="*/ 3891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3480" y="38916"/>
                    </a:moveTo>
                    <a:cubicBezTo>
                      <a:pt x="31180" y="39417"/>
                      <a:pt x="37890" y="33720"/>
                      <a:pt x="38645" y="26040"/>
                    </a:cubicBezTo>
                    <a:cubicBezTo>
                      <a:pt x="39226" y="18285"/>
                      <a:pt x="33508" y="11486"/>
                      <a:pt x="25769" y="10731"/>
                    </a:cubicBezTo>
                    <a:lnTo>
                      <a:pt x="25769" y="10731"/>
                    </a:lnTo>
                    <a:cubicBezTo>
                      <a:pt x="17867" y="10731"/>
                      <a:pt x="11461" y="17136"/>
                      <a:pt x="11461" y="25038"/>
                    </a:cubicBezTo>
                    <a:lnTo>
                      <a:pt x="10746" y="24037"/>
                    </a:lnTo>
                    <a:cubicBezTo>
                      <a:pt x="10400" y="31579"/>
                      <a:pt x="15974" y="38094"/>
                      <a:pt x="23480" y="389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5" name="Freeform: Shape 223">
                <a:extLst>
                  <a:ext uri="{FF2B5EF4-FFF2-40B4-BE49-F238E27FC236}">
                    <a16:creationId xmlns:a16="http://schemas.microsoft.com/office/drawing/2014/main" id="{FCB75615-9CC3-0A43-9F25-9B8D8ECD6F2B}"/>
                  </a:ext>
                </a:extLst>
              </p:cNvPr>
              <p:cNvSpPr/>
              <p:nvPr/>
            </p:nvSpPr>
            <p:spPr>
              <a:xfrm>
                <a:off x="5614537" y="6253564"/>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10731 w 42922"/>
                  <a:gd name="connsiteY3" fmla="*/ 25038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cubicBezTo>
                      <a:pt x="17136" y="10731"/>
                      <a:pt x="10731" y="17136"/>
                      <a:pt x="10731" y="25038"/>
                    </a:cubicBezTo>
                    <a:lnTo>
                      <a:pt x="10731" y="25038"/>
                    </a:ln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6" name="Freeform: Shape 224">
                <a:extLst>
                  <a:ext uri="{FF2B5EF4-FFF2-40B4-BE49-F238E27FC236}">
                    <a16:creationId xmlns:a16="http://schemas.microsoft.com/office/drawing/2014/main" id="{995C7232-0A80-5848-914E-30B188889B45}"/>
                  </a:ext>
                </a:extLst>
              </p:cNvPr>
              <p:cNvSpPr/>
              <p:nvPr/>
            </p:nvSpPr>
            <p:spPr>
              <a:xfrm>
                <a:off x="5379322" y="6258229"/>
                <a:ext cx="28615" cy="28615"/>
              </a:xfrm>
              <a:custGeom>
                <a:avLst/>
                <a:gdLst>
                  <a:gd name="connsiteX0" fmla="*/ 23464 w 28614"/>
                  <a:gd name="connsiteY0" fmla="*/ 30387 h 28614"/>
                  <a:gd name="connsiteX1" fmla="*/ 30385 w 28614"/>
                  <a:gd name="connsiteY1" fmla="*/ 18030 h 28614"/>
                  <a:gd name="connsiteX2" fmla="*/ 18026 w 28614"/>
                  <a:gd name="connsiteY2" fmla="*/ 11110 h 28614"/>
                  <a:gd name="connsiteX3" fmla="*/ 10731 w 28614"/>
                  <a:gd name="connsiteY3" fmla="*/ 20658 h 28614"/>
                  <a:gd name="connsiteX4" fmla="*/ 23407 w 28614"/>
                  <a:gd name="connsiteY4" fmla="*/ 30395 h 28614"/>
                  <a:gd name="connsiteX5" fmla="*/ 23464 w 28614"/>
                  <a:gd name="connsiteY5" fmla="*/ 3038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464" y="30387"/>
                    </a:moveTo>
                    <a:cubicBezTo>
                      <a:pt x="28788" y="28885"/>
                      <a:pt x="31886" y="23352"/>
                      <a:pt x="30385" y="18030"/>
                    </a:cubicBezTo>
                    <a:cubicBezTo>
                      <a:pt x="28883" y="12706"/>
                      <a:pt x="23350" y="9607"/>
                      <a:pt x="18026" y="11110"/>
                    </a:cubicBezTo>
                    <a:cubicBezTo>
                      <a:pt x="13742" y="12317"/>
                      <a:pt x="10771" y="16207"/>
                      <a:pt x="10731" y="20658"/>
                    </a:cubicBezTo>
                    <a:cubicBezTo>
                      <a:pt x="11543" y="26848"/>
                      <a:pt x="17218" y="31207"/>
                      <a:pt x="23407" y="30395"/>
                    </a:cubicBezTo>
                    <a:cubicBezTo>
                      <a:pt x="23427" y="30392"/>
                      <a:pt x="23446" y="30390"/>
                      <a:pt x="23464" y="303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7" name="Freeform: Shape 225">
                <a:extLst>
                  <a:ext uri="{FF2B5EF4-FFF2-40B4-BE49-F238E27FC236}">
                    <a16:creationId xmlns:a16="http://schemas.microsoft.com/office/drawing/2014/main" id="{FB805D2B-1DD9-7648-87D9-45FA645D328A}"/>
                  </a:ext>
                </a:extLst>
              </p:cNvPr>
              <p:cNvSpPr/>
              <p:nvPr/>
            </p:nvSpPr>
            <p:spPr>
              <a:xfrm>
                <a:off x="5379322" y="6158420"/>
                <a:ext cx="42922" cy="28615"/>
              </a:xfrm>
              <a:custGeom>
                <a:avLst/>
                <a:gdLst>
                  <a:gd name="connsiteX0" fmla="*/ 23464 w 42922"/>
                  <a:gd name="connsiteY0" fmla="*/ 30760 h 28614"/>
                  <a:gd name="connsiteX1" fmla="*/ 33374 w 42922"/>
                  <a:gd name="connsiteY1" fmla="*/ 20639 h 28614"/>
                  <a:gd name="connsiteX2" fmla="*/ 23253 w 42922"/>
                  <a:gd name="connsiteY2" fmla="*/ 10731 h 28614"/>
                  <a:gd name="connsiteX3" fmla="*/ 20460 w 42922"/>
                  <a:gd name="connsiteY3" fmla="*/ 11159 h 28614"/>
                  <a:gd name="connsiteX4" fmla="*/ 10731 w 42922"/>
                  <a:gd name="connsiteY4" fmla="*/ 20888 h 28614"/>
                  <a:gd name="connsiteX5" fmla="*/ 23284 w 42922"/>
                  <a:gd name="connsiteY5" fmla="*/ 30783 h 28614"/>
                  <a:gd name="connsiteX6" fmla="*/ 23464 w 42922"/>
                  <a:gd name="connsiteY6" fmla="*/ 3076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28614">
                    <a:moveTo>
                      <a:pt x="23464" y="30760"/>
                    </a:moveTo>
                    <a:cubicBezTo>
                      <a:pt x="28996" y="30702"/>
                      <a:pt x="33431" y="26170"/>
                      <a:pt x="33374" y="20639"/>
                    </a:cubicBezTo>
                    <a:cubicBezTo>
                      <a:pt x="33315" y="15109"/>
                      <a:pt x="28784" y="10673"/>
                      <a:pt x="23253" y="10731"/>
                    </a:cubicBezTo>
                    <a:cubicBezTo>
                      <a:pt x="22305" y="10741"/>
                      <a:pt x="21365" y="10884"/>
                      <a:pt x="20460" y="11159"/>
                    </a:cubicBezTo>
                    <a:cubicBezTo>
                      <a:pt x="15342" y="11730"/>
                      <a:pt x="11301" y="15769"/>
                      <a:pt x="10731" y="20888"/>
                    </a:cubicBezTo>
                    <a:cubicBezTo>
                      <a:pt x="11465" y="27088"/>
                      <a:pt x="17086" y="31517"/>
                      <a:pt x="23284" y="30783"/>
                    </a:cubicBezTo>
                    <a:cubicBezTo>
                      <a:pt x="23344" y="30776"/>
                      <a:pt x="23404" y="30769"/>
                      <a:pt x="23464" y="3076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8" name="Freeform: Shape 226">
                <a:extLst>
                  <a:ext uri="{FF2B5EF4-FFF2-40B4-BE49-F238E27FC236}">
                    <a16:creationId xmlns:a16="http://schemas.microsoft.com/office/drawing/2014/main" id="{66720BE1-B927-F043-BFD7-37F0D60DA0A7}"/>
                  </a:ext>
                </a:extLst>
              </p:cNvPr>
              <p:cNvSpPr/>
              <p:nvPr/>
            </p:nvSpPr>
            <p:spPr>
              <a:xfrm>
                <a:off x="5223084" y="6208638"/>
                <a:ext cx="28615" cy="28615"/>
              </a:xfrm>
              <a:custGeom>
                <a:avLst/>
                <a:gdLst>
                  <a:gd name="connsiteX0" fmla="*/ 10731 w 28614"/>
                  <a:gd name="connsiteY0" fmla="*/ 19887 h 28614"/>
                  <a:gd name="connsiteX1" fmla="*/ 19887 w 28614"/>
                  <a:gd name="connsiteY1" fmla="*/ 29330 h 28614"/>
                  <a:gd name="connsiteX2" fmla="*/ 29187 w 28614"/>
                  <a:gd name="connsiteY2" fmla="*/ 20030 h 28614"/>
                  <a:gd name="connsiteX3" fmla="*/ 19887 w 28614"/>
                  <a:gd name="connsiteY3" fmla="*/ 10731 h 28614"/>
                  <a:gd name="connsiteX4" fmla="*/ 10731 w 28614"/>
                  <a:gd name="connsiteY4" fmla="*/ 1988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0731" y="19887"/>
                    </a:moveTo>
                    <a:cubicBezTo>
                      <a:pt x="10728" y="24992"/>
                      <a:pt x="14784" y="29176"/>
                      <a:pt x="19887" y="29330"/>
                    </a:cubicBezTo>
                    <a:cubicBezTo>
                      <a:pt x="25024" y="29330"/>
                      <a:pt x="29187" y="25167"/>
                      <a:pt x="29187" y="20030"/>
                    </a:cubicBezTo>
                    <a:cubicBezTo>
                      <a:pt x="29187" y="14894"/>
                      <a:pt x="25024" y="10731"/>
                      <a:pt x="19887" y="10731"/>
                    </a:cubicBezTo>
                    <a:cubicBezTo>
                      <a:pt x="14830" y="10731"/>
                      <a:pt x="10731" y="14830"/>
                      <a:pt x="10731" y="1988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49" name="Freeform: Shape 227">
                <a:extLst>
                  <a:ext uri="{FF2B5EF4-FFF2-40B4-BE49-F238E27FC236}">
                    <a16:creationId xmlns:a16="http://schemas.microsoft.com/office/drawing/2014/main" id="{10E574D1-6148-9B40-8D12-657C0E8A4B17}"/>
                  </a:ext>
                </a:extLst>
              </p:cNvPr>
              <p:cNvSpPr/>
              <p:nvPr/>
            </p:nvSpPr>
            <p:spPr>
              <a:xfrm>
                <a:off x="5536275" y="6155414"/>
                <a:ext cx="42922" cy="42922"/>
              </a:xfrm>
              <a:custGeom>
                <a:avLst/>
                <a:gdLst>
                  <a:gd name="connsiteX0" fmla="*/ 23893 w 42922"/>
                  <a:gd name="connsiteY0" fmla="*/ 37056 h 42922"/>
                  <a:gd name="connsiteX1" fmla="*/ 37056 w 42922"/>
                  <a:gd name="connsiteY1" fmla="*/ 23893 h 42922"/>
                  <a:gd name="connsiteX2" fmla="*/ 23893 w 42922"/>
                  <a:gd name="connsiteY2" fmla="*/ 10731 h 42922"/>
                  <a:gd name="connsiteX3" fmla="*/ 10731 w 42922"/>
                  <a:gd name="connsiteY3" fmla="*/ 23893 h 42922"/>
                  <a:gd name="connsiteX4" fmla="*/ 23893 w 42922"/>
                  <a:gd name="connsiteY4" fmla="*/ 370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37056"/>
                    </a:moveTo>
                    <a:cubicBezTo>
                      <a:pt x="31163" y="37056"/>
                      <a:pt x="37056" y="31163"/>
                      <a:pt x="37056" y="23893"/>
                    </a:cubicBezTo>
                    <a:cubicBezTo>
                      <a:pt x="37056" y="16624"/>
                      <a:pt x="31163" y="10731"/>
                      <a:pt x="23893" y="10731"/>
                    </a:cubicBezTo>
                    <a:cubicBezTo>
                      <a:pt x="16624" y="10731"/>
                      <a:pt x="10731" y="16624"/>
                      <a:pt x="10731" y="23893"/>
                    </a:cubicBezTo>
                    <a:cubicBezTo>
                      <a:pt x="10731" y="31163"/>
                      <a:pt x="16624" y="37056"/>
                      <a:pt x="23893"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0" name="Freeform: Shape 228">
                <a:extLst>
                  <a:ext uri="{FF2B5EF4-FFF2-40B4-BE49-F238E27FC236}">
                    <a16:creationId xmlns:a16="http://schemas.microsoft.com/office/drawing/2014/main" id="{54E2265B-B3A9-5B48-ACC0-1CBCF940212C}"/>
                  </a:ext>
                </a:extLst>
              </p:cNvPr>
              <p:cNvSpPr/>
              <p:nvPr/>
            </p:nvSpPr>
            <p:spPr>
              <a:xfrm>
                <a:off x="5457727" y="6156559"/>
                <a:ext cx="42922" cy="42922"/>
              </a:xfrm>
              <a:custGeom>
                <a:avLst/>
                <a:gdLst>
                  <a:gd name="connsiteX0" fmla="*/ 22892 w 42922"/>
                  <a:gd name="connsiteY0" fmla="*/ 35053 h 42922"/>
                  <a:gd name="connsiteX1" fmla="*/ 35053 w 42922"/>
                  <a:gd name="connsiteY1" fmla="*/ 22892 h 42922"/>
                  <a:gd name="connsiteX2" fmla="*/ 22892 w 42922"/>
                  <a:gd name="connsiteY2" fmla="*/ 10731 h 42922"/>
                  <a:gd name="connsiteX3" fmla="*/ 10731 w 42922"/>
                  <a:gd name="connsiteY3" fmla="*/ 22892 h 42922"/>
                  <a:gd name="connsiteX4" fmla="*/ 22892 w 42922"/>
                  <a:gd name="connsiteY4" fmla="*/ 3505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35053"/>
                    </a:moveTo>
                    <a:cubicBezTo>
                      <a:pt x="29608" y="35053"/>
                      <a:pt x="35053" y="29608"/>
                      <a:pt x="35053" y="22892"/>
                    </a:cubicBezTo>
                    <a:cubicBezTo>
                      <a:pt x="35053" y="16176"/>
                      <a:pt x="29608" y="10731"/>
                      <a:pt x="22892" y="10731"/>
                    </a:cubicBezTo>
                    <a:cubicBezTo>
                      <a:pt x="16176" y="10731"/>
                      <a:pt x="10731" y="16176"/>
                      <a:pt x="10731" y="22892"/>
                    </a:cubicBezTo>
                    <a:cubicBezTo>
                      <a:pt x="10731" y="29608"/>
                      <a:pt x="16176" y="35053"/>
                      <a:pt x="22892" y="35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1" name="Freeform: Shape 229">
                <a:extLst>
                  <a:ext uri="{FF2B5EF4-FFF2-40B4-BE49-F238E27FC236}">
                    <a16:creationId xmlns:a16="http://schemas.microsoft.com/office/drawing/2014/main" id="{CE83C81A-761A-9A4A-A4C4-0A12140A68AA}"/>
                  </a:ext>
                </a:extLst>
              </p:cNvPr>
              <p:cNvSpPr/>
              <p:nvPr/>
            </p:nvSpPr>
            <p:spPr>
              <a:xfrm>
                <a:off x="5536274" y="6254708"/>
                <a:ext cx="42922" cy="42922"/>
              </a:xfrm>
              <a:custGeom>
                <a:avLst/>
                <a:gdLst>
                  <a:gd name="connsiteX0" fmla="*/ 23895 w 42922"/>
                  <a:gd name="connsiteY0" fmla="*/ 37056 h 42922"/>
                  <a:gd name="connsiteX1" fmla="*/ 37056 w 42922"/>
                  <a:gd name="connsiteY1" fmla="*/ 23892 h 42922"/>
                  <a:gd name="connsiteX2" fmla="*/ 23893 w 42922"/>
                  <a:gd name="connsiteY2" fmla="*/ 10731 h 42922"/>
                  <a:gd name="connsiteX3" fmla="*/ 10731 w 42922"/>
                  <a:gd name="connsiteY3" fmla="*/ 23895 h 42922"/>
                  <a:gd name="connsiteX4" fmla="*/ 10732 w 42922"/>
                  <a:gd name="connsiteY4" fmla="*/ 24036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2"/>
                    </a:cubicBezTo>
                    <a:cubicBezTo>
                      <a:pt x="37056" y="16622"/>
                      <a:pt x="31163" y="10731"/>
                      <a:pt x="23893" y="10731"/>
                    </a:cubicBezTo>
                    <a:cubicBezTo>
                      <a:pt x="16624" y="10731"/>
                      <a:pt x="10731" y="16625"/>
                      <a:pt x="10731" y="23895"/>
                    </a:cubicBezTo>
                    <a:cubicBezTo>
                      <a:pt x="10731" y="23942"/>
                      <a:pt x="10732" y="23989"/>
                      <a:pt x="10732" y="24036"/>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2" name="Freeform: Shape 230">
                <a:extLst>
                  <a:ext uri="{FF2B5EF4-FFF2-40B4-BE49-F238E27FC236}">
                    <a16:creationId xmlns:a16="http://schemas.microsoft.com/office/drawing/2014/main" id="{B94AEAB5-BB01-F141-A89E-C48B4E10C408}"/>
                  </a:ext>
                </a:extLst>
              </p:cNvPr>
              <p:cNvSpPr/>
              <p:nvPr/>
            </p:nvSpPr>
            <p:spPr>
              <a:xfrm>
                <a:off x="6037037" y="6167862"/>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3" name="Freeform: Shape 231">
                <a:extLst>
                  <a:ext uri="{FF2B5EF4-FFF2-40B4-BE49-F238E27FC236}">
                    <a16:creationId xmlns:a16="http://schemas.microsoft.com/office/drawing/2014/main" id="{03C043FA-6CF1-8941-83F5-9EF96B467202}"/>
                  </a:ext>
                </a:extLst>
              </p:cNvPr>
              <p:cNvSpPr/>
              <p:nvPr/>
            </p:nvSpPr>
            <p:spPr>
              <a:xfrm>
                <a:off x="6015719" y="6107769"/>
                <a:ext cx="28615" cy="28615"/>
              </a:xfrm>
              <a:custGeom>
                <a:avLst/>
                <a:gdLst>
                  <a:gd name="connsiteX0" fmla="*/ 21032 w 28614"/>
                  <a:gd name="connsiteY0" fmla="*/ 10732 h 28614"/>
                  <a:gd name="connsiteX1" fmla="*/ 10731 w 28614"/>
                  <a:gd name="connsiteY1" fmla="*/ 20745 h 28614"/>
                  <a:gd name="connsiteX2" fmla="*/ 10731 w 28614"/>
                  <a:gd name="connsiteY2" fmla="*/ 20747 h 28614"/>
                  <a:gd name="connsiteX3" fmla="*/ 10731 w 28614"/>
                  <a:gd name="connsiteY3" fmla="*/ 20747 h 28614"/>
                  <a:gd name="connsiteX4" fmla="*/ 21032 w 28614"/>
                  <a:gd name="connsiteY4" fmla="*/ 31191 h 28614"/>
                  <a:gd name="connsiteX5" fmla="*/ 31332 w 28614"/>
                  <a:gd name="connsiteY5" fmla="*/ 21178 h 28614"/>
                  <a:gd name="connsiteX6" fmla="*/ 31333 w 28614"/>
                  <a:gd name="connsiteY6" fmla="*/ 21033 h 28614"/>
                  <a:gd name="connsiteX7" fmla="*/ 31333 w 28614"/>
                  <a:gd name="connsiteY7" fmla="*/ 21033 h 28614"/>
                  <a:gd name="connsiteX8" fmla="*/ 21320 w 28614"/>
                  <a:gd name="connsiteY8" fmla="*/ 10732 h 28614"/>
                  <a:gd name="connsiteX9" fmla="*/ 21032 w 28614"/>
                  <a:gd name="connsiteY9"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1032" y="10732"/>
                    </a:moveTo>
                    <a:cubicBezTo>
                      <a:pt x="15422" y="10652"/>
                      <a:pt x="10811" y="15136"/>
                      <a:pt x="10731" y="20745"/>
                    </a:cubicBezTo>
                    <a:cubicBezTo>
                      <a:pt x="10731" y="20745"/>
                      <a:pt x="10731" y="20747"/>
                      <a:pt x="10731" y="20747"/>
                    </a:cubicBezTo>
                    <a:lnTo>
                      <a:pt x="10731" y="20747"/>
                    </a:lnTo>
                    <a:cubicBezTo>
                      <a:pt x="10731" y="26460"/>
                      <a:pt x="15319" y="31113"/>
                      <a:pt x="21032" y="31191"/>
                    </a:cubicBezTo>
                    <a:cubicBezTo>
                      <a:pt x="26642" y="31270"/>
                      <a:pt x="31253" y="26788"/>
                      <a:pt x="31332" y="21178"/>
                    </a:cubicBezTo>
                    <a:cubicBezTo>
                      <a:pt x="31333" y="21129"/>
                      <a:pt x="31333" y="21082"/>
                      <a:pt x="31333" y="21033"/>
                    </a:cubicBezTo>
                    <a:lnTo>
                      <a:pt x="31333" y="21033"/>
                    </a:lnTo>
                    <a:cubicBezTo>
                      <a:pt x="31414" y="15423"/>
                      <a:pt x="26930" y="10812"/>
                      <a:pt x="21320" y="10732"/>
                    </a:cubicBezTo>
                    <a:cubicBezTo>
                      <a:pt x="21224" y="10730"/>
                      <a:pt x="21128" y="10730"/>
                      <a:pt x="2103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4" name="Freeform: Shape 232">
                <a:extLst>
                  <a:ext uri="{FF2B5EF4-FFF2-40B4-BE49-F238E27FC236}">
                    <a16:creationId xmlns:a16="http://schemas.microsoft.com/office/drawing/2014/main" id="{442E2EEF-0212-7C40-A9E7-9EF46B5A20FD}"/>
                  </a:ext>
                </a:extLst>
              </p:cNvPr>
              <p:cNvSpPr/>
              <p:nvPr/>
            </p:nvSpPr>
            <p:spPr>
              <a:xfrm>
                <a:off x="5067314" y="6311365"/>
                <a:ext cx="28615" cy="28615"/>
              </a:xfrm>
              <a:custGeom>
                <a:avLst/>
                <a:gdLst>
                  <a:gd name="connsiteX0" fmla="*/ 16129 w 28614"/>
                  <a:gd name="connsiteY0" fmla="*/ 25325 h 28614"/>
                  <a:gd name="connsiteX1" fmla="*/ 25326 w 28614"/>
                  <a:gd name="connsiteY1" fmla="*/ 20214 h 28614"/>
                  <a:gd name="connsiteX2" fmla="*/ 20216 w 28614"/>
                  <a:gd name="connsiteY2" fmla="*/ 11017 h 28614"/>
                  <a:gd name="connsiteX3" fmla="*/ 16129 w 28614"/>
                  <a:gd name="connsiteY3" fmla="*/ 11017 h 28614"/>
                  <a:gd name="connsiteX4" fmla="*/ 11019 w 28614"/>
                  <a:gd name="connsiteY4" fmla="*/ 20214 h 28614"/>
                  <a:gd name="connsiteX5" fmla="*/ 16129 w 28614"/>
                  <a:gd name="connsiteY5" fmla="*/ 253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6129" y="25325"/>
                    </a:moveTo>
                    <a:cubicBezTo>
                      <a:pt x="20080" y="26454"/>
                      <a:pt x="24198" y="24166"/>
                      <a:pt x="25326" y="20214"/>
                    </a:cubicBezTo>
                    <a:cubicBezTo>
                      <a:pt x="26455" y="16264"/>
                      <a:pt x="24167" y="12146"/>
                      <a:pt x="20216" y="11017"/>
                    </a:cubicBezTo>
                    <a:cubicBezTo>
                      <a:pt x="18880" y="10635"/>
                      <a:pt x="17464" y="10635"/>
                      <a:pt x="16129" y="11017"/>
                    </a:cubicBezTo>
                    <a:cubicBezTo>
                      <a:pt x="12178" y="12146"/>
                      <a:pt x="9890" y="16264"/>
                      <a:pt x="11019" y="20214"/>
                    </a:cubicBezTo>
                    <a:cubicBezTo>
                      <a:pt x="11725" y="22686"/>
                      <a:pt x="13657" y="24618"/>
                      <a:pt x="16129" y="253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5" name="Freeform: Shape 233">
                <a:extLst>
                  <a:ext uri="{FF2B5EF4-FFF2-40B4-BE49-F238E27FC236}">
                    <a16:creationId xmlns:a16="http://schemas.microsoft.com/office/drawing/2014/main" id="{BCC5AD59-6899-3740-B662-3679908C7C80}"/>
                  </a:ext>
                </a:extLst>
              </p:cNvPr>
              <p:cNvSpPr/>
              <p:nvPr/>
            </p:nvSpPr>
            <p:spPr>
              <a:xfrm>
                <a:off x="5935740" y="6356001"/>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6"/>
                      <a:pt x="10731" y="21894"/>
                    </a:cubicBezTo>
                    <a:cubicBezTo>
                      <a:pt x="10729" y="28184"/>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6" name="Freeform: Shape 234">
                <a:extLst>
                  <a:ext uri="{FF2B5EF4-FFF2-40B4-BE49-F238E27FC236}">
                    <a16:creationId xmlns:a16="http://schemas.microsoft.com/office/drawing/2014/main" id="{DC3A02A2-1414-7542-8673-7AB3B4B173F7}"/>
                  </a:ext>
                </a:extLst>
              </p:cNvPr>
              <p:cNvSpPr/>
              <p:nvPr/>
            </p:nvSpPr>
            <p:spPr>
              <a:xfrm>
                <a:off x="5935740" y="6256564"/>
                <a:ext cx="42922" cy="42922"/>
              </a:xfrm>
              <a:custGeom>
                <a:avLst/>
                <a:gdLst>
                  <a:gd name="connsiteX0" fmla="*/ 22320 w 42922"/>
                  <a:gd name="connsiteY0" fmla="*/ 10734 h 42922"/>
                  <a:gd name="connsiteX1" fmla="*/ 10733 w 42922"/>
                  <a:gd name="connsiteY1" fmla="*/ 21747 h 42922"/>
                  <a:gd name="connsiteX2" fmla="*/ 10731 w 42922"/>
                  <a:gd name="connsiteY2" fmla="*/ 21894 h 42922"/>
                  <a:gd name="connsiteX3" fmla="*/ 22033 w 42922"/>
                  <a:gd name="connsiteY3" fmla="*/ 33483 h 42922"/>
                  <a:gd name="connsiteX4" fmla="*/ 22033 w 42922"/>
                  <a:gd name="connsiteY4" fmla="*/ 33483 h 42922"/>
                  <a:gd name="connsiteX5" fmla="*/ 32130 w 42922"/>
                  <a:gd name="connsiteY5" fmla="*/ 20831 h 42922"/>
                  <a:gd name="connsiteX6" fmla="*/ 22033 w 42922"/>
                  <a:gd name="connsiteY6"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20" y="10734"/>
                    </a:moveTo>
                    <a:cubicBezTo>
                      <a:pt x="16079" y="10576"/>
                      <a:pt x="10892" y="15506"/>
                      <a:pt x="10733" y="21747"/>
                    </a:cubicBezTo>
                    <a:cubicBezTo>
                      <a:pt x="10732" y="21795"/>
                      <a:pt x="10731" y="21845"/>
                      <a:pt x="10731" y="21894"/>
                    </a:cubicBezTo>
                    <a:cubicBezTo>
                      <a:pt x="10729" y="28185"/>
                      <a:pt x="15745" y="33327"/>
                      <a:pt x="22033" y="33483"/>
                    </a:cubicBezTo>
                    <a:lnTo>
                      <a:pt x="22033" y="33483"/>
                    </a:lnTo>
                    <a:cubicBezTo>
                      <a:pt x="28316" y="32778"/>
                      <a:pt x="32836" y="27114"/>
                      <a:pt x="32130" y="20831"/>
                    </a:cubicBezTo>
                    <a:cubicBezTo>
                      <a:pt x="31534" y="15522"/>
                      <a:pt x="27343" y="11331"/>
                      <a:pt x="22033"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7" name="Freeform: Shape 235">
                <a:extLst>
                  <a:ext uri="{FF2B5EF4-FFF2-40B4-BE49-F238E27FC236}">
                    <a16:creationId xmlns:a16="http://schemas.microsoft.com/office/drawing/2014/main" id="{5EF45E3A-9C07-804E-98B0-88461CFA4716}"/>
                  </a:ext>
                </a:extLst>
              </p:cNvPr>
              <p:cNvSpPr/>
              <p:nvPr/>
            </p:nvSpPr>
            <p:spPr>
              <a:xfrm>
                <a:off x="6013620" y="6307050"/>
                <a:ext cx="42922" cy="28615"/>
              </a:xfrm>
              <a:custGeom>
                <a:avLst/>
                <a:gdLst>
                  <a:gd name="connsiteX0" fmla="*/ 23989 w 42922"/>
                  <a:gd name="connsiteY0" fmla="*/ 11184 h 28614"/>
                  <a:gd name="connsiteX1" fmla="*/ 11184 w 42922"/>
                  <a:gd name="connsiteY1" fmla="*/ 17980 h 28614"/>
                  <a:gd name="connsiteX2" fmla="*/ 17980 w 42922"/>
                  <a:gd name="connsiteY2" fmla="*/ 30785 h 28614"/>
                  <a:gd name="connsiteX3" fmla="*/ 23560 w 42922"/>
                  <a:gd name="connsiteY3" fmla="*/ 30785 h 28614"/>
                  <a:gd name="connsiteX4" fmla="*/ 33718 w 42922"/>
                  <a:gd name="connsiteY4" fmla="*/ 21056 h 28614"/>
                  <a:gd name="connsiteX5" fmla="*/ 23989 w 42922"/>
                  <a:gd name="connsiteY5" fmla="*/ 1118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989" y="11184"/>
                    </a:moveTo>
                    <a:cubicBezTo>
                      <a:pt x="18576" y="9524"/>
                      <a:pt x="12843" y="12567"/>
                      <a:pt x="11184" y="17980"/>
                    </a:cubicBezTo>
                    <a:cubicBezTo>
                      <a:pt x="9524" y="23392"/>
                      <a:pt x="12567" y="29125"/>
                      <a:pt x="17980" y="30785"/>
                    </a:cubicBezTo>
                    <a:cubicBezTo>
                      <a:pt x="19795" y="31356"/>
                      <a:pt x="21744" y="31356"/>
                      <a:pt x="23560" y="30785"/>
                    </a:cubicBezTo>
                    <a:cubicBezTo>
                      <a:pt x="29006" y="30789"/>
                      <a:pt x="33488" y="26497"/>
                      <a:pt x="33718" y="21056"/>
                    </a:cubicBezTo>
                    <a:cubicBezTo>
                      <a:pt x="33505" y="15749"/>
                      <a:pt x="29291" y="11474"/>
                      <a:pt x="23989" y="1118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8" name="Freeform: Shape 236">
                <a:extLst>
                  <a:ext uri="{FF2B5EF4-FFF2-40B4-BE49-F238E27FC236}">
                    <a16:creationId xmlns:a16="http://schemas.microsoft.com/office/drawing/2014/main" id="{9707FD9B-FFFF-4B4A-8F37-04740C2033FF}"/>
                  </a:ext>
                </a:extLst>
              </p:cNvPr>
              <p:cNvSpPr/>
              <p:nvPr/>
            </p:nvSpPr>
            <p:spPr>
              <a:xfrm>
                <a:off x="5854903" y="6105767"/>
                <a:ext cx="42922" cy="42922"/>
              </a:xfrm>
              <a:custGeom>
                <a:avLst/>
                <a:gdLst>
                  <a:gd name="connsiteX0" fmla="*/ 24609 w 42922"/>
                  <a:gd name="connsiteY0" fmla="*/ 10731 h 42922"/>
                  <a:gd name="connsiteX1" fmla="*/ 22892 w 42922"/>
                  <a:gd name="connsiteY1" fmla="*/ 10731 h 42922"/>
                  <a:gd name="connsiteX2" fmla="*/ 10731 w 42922"/>
                  <a:gd name="connsiteY2" fmla="*/ 22892 h 42922"/>
                  <a:gd name="connsiteX3" fmla="*/ 22892 w 42922"/>
                  <a:gd name="connsiteY3" fmla="*/ 35053 h 42922"/>
                  <a:gd name="connsiteX4" fmla="*/ 35045 w 42922"/>
                  <a:gd name="connsiteY4" fmla="*/ 23758 h 42922"/>
                  <a:gd name="connsiteX5" fmla="*/ 35053 w 42922"/>
                  <a:gd name="connsiteY5" fmla="*/ 23321 h 42922"/>
                  <a:gd name="connsiteX6" fmla="*/ 35053 w 42922"/>
                  <a:gd name="connsiteY6" fmla="*/ 23321 h 42922"/>
                  <a:gd name="connsiteX7" fmla="*/ 35912 w 42922"/>
                  <a:gd name="connsiteY7" fmla="*/ 24180 h 42922"/>
                  <a:gd name="connsiteX8" fmla="*/ 25135 w 42922"/>
                  <a:gd name="connsiteY8" fmla="*/ 10776 h 42922"/>
                  <a:gd name="connsiteX9" fmla="*/ 24609 w 42922"/>
                  <a:gd name="connsiteY9"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4609" y="10731"/>
                    </a:moveTo>
                    <a:lnTo>
                      <a:pt x="22892" y="10731"/>
                    </a:lnTo>
                    <a:cubicBezTo>
                      <a:pt x="16176" y="10731"/>
                      <a:pt x="10731" y="16176"/>
                      <a:pt x="10731" y="22892"/>
                    </a:cubicBezTo>
                    <a:cubicBezTo>
                      <a:pt x="10731" y="29608"/>
                      <a:pt x="16176" y="35053"/>
                      <a:pt x="22892" y="35053"/>
                    </a:cubicBezTo>
                    <a:cubicBezTo>
                      <a:pt x="29367" y="35291"/>
                      <a:pt x="34809" y="30233"/>
                      <a:pt x="35045" y="23758"/>
                    </a:cubicBezTo>
                    <a:cubicBezTo>
                      <a:pt x="35050" y="23613"/>
                      <a:pt x="35053" y="23467"/>
                      <a:pt x="35053" y="23321"/>
                    </a:cubicBezTo>
                    <a:lnTo>
                      <a:pt x="35053" y="23321"/>
                    </a:lnTo>
                    <a:lnTo>
                      <a:pt x="35912" y="24180"/>
                    </a:lnTo>
                    <a:cubicBezTo>
                      <a:pt x="36637" y="17502"/>
                      <a:pt x="31813" y="11502"/>
                      <a:pt x="25135" y="10776"/>
                    </a:cubicBezTo>
                    <a:cubicBezTo>
                      <a:pt x="24959" y="10758"/>
                      <a:pt x="24785" y="10742"/>
                      <a:pt x="2460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59" name="Freeform: Shape 237">
                <a:extLst>
                  <a:ext uri="{FF2B5EF4-FFF2-40B4-BE49-F238E27FC236}">
                    <a16:creationId xmlns:a16="http://schemas.microsoft.com/office/drawing/2014/main" id="{20DEA763-7F82-FB49-8ED5-38AF47B9AD6E}"/>
                  </a:ext>
                </a:extLst>
              </p:cNvPr>
              <p:cNvSpPr/>
              <p:nvPr/>
            </p:nvSpPr>
            <p:spPr>
              <a:xfrm>
                <a:off x="5935130" y="6108112"/>
                <a:ext cx="42922" cy="28615"/>
              </a:xfrm>
              <a:custGeom>
                <a:avLst/>
                <a:gdLst>
                  <a:gd name="connsiteX0" fmla="*/ 23645 w 42922"/>
                  <a:gd name="connsiteY0" fmla="*/ 30419 h 28614"/>
                  <a:gd name="connsiteX1" fmla="*/ 33374 w 42922"/>
                  <a:gd name="connsiteY1" fmla="*/ 20547 h 28614"/>
                  <a:gd name="connsiteX2" fmla="*/ 20640 w 42922"/>
                  <a:gd name="connsiteY2" fmla="*/ 10818 h 28614"/>
                  <a:gd name="connsiteX3" fmla="*/ 10731 w 42922"/>
                  <a:gd name="connsiteY3" fmla="*/ 20939 h 28614"/>
                  <a:gd name="connsiteX4" fmla="*/ 20852 w 42922"/>
                  <a:gd name="connsiteY4" fmla="*/ 30847 h 28614"/>
                  <a:gd name="connsiteX5" fmla="*/ 23645 w 42922"/>
                  <a:gd name="connsiteY5" fmla="*/ 3041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3645" y="30419"/>
                    </a:moveTo>
                    <a:cubicBezTo>
                      <a:pt x="28716" y="29644"/>
                      <a:pt x="32673" y="25628"/>
                      <a:pt x="33374" y="20547"/>
                    </a:cubicBezTo>
                    <a:cubicBezTo>
                      <a:pt x="32487" y="14378"/>
                      <a:pt x="26826" y="10054"/>
                      <a:pt x="20640" y="10818"/>
                    </a:cubicBezTo>
                    <a:cubicBezTo>
                      <a:pt x="15109" y="10877"/>
                      <a:pt x="10674" y="15408"/>
                      <a:pt x="10731" y="20939"/>
                    </a:cubicBezTo>
                    <a:cubicBezTo>
                      <a:pt x="10790" y="26469"/>
                      <a:pt x="15321" y="30906"/>
                      <a:pt x="20852" y="30847"/>
                    </a:cubicBezTo>
                    <a:cubicBezTo>
                      <a:pt x="21799" y="30837"/>
                      <a:pt x="22739" y="30694"/>
                      <a:pt x="23645" y="3041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0" name="Freeform: Shape 238">
                <a:extLst>
                  <a:ext uri="{FF2B5EF4-FFF2-40B4-BE49-F238E27FC236}">
                    <a16:creationId xmlns:a16="http://schemas.microsoft.com/office/drawing/2014/main" id="{581CA1DB-3A3E-8C4D-80AB-4CC51371221D}"/>
                  </a:ext>
                </a:extLst>
              </p:cNvPr>
              <p:cNvSpPr/>
              <p:nvPr/>
            </p:nvSpPr>
            <p:spPr>
              <a:xfrm>
                <a:off x="6016577" y="6357150"/>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1" name="Freeform: Shape 239">
                <a:extLst>
                  <a:ext uri="{FF2B5EF4-FFF2-40B4-BE49-F238E27FC236}">
                    <a16:creationId xmlns:a16="http://schemas.microsoft.com/office/drawing/2014/main" id="{6C8F98FC-9379-AC47-B2AC-898CB780030E}"/>
                  </a:ext>
                </a:extLst>
              </p:cNvPr>
              <p:cNvSpPr/>
              <p:nvPr/>
            </p:nvSpPr>
            <p:spPr>
              <a:xfrm>
                <a:off x="5855761" y="615641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2" name="Freeform: Shape 240">
                <a:extLst>
                  <a:ext uri="{FF2B5EF4-FFF2-40B4-BE49-F238E27FC236}">
                    <a16:creationId xmlns:a16="http://schemas.microsoft.com/office/drawing/2014/main" id="{D2E59316-7B25-2840-8B1B-DCC5AF1D43CE}"/>
                  </a:ext>
                </a:extLst>
              </p:cNvPr>
              <p:cNvSpPr/>
              <p:nvPr/>
            </p:nvSpPr>
            <p:spPr>
              <a:xfrm>
                <a:off x="6037037" y="6317804"/>
                <a:ext cx="14307" cy="14307"/>
              </a:xfrm>
              <a:custGeom>
                <a:avLst/>
                <a:gdLst>
                  <a:gd name="connsiteX0" fmla="*/ 10731 w 14307"/>
                  <a:gd name="connsiteY0" fmla="*/ 10731 h 14307"/>
                  <a:gd name="connsiteX1" fmla="*/ 10731 w 14307"/>
                  <a:gd name="connsiteY1" fmla="*/ 10731 h 14307"/>
                </a:gdLst>
                <a:ahLst/>
                <a:cxnLst>
                  <a:cxn ang="0">
                    <a:pos x="connsiteX0" y="connsiteY0"/>
                  </a:cxn>
                  <a:cxn ang="0">
                    <a:pos x="connsiteX1" y="connsiteY1"/>
                  </a:cxn>
                </a:cxnLst>
                <a:rect l="l" t="t" r="r" b="b"/>
                <a:pathLst>
                  <a:path w="14307" h="14307">
                    <a:moveTo>
                      <a:pt x="10731" y="10731"/>
                    </a:moveTo>
                    <a:lnTo>
                      <a:pt x="10731" y="107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3" name="Freeform: Shape 241">
                <a:extLst>
                  <a:ext uri="{FF2B5EF4-FFF2-40B4-BE49-F238E27FC236}">
                    <a16:creationId xmlns:a16="http://schemas.microsoft.com/office/drawing/2014/main" id="{0625C735-3F80-FC4F-B3FC-2ABCCCB8A53A}"/>
                  </a:ext>
                </a:extLst>
              </p:cNvPr>
              <p:cNvSpPr/>
              <p:nvPr/>
            </p:nvSpPr>
            <p:spPr>
              <a:xfrm>
                <a:off x="5935739" y="6156984"/>
                <a:ext cx="42922" cy="42922"/>
              </a:xfrm>
              <a:custGeom>
                <a:avLst/>
                <a:gdLst>
                  <a:gd name="connsiteX0" fmla="*/ 22321 w 42922"/>
                  <a:gd name="connsiteY0" fmla="*/ 10734 h 42922"/>
                  <a:gd name="connsiteX1" fmla="*/ 10734 w 42922"/>
                  <a:gd name="connsiteY1" fmla="*/ 21747 h 42922"/>
                  <a:gd name="connsiteX2" fmla="*/ 10732 w 42922"/>
                  <a:gd name="connsiteY2" fmla="*/ 21894 h 42922"/>
                  <a:gd name="connsiteX3" fmla="*/ 22033 w 42922"/>
                  <a:gd name="connsiteY3" fmla="*/ 33483 h 42922"/>
                  <a:gd name="connsiteX4" fmla="*/ 22034 w 42922"/>
                  <a:gd name="connsiteY4" fmla="*/ 33483 h 42922"/>
                  <a:gd name="connsiteX5" fmla="*/ 22034 w 42922"/>
                  <a:gd name="connsiteY5" fmla="*/ 33483 h 42922"/>
                  <a:gd name="connsiteX6" fmla="*/ 33336 w 42922"/>
                  <a:gd name="connsiteY6" fmla="*/ 22468 h 42922"/>
                  <a:gd name="connsiteX7" fmla="*/ 33337 w 42922"/>
                  <a:gd name="connsiteY7" fmla="*/ 22323 h 42922"/>
                  <a:gd name="connsiteX8" fmla="*/ 22328 w 42922"/>
                  <a:gd name="connsiteY8" fmla="*/ 10734 h 42922"/>
                  <a:gd name="connsiteX9" fmla="*/ 22321 w 42922"/>
                  <a:gd name="connsiteY9" fmla="*/ 1073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22" h="42922">
                    <a:moveTo>
                      <a:pt x="22321" y="10734"/>
                    </a:moveTo>
                    <a:cubicBezTo>
                      <a:pt x="16080" y="10576"/>
                      <a:pt x="10893" y="15506"/>
                      <a:pt x="10734" y="21747"/>
                    </a:cubicBezTo>
                    <a:cubicBezTo>
                      <a:pt x="10733" y="21795"/>
                      <a:pt x="10732" y="21845"/>
                      <a:pt x="10732" y="21894"/>
                    </a:cubicBezTo>
                    <a:cubicBezTo>
                      <a:pt x="10651" y="28215"/>
                      <a:pt x="15712" y="33403"/>
                      <a:pt x="22033" y="33483"/>
                    </a:cubicBezTo>
                    <a:cubicBezTo>
                      <a:pt x="22033" y="33483"/>
                      <a:pt x="22034" y="33483"/>
                      <a:pt x="22034" y="33483"/>
                    </a:cubicBezTo>
                    <a:lnTo>
                      <a:pt x="22034" y="33483"/>
                    </a:lnTo>
                    <a:cubicBezTo>
                      <a:pt x="28197" y="33562"/>
                      <a:pt x="33257" y="28630"/>
                      <a:pt x="33336" y="22468"/>
                    </a:cubicBezTo>
                    <a:cubicBezTo>
                      <a:pt x="33337" y="22419"/>
                      <a:pt x="33337" y="22372"/>
                      <a:pt x="33337" y="22323"/>
                    </a:cubicBezTo>
                    <a:cubicBezTo>
                      <a:pt x="33498" y="16082"/>
                      <a:pt x="28569" y="10895"/>
                      <a:pt x="22328" y="10734"/>
                    </a:cubicBezTo>
                    <a:cubicBezTo>
                      <a:pt x="22325" y="10734"/>
                      <a:pt x="22323" y="10734"/>
                      <a:pt x="22321" y="1073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4" name="Freeform: Shape 242">
                <a:extLst>
                  <a:ext uri="{FF2B5EF4-FFF2-40B4-BE49-F238E27FC236}">
                    <a16:creationId xmlns:a16="http://schemas.microsoft.com/office/drawing/2014/main" id="{0242827A-43F3-5447-95F5-730FBA0F2E5F}"/>
                  </a:ext>
                </a:extLst>
              </p:cNvPr>
              <p:cNvSpPr/>
              <p:nvPr/>
            </p:nvSpPr>
            <p:spPr>
              <a:xfrm>
                <a:off x="5938456" y="6208390"/>
                <a:ext cx="28615" cy="28615"/>
              </a:xfrm>
              <a:custGeom>
                <a:avLst/>
                <a:gdLst>
                  <a:gd name="connsiteX0" fmla="*/ 18030 w 28614"/>
                  <a:gd name="connsiteY0" fmla="*/ 10835 h 28614"/>
                  <a:gd name="connsiteX1" fmla="*/ 11109 w 28614"/>
                  <a:gd name="connsiteY1" fmla="*/ 23193 h 28614"/>
                  <a:gd name="connsiteX2" fmla="*/ 23468 w 28614"/>
                  <a:gd name="connsiteY2" fmla="*/ 30113 h 28614"/>
                  <a:gd name="connsiteX3" fmla="*/ 30763 w 28614"/>
                  <a:gd name="connsiteY3" fmla="*/ 20564 h 28614"/>
                  <a:gd name="connsiteX4" fmla="*/ 18085 w 28614"/>
                  <a:gd name="connsiteY4" fmla="*/ 10828 h 28614"/>
                  <a:gd name="connsiteX5" fmla="*/ 18030 w 28614"/>
                  <a:gd name="connsiteY5" fmla="*/ 108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30" y="10835"/>
                    </a:moveTo>
                    <a:cubicBezTo>
                      <a:pt x="12706" y="12338"/>
                      <a:pt x="9608" y="17870"/>
                      <a:pt x="11109" y="23193"/>
                    </a:cubicBezTo>
                    <a:cubicBezTo>
                      <a:pt x="12611" y="28516"/>
                      <a:pt x="18144" y="31615"/>
                      <a:pt x="23468" y="30113"/>
                    </a:cubicBezTo>
                    <a:cubicBezTo>
                      <a:pt x="27751" y="28906"/>
                      <a:pt x="30723" y="25015"/>
                      <a:pt x="30763" y="20564"/>
                    </a:cubicBezTo>
                    <a:cubicBezTo>
                      <a:pt x="29951" y="14375"/>
                      <a:pt x="24275" y="10015"/>
                      <a:pt x="18085" y="10828"/>
                    </a:cubicBezTo>
                    <a:cubicBezTo>
                      <a:pt x="18067" y="10830"/>
                      <a:pt x="18048" y="10832"/>
                      <a:pt x="18030" y="108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5" name="Freeform: Shape 243">
                <a:extLst>
                  <a:ext uri="{FF2B5EF4-FFF2-40B4-BE49-F238E27FC236}">
                    <a16:creationId xmlns:a16="http://schemas.microsoft.com/office/drawing/2014/main" id="{1BE8CCB2-BCF7-4444-A2B8-60A6A26C885B}"/>
                  </a:ext>
                </a:extLst>
              </p:cNvPr>
              <p:cNvSpPr/>
              <p:nvPr/>
            </p:nvSpPr>
            <p:spPr>
              <a:xfrm>
                <a:off x="5935946" y="6307833"/>
                <a:ext cx="42922" cy="42922"/>
              </a:xfrm>
              <a:custGeom>
                <a:avLst/>
                <a:gdLst>
                  <a:gd name="connsiteX0" fmla="*/ 20540 w 42922"/>
                  <a:gd name="connsiteY0" fmla="*/ 10829 h 42922"/>
                  <a:gd name="connsiteX1" fmla="*/ 10810 w 42922"/>
                  <a:gd name="connsiteY1" fmla="*/ 20702 h 42922"/>
                  <a:gd name="connsiteX2" fmla="*/ 20703 w 42922"/>
                  <a:gd name="connsiteY2" fmla="*/ 33258 h 42922"/>
                  <a:gd name="connsiteX3" fmla="*/ 33259 w 42922"/>
                  <a:gd name="connsiteY3" fmla="*/ 23364 h 42922"/>
                  <a:gd name="connsiteX4" fmla="*/ 23367 w 42922"/>
                  <a:gd name="connsiteY4" fmla="*/ 10809 h 42922"/>
                  <a:gd name="connsiteX5" fmla="*/ 20540 w 42922"/>
                  <a:gd name="connsiteY5" fmla="*/ 1082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0540" y="10829"/>
                    </a:moveTo>
                    <a:cubicBezTo>
                      <a:pt x="15446" y="11559"/>
                      <a:pt x="11466" y="15598"/>
                      <a:pt x="10810" y="20702"/>
                    </a:cubicBezTo>
                    <a:cubicBezTo>
                      <a:pt x="10075" y="26901"/>
                      <a:pt x="14505" y="32523"/>
                      <a:pt x="20703" y="33258"/>
                    </a:cubicBezTo>
                    <a:cubicBezTo>
                      <a:pt x="26902" y="33992"/>
                      <a:pt x="32523" y="29564"/>
                      <a:pt x="33259" y="23364"/>
                    </a:cubicBezTo>
                    <a:cubicBezTo>
                      <a:pt x="33994" y="17165"/>
                      <a:pt x="29565" y="11543"/>
                      <a:pt x="23367" y="10809"/>
                    </a:cubicBezTo>
                    <a:cubicBezTo>
                      <a:pt x="22427" y="10698"/>
                      <a:pt x="21477" y="10705"/>
                      <a:pt x="20540" y="1082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6" name="Freeform: Shape 244">
                <a:extLst>
                  <a:ext uri="{FF2B5EF4-FFF2-40B4-BE49-F238E27FC236}">
                    <a16:creationId xmlns:a16="http://schemas.microsoft.com/office/drawing/2014/main" id="{C591C350-AE72-2B46-A0E5-A65C8CD7C17F}"/>
                  </a:ext>
                </a:extLst>
              </p:cNvPr>
              <p:cNvSpPr/>
              <p:nvPr/>
            </p:nvSpPr>
            <p:spPr>
              <a:xfrm>
                <a:off x="5775210" y="625499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7" name="Freeform: Shape 245">
                <a:extLst>
                  <a:ext uri="{FF2B5EF4-FFF2-40B4-BE49-F238E27FC236}">
                    <a16:creationId xmlns:a16="http://schemas.microsoft.com/office/drawing/2014/main" id="{BC0E918D-256D-374D-A823-B2748DCD22E7}"/>
                  </a:ext>
                </a:extLst>
              </p:cNvPr>
              <p:cNvSpPr/>
              <p:nvPr/>
            </p:nvSpPr>
            <p:spPr>
              <a:xfrm>
                <a:off x="5775210" y="620506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8" name="Freeform: Shape 246">
                <a:extLst>
                  <a:ext uri="{FF2B5EF4-FFF2-40B4-BE49-F238E27FC236}">
                    <a16:creationId xmlns:a16="http://schemas.microsoft.com/office/drawing/2014/main" id="{947C6132-F89E-E649-8C0F-8C17DD10A512}"/>
                  </a:ext>
                </a:extLst>
              </p:cNvPr>
              <p:cNvSpPr/>
              <p:nvPr/>
            </p:nvSpPr>
            <p:spPr>
              <a:xfrm>
                <a:off x="5775210" y="6155414"/>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69" name="Freeform: Shape 247">
                <a:extLst>
                  <a:ext uri="{FF2B5EF4-FFF2-40B4-BE49-F238E27FC236}">
                    <a16:creationId xmlns:a16="http://schemas.microsoft.com/office/drawing/2014/main" id="{C230615C-791B-D848-B546-37B325A37849}"/>
                  </a:ext>
                </a:extLst>
              </p:cNvPr>
              <p:cNvSpPr/>
              <p:nvPr/>
            </p:nvSpPr>
            <p:spPr>
              <a:xfrm>
                <a:off x="5775210" y="6354431"/>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0" name="Freeform: Shape 248">
                <a:extLst>
                  <a:ext uri="{FF2B5EF4-FFF2-40B4-BE49-F238E27FC236}">
                    <a16:creationId xmlns:a16="http://schemas.microsoft.com/office/drawing/2014/main" id="{75DC2536-00DA-6742-82CB-A10D6806E164}"/>
                  </a:ext>
                </a:extLst>
              </p:cNvPr>
              <p:cNvSpPr/>
              <p:nvPr/>
            </p:nvSpPr>
            <p:spPr>
              <a:xfrm>
                <a:off x="5775210" y="6304641"/>
                <a:ext cx="42922" cy="42922"/>
              </a:xfrm>
              <a:custGeom>
                <a:avLst/>
                <a:gdLst>
                  <a:gd name="connsiteX0" fmla="*/ 23893 w 42922"/>
                  <a:gd name="connsiteY0" fmla="*/ 10731 h 42922"/>
                  <a:gd name="connsiteX1" fmla="*/ 10731 w 42922"/>
                  <a:gd name="connsiteY1" fmla="*/ 23893 h 42922"/>
                  <a:gd name="connsiteX2" fmla="*/ 23893 w 42922"/>
                  <a:gd name="connsiteY2" fmla="*/ 37056 h 42922"/>
                  <a:gd name="connsiteX3" fmla="*/ 37056 w 42922"/>
                  <a:gd name="connsiteY3" fmla="*/ 23893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3"/>
                    </a:cubicBezTo>
                    <a:cubicBezTo>
                      <a:pt x="10731" y="31163"/>
                      <a:pt x="16624" y="37056"/>
                      <a:pt x="23893" y="37056"/>
                    </a:cubicBezTo>
                    <a:cubicBezTo>
                      <a:pt x="31163" y="37056"/>
                      <a:pt x="37056" y="31163"/>
                      <a:pt x="37056" y="23893"/>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1" name="Freeform: Shape 249">
                <a:extLst>
                  <a:ext uri="{FF2B5EF4-FFF2-40B4-BE49-F238E27FC236}">
                    <a16:creationId xmlns:a16="http://schemas.microsoft.com/office/drawing/2014/main" id="{35AAD69A-397A-3147-B545-0060D4F8CE94}"/>
                  </a:ext>
                </a:extLst>
              </p:cNvPr>
              <p:cNvSpPr/>
              <p:nvPr/>
            </p:nvSpPr>
            <p:spPr>
              <a:xfrm>
                <a:off x="5855761" y="630564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2" name="Freeform: Shape 250">
                <a:extLst>
                  <a:ext uri="{FF2B5EF4-FFF2-40B4-BE49-F238E27FC236}">
                    <a16:creationId xmlns:a16="http://schemas.microsoft.com/office/drawing/2014/main" id="{7BB41973-4879-674F-977C-5F9CFAB01FDD}"/>
                  </a:ext>
                </a:extLst>
              </p:cNvPr>
              <p:cNvSpPr/>
              <p:nvPr/>
            </p:nvSpPr>
            <p:spPr>
              <a:xfrm>
                <a:off x="5775210" y="6105624"/>
                <a:ext cx="42922" cy="42922"/>
              </a:xfrm>
              <a:custGeom>
                <a:avLst/>
                <a:gdLst>
                  <a:gd name="connsiteX0" fmla="*/ 37056 w 42922"/>
                  <a:gd name="connsiteY0" fmla="*/ 23894 h 42922"/>
                  <a:gd name="connsiteX1" fmla="*/ 23893 w 42922"/>
                  <a:gd name="connsiteY1" fmla="*/ 37056 h 42922"/>
                  <a:gd name="connsiteX2" fmla="*/ 10731 w 42922"/>
                  <a:gd name="connsiteY2" fmla="*/ 23894 h 42922"/>
                  <a:gd name="connsiteX3" fmla="*/ 23893 w 42922"/>
                  <a:gd name="connsiteY3" fmla="*/ 10731 h 42922"/>
                  <a:gd name="connsiteX4" fmla="*/ 37056 w 42922"/>
                  <a:gd name="connsiteY4" fmla="*/ 23894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7056" y="23894"/>
                    </a:moveTo>
                    <a:cubicBezTo>
                      <a:pt x="37056" y="31163"/>
                      <a:pt x="31163" y="37056"/>
                      <a:pt x="23893" y="37056"/>
                    </a:cubicBezTo>
                    <a:cubicBezTo>
                      <a:pt x="16624" y="37056"/>
                      <a:pt x="10731" y="31163"/>
                      <a:pt x="10731" y="23894"/>
                    </a:cubicBezTo>
                    <a:cubicBezTo>
                      <a:pt x="10731" y="16624"/>
                      <a:pt x="16624" y="10731"/>
                      <a:pt x="23893" y="10731"/>
                    </a:cubicBezTo>
                    <a:cubicBezTo>
                      <a:pt x="31163" y="10731"/>
                      <a:pt x="37056" y="16624"/>
                      <a:pt x="37056" y="2389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3" name="Freeform: Shape 251">
                <a:extLst>
                  <a:ext uri="{FF2B5EF4-FFF2-40B4-BE49-F238E27FC236}">
                    <a16:creationId xmlns:a16="http://schemas.microsoft.com/office/drawing/2014/main" id="{CF204900-5037-7341-9D1F-ADA80DE27604}"/>
                  </a:ext>
                </a:extLst>
              </p:cNvPr>
              <p:cNvSpPr/>
              <p:nvPr/>
            </p:nvSpPr>
            <p:spPr>
              <a:xfrm>
                <a:off x="5855761" y="6255996"/>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2892 h 42922"/>
                  <a:gd name="connsiteX4" fmla="*/ 22892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2892" y="10731"/>
                    </a:moveTo>
                    <a:cubicBezTo>
                      <a:pt x="16176" y="10731"/>
                      <a:pt x="10731" y="16176"/>
                      <a:pt x="10731" y="22892"/>
                    </a:cubicBez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4" name="Freeform: Shape 252">
                <a:extLst>
                  <a:ext uri="{FF2B5EF4-FFF2-40B4-BE49-F238E27FC236}">
                    <a16:creationId xmlns:a16="http://schemas.microsoft.com/office/drawing/2014/main" id="{13115FB4-5E7A-904C-B72C-DD48736BA601}"/>
                  </a:ext>
                </a:extLst>
              </p:cNvPr>
              <p:cNvSpPr/>
              <p:nvPr/>
            </p:nvSpPr>
            <p:spPr>
              <a:xfrm>
                <a:off x="5855761" y="6206063"/>
                <a:ext cx="42922" cy="42922"/>
              </a:xfrm>
              <a:custGeom>
                <a:avLst/>
                <a:gdLst>
                  <a:gd name="connsiteX0" fmla="*/ 22892 w 42922"/>
                  <a:gd name="connsiteY0" fmla="*/ 10731 h 42922"/>
                  <a:gd name="connsiteX1" fmla="*/ 10731 w 42922"/>
                  <a:gd name="connsiteY1" fmla="*/ 22892 h 42922"/>
                  <a:gd name="connsiteX2" fmla="*/ 22892 w 42922"/>
                  <a:gd name="connsiteY2" fmla="*/ 35053 h 42922"/>
                  <a:gd name="connsiteX3" fmla="*/ 35053 w 42922"/>
                  <a:gd name="connsiteY3" fmla="*/ 23321 h 42922"/>
                  <a:gd name="connsiteX4" fmla="*/ 35053 w 42922"/>
                  <a:gd name="connsiteY4" fmla="*/ 23321 h 42922"/>
                  <a:gd name="connsiteX5" fmla="*/ 23328 w 42922"/>
                  <a:gd name="connsiteY5" fmla="*/ 10738 h 42922"/>
                  <a:gd name="connsiteX6" fmla="*/ 22892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1"/>
                    </a:moveTo>
                    <a:cubicBezTo>
                      <a:pt x="16176" y="10731"/>
                      <a:pt x="10731" y="16176"/>
                      <a:pt x="10731" y="22892"/>
                    </a:cubicBezTo>
                    <a:cubicBezTo>
                      <a:pt x="10731" y="29608"/>
                      <a:pt x="16176" y="35053"/>
                      <a:pt x="22892" y="35053"/>
                    </a:cubicBezTo>
                    <a:cubicBezTo>
                      <a:pt x="29475" y="35133"/>
                      <a:pt x="34897" y="29903"/>
                      <a:pt x="35053" y="23321"/>
                    </a:cubicBezTo>
                    <a:lnTo>
                      <a:pt x="35053" y="23321"/>
                    </a:lnTo>
                    <a:cubicBezTo>
                      <a:pt x="35291" y="16610"/>
                      <a:pt x="30041" y="10975"/>
                      <a:pt x="23328" y="10738"/>
                    </a:cubicBezTo>
                    <a:cubicBezTo>
                      <a:pt x="23184" y="10733"/>
                      <a:pt x="2303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5" name="Freeform: Shape 253">
                <a:extLst>
                  <a:ext uri="{FF2B5EF4-FFF2-40B4-BE49-F238E27FC236}">
                    <a16:creationId xmlns:a16="http://schemas.microsoft.com/office/drawing/2014/main" id="{3701D496-A0BD-2046-9E36-F1F6F6C8CB7F}"/>
                  </a:ext>
                </a:extLst>
              </p:cNvPr>
              <p:cNvSpPr/>
              <p:nvPr/>
            </p:nvSpPr>
            <p:spPr>
              <a:xfrm>
                <a:off x="5856190" y="6355432"/>
                <a:ext cx="42922" cy="42922"/>
              </a:xfrm>
              <a:custGeom>
                <a:avLst/>
                <a:gdLst>
                  <a:gd name="connsiteX0" fmla="*/ 22892 w 42922"/>
                  <a:gd name="connsiteY0" fmla="*/ 10732 h 42922"/>
                  <a:gd name="connsiteX1" fmla="*/ 22892 w 42922"/>
                  <a:gd name="connsiteY1" fmla="*/ 10732 h 42922"/>
                  <a:gd name="connsiteX2" fmla="*/ 10731 w 42922"/>
                  <a:gd name="connsiteY2" fmla="*/ 22893 h 42922"/>
                  <a:gd name="connsiteX3" fmla="*/ 22892 w 42922"/>
                  <a:gd name="connsiteY3" fmla="*/ 35054 h 42922"/>
                  <a:gd name="connsiteX4" fmla="*/ 35053 w 42922"/>
                  <a:gd name="connsiteY4" fmla="*/ 22893 h 42922"/>
                  <a:gd name="connsiteX5" fmla="*/ 23180 w 42922"/>
                  <a:gd name="connsiteY5" fmla="*/ 10732 h 42922"/>
                  <a:gd name="connsiteX6" fmla="*/ 22892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892" y="10732"/>
                    </a:moveTo>
                    <a:lnTo>
                      <a:pt x="22892" y="10732"/>
                    </a:lnTo>
                    <a:cubicBezTo>
                      <a:pt x="16176" y="10732"/>
                      <a:pt x="10731" y="16177"/>
                      <a:pt x="10731" y="22893"/>
                    </a:cubicBezTo>
                    <a:cubicBezTo>
                      <a:pt x="10731" y="29609"/>
                      <a:pt x="16176" y="35054"/>
                      <a:pt x="22892" y="35054"/>
                    </a:cubicBezTo>
                    <a:cubicBezTo>
                      <a:pt x="29608" y="35054"/>
                      <a:pt x="35053" y="29609"/>
                      <a:pt x="35053" y="22893"/>
                    </a:cubicBezTo>
                    <a:cubicBezTo>
                      <a:pt x="35132" y="16256"/>
                      <a:pt x="29817" y="10812"/>
                      <a:pt x="23180" y="10732"/>
                    </a:cubicBezTo>
                    <a:cubicBezTo>
                      <a:pt x="23084" y="10730"/>
                      <a:pt x="22988" y="10730"/>
                      <a:pt x="2289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6" name="Freeform: Shape 254">
                <a:extLst>
                  <a:ext uri="{FF2B5EF4-FFF2-40B4-BE49-F238E27FC236}">
                    <a16:creationId xmlns:a16="http://schemas.microsoft.com/office/drawing/2014/main" id="{BB57338D-7033-DD4B-BE68-BC15B72FE65B}"/>
                  </a:ext>
                </a:extLst>
              </p:cNvPr>
              <p:cNvSpPr/>
              <p:nvPr/>
            </p:nvSpPr>
            <p:spPr>
              <a:xfrm>
                <a:off x="6016434" y="6208062"/>
                <a:ext cx="28615" cy="28615"/>
              </a:xfrm>
              <a:custGeom>
                <a:avLst/>
                <a:gdLst>
                  <a:gd name="connsiteX0" fmla="*/ 21175 w 28614"/>
                  <a:gd name="connsiteY0" fmla="*/ 10735 h 28614"/>
                  <a:gd name="connsiteX1" fmla="*/ 10733 w 28614"/>
                  <a:gd name="connsiteY1" fmla="*/ 20603 h 28614"/>
                  <a:gd name="connsiteX2" fmla="*/ 10731 w 28614"/>
                  <a:gd name="connsiteY2" fmla="*/ 20750 h 28614"/>
                  <a:gd name="connsiteX3" fmla="*/ 10731 w 28614"/>
                  <a:gd name="connsiteY3" fmla="*/ 20750 h 28614"/>
                  <a:gd name="connsiteX4" fmla="*/ 21175 w 28614"/>
                  <a:gd name="connsiteY4" fmla="*/ 31194 h 28614"/>
                  <a:gd name="connsiteX5" fmla="*/ 31333 w 28614"/>
                  <a:gd name="connsiteY5" fmla="*/ 21036 h 28614"/>
                  <a:gd name="connsiteX6" fmla="*/ 31333 w 28614"/>
                  <a:gd name="connsiteY6" fmla="*/ 21036 h 28614"/>
                  <a:gd name="connsiteX7" fmla="*/ 21320 w 28614"/>
                  <a:gd name="connsiteY7" fmla="*/ 10736 h 28614"/>
                  <a:gd name="connsiteX8" fmla="*/ 21175 w 28614"/>
                  <a:gd name="connsiteY8"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175" y="10735"/>
                    </a:moveTo>
                    <a:cubicBezTo>
                      <a:pt x="15567" y="10576"/>
                      <a:pt x="10892" y="14994"/>
                      <a:pt x="10733" y="20603"/>
                    </a:cubicBezTo>
                    <a:cubicBezTo>
                      <a:pt x="10732" y="20651"/>
                      <a:pt x="10731" y="20700"/>
                      <a:pt x="10731" y="20750"/>
                    </a:cubicBezTo>
                    <a:lnTo>
                      <a:pt x="10731" y="20750"/>
                    </a:lnTo>
                    <a:cubicBezTo>
                      <a:pt x="10731" y="26519"/>
                      <a:pt x="15406" y="31194"/>
                      <a:pt x="21175" y="31194"/>
                    </a:cubicBezTo>
                    <a:cubicBezTo>
                      <a:pt x="26785" y="31194"/>
                      <a:pt x="31333" y="26646"/>
                      <a:pt x="31333" y="21036"/>
                    </a:cubicBezTo>
                    <a:lnTo>
                      <a:pt x="31333" y="21036"/>
                    </a:lnTo>
                    <a:cubicBezTo>
                      <a:pt x="31412" y="15426"/>
                      <a:pt x="26929" y="10815"/>
                      <a:pt x="21320" y="10736"/>
                    </a:cubicBezTo>
                    <a:cubicBezTo>
                      <a:pt x="21271" y="10735"/>
                      <a:pt x="21224" y="10735"/>
                      <a:pt x="21175" y="107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7" name="Freeform: Shape 255">
                <a:extLst>
                  <a:ext uri="{FF2B5EF4-FFF2-40B4-BE49-F238E27FC236}">
                    <a16:creationId xmlns:a16="http://schemas.microsoft.com/office/drawing/2014/main" id="{0EA12935-5581-C343-97BD-BFAB5621218C}"/>
                  </a:ext>
                </a:extLst>
              </p:cNvPr>
              <p:cNvSpPr/>
              <p:nvPr/>
            </p:nvSpPr>
            <p:spPr>
              <a:xfrm>
                <a:off x="6254612" y="6111774"/>
                <a:ext cx="28615" cy="28615"/>
              </a:xfrm>
              <a:custGeom>
                <a:avLst/>
                <a:gdLst>
                  <a:gd name="connsiteX0" fmla="*/ 20216 w 28614"/>
                  <a:gd name="connsiteY0" fmla="*/ 25326 h 28614"/>
                  <a:gd name="connsiteX1" fmla="*/ 25326 w 28614"/>
                  <a:gd name="connsiteY1" fmla="*/ 16129 h 28614"/>
                  <a:gd name="connsiteX2" fmla="*/ 20216 w 28614"/>
                  <a:gd name="connsiteY2" fmla="*/ 11019 h 28614"/>
                  <a:gd name="connsiteX3" fmla="*/ 11019 w 28614"/>
                  <a:gd name="connsiteY3" fmla="*/ 16129 h 28614"/>
                  <a:gd name="connsiteX4" fmla="*/ 16128 w 28614"/>
                  <a:gd name="connsiteY4" fmla="*/ 25326 h 28614"/>
                  <a:gd name="connsiteX5" fmla="*/ 20216 w 28614"/>
                  <a:gd name="connsiteY5" fmla="*/ 2532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216" y="25326"/>
                    </a:moveTo>
                    <a:cubicBezTo>
                      <a:pt x="24166" y="24197"/>
                      <a:pt x="26455" y="20080"/>
                      <a:pt x="25326" y="16129"/>
                    </a:cubicBezTo>
                    <a:cubicBezTo>
                      <a:pt x="24620" y="13657"/>
                      <a:pt x="22688" y="11726"/>
                      <a:pt x="20216" y="11019"/>
                    </a:cubicBezTo>
                    <a:cubicBezTo>
                      <a:pt x="16265" y="9890"/>
                      <a:pt x="12148" y="12178"/>
                      <a:pt x="11019" y="16129"/>
                    </a:cubicBezTo>
                    <a:cubicBezTo>
                      <a:pt x="9890" y="20080"/>
                      <a:pt x="12178" y="24197"/>
                      <a:pt x="16128" y="25326"/>
                    </a:cubicBezTo>
                    <a:cubicBezTo>
                      <a:pt x="17464" y="25708"/>
                      <a:pt x="18879" y="25708"/>
                      <a:pt x="20216" y="2532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8" name="Freeform: Shape 256">
                <a:extLst>
                  <a:ext uri="{FF2B5EF4-FFF2-40B4-BE49-F238E27FC236}">
                    <a16:creationId xmlns:a16="http://schemas.microsoft.com/office/drawing/2014/main" id="{F3F96BD3-F9E6-9E40-B54E-BA8614CAFE67}"/>
                  </a:ext>
                </a:extLst>
              </p:cNvPr>
              <p:cNvSpPr/>
              <p:nvPr/>
            </p:nvSpPr>
            <p:spPr>
              <a:xfrm>
                <a:off x="6257658" y="6361156"/>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79" name="Freeform: Shape 257">
                <a:extLst>
                  <a:ext uri="{FF2B5EF4-FFF2-40B4-BE49-F238E27FC236}">
                    <a16:creationId xmlns:a16="http://schemas.microsoft.com/office/drawing/2014/main" id="{3958396B-B9E9-C34A-99D1-4F63EE490841}"/>
                  </a:ext>
                </a:extLst>
              </p:cNvPr>
              <p:cNvSpPr/>
              <p:nvPr/>
            </p:nvSpPr>
            <p:spPr>
              <a:xfrm>
                <a:off x="6177102" y="6159133"/>
                <a:ext cx="28615" cy="28615"/>
              </a:xfrm>
              <a:custGeom>
                <a:avLst/>
                <a:gdLst>
                  <a:gd name="connsiteX0" fmla="*/ 19463 w 28614"/>
                  <a:gd name="connsiteY0" fmla="*/ 10732 h 28614"/>
                  <a:gd name="connsiteX1" fmla="*/ 10736 w 28614"/>
                  <a:gd name="connsiteY1" fmla="*/ 19030 h 28614"/>
                  <a:gd name="connsiteX2" fmla="*/ 18744 w 28614"/>
                  <a:gd name="connsiteY2" fmla="*/ 27610 h 28614"/>
                  <a:gd name="connsiteX3" fmla="*/ 19034 w 28614"/>
                  <a:gd name="connsiteY3" fmla="*/ 27615 h 28614"/>
                  <a:gd name="connsiteX4" fmla="*/ 19034 w 28614"/>
                  <a:gd name="connsiteY4" fmla="*/ 27615 h 28614"/>
                  <a:gd name="connsiteX5" fmla="*/ 27189 w 28614"/>
                  <a:gd name="connsiteY5" fmla="*/ 19459 h 28614"/>
                  <a:gd name="connsiteX6" fmla="*/ 19463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463" y="10732"/>
                    </a:moveTo>
                    <a:cubicBezTo>
                      <a:pt x="14776" y="10652"/>
                      <a:pt x="10892" y="14346"/>
                      <a:pt x="10736" y="19030"/>
                    </a:cubicBezTo>
                    <a:cubicBezTo>
                      <a:pt x="10578" y="23610"/>
                      <a:pt x="14162" y="27452"/>
                      <a:pt x="18744" y="27610"/>
                    </a:cubicBezTo>
                    <a:cubicBezTo>
                      <a:pt x="18839" y="27613"/>
                      <a:pt x="18937" y="27615"/>
                      <a:pt x="19034" y="27615"/>
                    </a:cubicBezTo>
                    <a:lnTo>
                      <a:pt x="19034" y="27615"/>
                    </a:lnTo>
                    <a:cubicBezTo>
                      <a:pt x="23538" y="27615"/>
                      <a:pt x="27189" y="23963"/>
                      <a:pt x="27189" y="19459"/>
                    </a:cubicBezTo>
                    <a:cubicBezTo>
                      <a:pt x="27358" y="14954"/>
                      <a:pt x="23956" y="11111"/>
                      <a:pt x="19463"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0" name="Freeform: Shape 258">
                <a:extLst>
                  <a:ext uri="{FF2B5EF4-FFF2-40B4-BE49-F238E27FC236}">
                    <a16:creationId xmlns:a16="http://schemas.microsoft.com/office/drawing/2014/main" id="{BFA998C7-709D-7744-9098-CFFC4D55FB54}"/>
                  </a:ext>
                </a:extLst>
              </p:cNvPr>
              <p:cNvSpPr/>
              <p:nvPr/>
            </p:nvSpPr>
            <p:spPr>
              <a:xfrm>
                <a:off x="6177393" y="6259430"/>
                <a:ext cx="28615" cy="28615"/>
              </a:xfrm>
              <a:custGeom>
                <a:avLst/>
                <a:gdLst>
                  <a:gd name="connsiteX0" fmla="*/ 19172 w 28614"/>
                  <a:gd name="connsiteY0" fmla="*/ 10731 h 28614"/>
                  <a:gd name="connsiteX1" fmla="*/ 10731 w 28614"/>
                  <a:gd name="connsiteY1" fmla="*/ 19172 h 28614"/>
                  <a:gd name="connsiteX2" fmla="*/ 19172 w 28614"/>
                  <a:gd name="connsiteY2" fmla="*/ 27613 h 28614"/>
                  <a:gd name="connsiteX3" fmla="*/ 19172 w 28614"/>
                  <a:gd name="connsiteY3" fmla="*/ 27613 h 28614"/>
                  <a:gd name="connsiteX4" fmla="*/ 27327 w 28614"/>
                  <a:gd name="connsiteY4" fmla="*/ 19458 h 28614"/>
                  <a:gd name="connsiteX5" fmla="*/ 19182 w 28614"/>
                  <a:gd name="connsiteY5" fmla="*/ 10731 h 28614"/>
                  <a:gd name="connsiteX6" fmla="*/ 19172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9172" y="10731"/>
                    </a:moveTo>
                    <a:cubicBezTo>
                      <a:pt x="14509" y="10731"/>
                      <a:pt x="10731" y="14511"/>
                      <a:pt x="10731" y="19172"/>
                    </a:cubicBezTo>
                    <a:cubicBezTo>
                      <a:pt x="10731" y="23833"/>
                      <a:pt x="14511" y="27613"/>
                      <a:pt x="19172" y="27613"/>
                    </a:cubicBezTo>
                    <a:lnTo>
                      <a:pt x="19172" y="27613"/>
                    </a:lnTo>
                    <a:cubicBezTo>
                      <a:pt x="23676" y="27613"/>
                      <a:pt x="27327" y="23962"/>
                      <a:pt x="27327" y="19458"/>
                    </a:cubicBezTo>
                    <a:cubicBezTo>
                      <a:pt x="27487" y="14798"/>
                      <a:pt x="23841" y="10892"/>
                      <a:pt x="19182" y="10731"/>
                    </a:cubicBezTo>
                    <a:cubicBezTo>
                      <a:pt x="19178" y="10731"/>
                      <a:pt x="19175" y="10731"/>
                      <a:pt x="1917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1" name="Freeform: Shape 259">
                <a:extLst>
                  <a:ext uri="{FF2B5EF4-FFF2-40B4-BE49-F238E27FC236}">
                    <a16:creationId xmlns:a16="http://schemas.microsoft.com/office/drawing/2014/main" id="{0F680335-9D0A-7649-B9E2-2D76CEF18846}"/>
                  </a:ext>
                </a:extLst>
              </p:cNvPr>
              <p:cNvSpPr/>
              <p:nvPr/>
            </p:nvSpPr>
            <p:spPr>
              <a:xfrm>
                <a:off x="6177382" y="6309554"/>
                <a:ext cx="28615" cy="28615"/>
              </a:xfrm>
              <a:custGeom>
                <a:avLst/>
                <a:gdLst>
                  <a:gd name="connsiteX0" fmla="*/ 17753 w 28614"/>
                  <a:gd name="connsiteY0" fmla="*/ 10825 h 28614"/>
                  <a:gd name="connsiteX1" fmla="*/ 10742 w 28614"/>
                  <a:gd name="connsiteY1" fmla="*/ 17836 h 28614"/>
                  <a:gd name="connsiteX2" fmla="*/ 18733 w 28614"/>
                  <a:gd name="connsiteY2" fmla="*/ 26705 h 28614"/>
                  <a:gd name="connsiteX3" fmla="*/ 27339 w 28614"/>
                  <a:gd name="connsiteY3" fmla="*/ 20411 h 28614"/>
                  <a:gd name="connsiteX4" fmla="*/ 27339 w 28614"/>
                  <a:gd name="connsiteY4" fmla="*/ 17836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6"/>
                    </a:cubicBezTo>
                    <a:cubicBezTo>
                      <a:pt x="10499" y="22491"/>
                      <a:pt x="14077" y="26462"/>
                      <a:pt x="18733" y="26705"/>
                    </a:cubicBezTo>
                    <a:cubicBezTo>
                      <a:pt x="22731" y="26914"/>
                      <a:pt x="26326" y="24284"/>
                      <a:pt x="27339" y="20411"/>
                    </a:cubicBezTo>
                    <a:cubicBezTo>
                      <a:pt x="27483" y="19558"/>
                      <a:pt x="27483" y="18689"/>
                      <a:pt x="27339" y="17836"/>
                    </a:cubicBezTo>
                    <a:cubicBezTo>
                      <a:pt x="26605" y="13266"/>
                      <a:pt x="22330" y="10138"/>
                      <a:pt x="17753"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2" name="Freeform: Shape 260">
                <a:extLst>
                  <a:ext uri="{FF2B5EF4-FFF2-40B4-BE49-F238E27FC236}">
                    <a16:creationId xmlns:a16="http://schemas.microsoft.com/office/drawing/2014/main" id="{3FE7275B-41F4-074F-98F9-5D841A019783}"/>
                  </a:ext>
                </a:extLst>
              </p:cNvPr>
              <p:cNvSpPr/>
              <p:nvPr/>
            </p:nvSpPr>
            <p:spPr>
              <a:xfrm>
                <a:off x="6177382" y="6211119"/>
                <a:ext cx="28615" cy="28615"/>
              </a:xfrm>
              <a:custGeom>
                <a:avLst/>
                <a:gdLst>
                  <a:gd name="connsiteX0" fmla="*/ 17753 w 28614"/>
                  <a:gd name="connsiteY0" fmla="*/ 10825 h 28614"/>
                  <a:gd name="connsiteX1" fmla="*/ 10742 w 28614"/>
                  <a:gd name="connsiteY1" fmla="*/ 17835 h 28614"/>
                  <a:gd name="connsiteX2" fmla="*/ 18733 w 28614"/>
                  <a:gd name="connsiteY2" fmla="*/ 26705 h 28614"/>
                  <a:gd name="connsiteX3" fmla="*/ 27339 w 28614"/>
                  <a:gd name="connsiteY3" fmla="*/ 20411 h 28614"/>
                  <a:gd name="connsiteX4" fmla="*/ 27339 w 28614"/>
                  <a:gd name="connsiteY4" fmla="*/ 17835 h 28614"/>
                  <a:gd name="connsiteX5" fmla="*/ 17753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7753" y="10825"/>
                    </a:moveTo>
                    <a:cubicBezTo>
                      <a:pt x="14145" y="11399"/>
                      <a:pt x="11316" y="14227"/>
                      <a:pt x="10742" y="17835"/>
                    </a:cubicBezTo>
                    <a:cubicBezTo>
                      <a:pt x="10499" y="22491"/>
                      <a:pt x="14077" y="26463"/>
                      <a:pt x="18733" y="26705"/>
                    </a:cubicBezTo>
                    <a:cubicBezTo>
                      <a:pt x="22731" y="26914"/>
                      <a:pt x="26326" y="24284"/>
                      <a:pt x="27339" y="20411"/>
                    </a:cubicBezTo>
                    <a:cubicBezTo>
                      <a:pt x="27483" y="19558"/>
                      <a:pt x="27483" y="18688"/>
                      <a:pt x="27339" y="17835"/>
                    </a:cubicBezTo>
                    <a:cubicBezTo>
                      <a:pt x="26605" y="13266"/>
                      <a:pt x="22330" y="10139"/>
                      <a:pt x="17753"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3" name="Freeform: Shape 261">
                <a:extLst>
                  <a:ext uri="{FF2B5EF4-FFF2-40B4-BE49-F238E27FC236}">
                    <a16:creationId xmlns:a16="http://schemas.microsoft.com/office/drawing/2014/main" id="{8CE2F67F-86A6-124C-A605-413F1DA2E967}"/>
                  </a:ext>
                </a:extLst>
              </p:cNvPr>
              <p:cNvSpPr/>
              <p:nvPr/>
            </p:nvSpPr>
            <p:spPr>
              <a:xfrm>
                <a:off x="6257370" y="6160422"/>
                <a:ext cx="28615" cy="28615"/>
              </a:xfrm>
              <a:custGeom>
                <a:avLst/>
                <a:gdLst>
                  <a:gd name="connsiteX0" fmla="*/ 18459 w 28614"/>
                  <a:gd name="connsiteY0" fmla="*/ 10731 h 28614"/>
                  <a:gd name="connsiteX1" fmla="*/ 11019 w 28614"/>
                  <a:gd name="connsiteY1" fmla="*/ 18170 h 28614"/>
                  <a:gd name="connsiteX2" fmla="*/ 16129 w 28614"/>
                  <a:gd name="connsiteY2" fmla="*/ 27367 h 28614"/>
                  <a:gd name="connsiteX3" fmla="*/ 25326 w 28614"/>
                  <a:gd name="connsiteY3" fmla="*/ 22258 h 28614"/>
                  <a:gd name="connsiteX4" fmla="*/ 25326 w 28614"/>
                  <a:gd name="connsiteY4" fmla="*/ 18170 h 28614"/>
                  <a:gd name="connsiteX5" fmla="*/ 18459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459" y="10731"/>
                    </a:moveTo>
                    <a:cubicBezTo>
                      <a:pt x="14350" y="10731"/>
                      <a:pt x="11019" y="14061"/>
                      <a:pt x="11019" y="18170"/>
                    </a:cubicBezTo>
                    <a:cubicBezTo>
                      <a:pt x="9890" y="22121"/>
                      <a:pt x="12178" y="26238"/>
                      <a:pt x="16129" y="27367"/>
                    </a:cubicBezTo>
                    <a:cubicBezTo>
                      <a:pt x="20080" y="28496"/>
                      <a:pt x="24197" y="26208"/>
                      <a:pt x="25326" y="22258"/>
                    </a:cubicBezTo>
                    <a:cubicBezTo>
                      <a:pt x="25708" y="20922"/>
                      <a:pt x="25708" y="19505"/>
                      <a:pt x="25326" y="18170"/>
                    </a:cubicBezTo>
                    <a:cubicBezTo>
                      <a:pt x="25338" y="14275"/>
                      <a:pt x="22343" y="11030"/>
                      <a:pt x="1845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4" name="Freeform: Shape 262">
                <a:extLst>
                  <a:ext uri="{FF2B5EF4-FFF2-40B4-BE49-F238E27FC236}">
                    <a16:creationId xmlns:a16="http://schemas.microsoft.com/office/drawing/2014/main" id="{3506F19A-7070-2940-BB42-C868FD2EA02A}"/>
                  </a:ext>
                </a:extLst>
              </p:cNvPr>
              <p:cNvSpPr/>
              <p:nvPr/>
            </p:nvSpPr>
            <p:spPr>
              <a:xfrm>
                <a:off x="6257658" y="6210784"/>
                <a:ext cx="28615" cy="28615"/>
              </a:xfrm>
              <a:custGeom>
                <a:avLst/>
                <a:gdLst>
                  <a:gd name="connsiteX0" fmla="*/ 18170 w 28614"/>
                  <a:gd name="connsiteY0" fmla="*/ 10731 h 28614"/>
                  <a:gd name="connsiteX1" fmla="*/ 10731 w 28614"/>
                  <a:gd name="connsiteY1" fmla="*/ 18171 h 28614"/>
                  <a:gd name="connsiteX2" fmla="*/ 18170 w 28614"/>
                  <a:gd name="connsiteY2" fmla="*/ 25610 h 28614"/>
                  <a:gd name="connsiteX3" fmla="*/ 25610 w 28614"/>
                  <a:gd name="connsiteY3" fmla="*/ 18171 h 28614"/>
                  <a:gd name="connsiteX4" fmla="*/ 1817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8170" y="10731"/>
                    </a:moveTo>
                    <a:cubicBezTo>
                      <a:pt x="14061" y="10731"/>
                      <a:pt x="10731" y="14061"/>
                      <a:pt x="10731" y="18171"/>
                    </a:cubicBezTo>
                    <a:cubicBezTo>
                      <a:pt x="10731" y="22280"/>
                      <a:pt x="14061" y="25610"/>
                      <a:pt x="18170" y="25610"/>
                    </a:cubicBezTo>
                    <a:cubicBezTo>
                      <a:pt x="22280" y="25610"/>
                      <a:pt x="25610" y="22280"/>
                      <a:pt x="25610" y="18171"/>
                    </a:cubicBezTo>
                    <a:cubicBezTo>
                      <a:pt x="25610" y="14061"/>
                      <a:pt x="22280" y="10731"/>
                      <a:pt x="1817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5" name="Freeform: Shape 263">
                <a:extLst>
                  <a:ext uri="{FF2B5EF4-FFF2-40B4-BE49-F238E27FC236}">
                    <a16:creationId xmlns:a16="http://schemas.microsoft.com/office/drawing/2014/main" id="{9682C55C-41AE-9E4C-9712-A1B244639CBE}"/>
                  </a:ext>
                </a:extLst>
              </p:cNvPr>
              <p:cNvSpPr/>
              <p:nvPr/>
            </p:nvSpPr>
            <p:spPr>
              <a:xfrm>
                <a:off x="6257372" y="6260573"/>
                <a:ext cx="28615" cy="28615"/>
              </a:xfrm>
              <a:custGeom>
                <a:avLst/>
                <a:gdLst>
                  <a:gd name="connsiteX0" fmla="*/ 18457 w 28614"/>
                  <a:gd name="connsiteY0" fmla="*/ 10732 h 28614"/>
                  <a:gd name="connsiteX1" fmla="*/ 10732 w 28614"/>
                  <a:gd name="connsiteY1" fmla="*/ 18170 h 28614"/>
                  <a:gd name="connsiteX2" fmla="*/ 18171 w 28614"/>
                  <a:gd name="connsiteY2" fmla="*/ 25895 h 28614"/>
                  <a:gd name="connsiteX3" fmla="*/ 25895 w 28614"/>
                  <a:gd name="connsiteY3" fmla="*/ 18457 h 28614"/>
                  <a:gd name="connsiteX4" fmla="*/ 25896 w 28614"/>
                  <a:gd name="connsiteY4" fmla="*/ 18315 h 28614"/>
                  <a:gd name="connsiteX5" fmla="*/ 18601 w 28614"/>
                  <a:gd name="connsiteY5" fmla="*/ 10733 h 28614"/>
                  <a:gd name="connsiteX6" fmla="*/ 18457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7" y="10732"/>
                    </a:moveTo>
                    <a:cubicBezTo>
                      <a:pt x="14269" y="10653"/>
                      <a:pt x="10811" y="13983"/>
                      <a:pt x="10732" y="18170"/>
                    </a:cubicBezTo>
                    <a:cubicBezTo>
                      <a:pt x="10653" y="22358"/>
                      <a:pt x="13983" y="25816"/>
                      <a:pt x="18171" y="25895"/>
                    </a:cubicBezTo>
                    <a:cubicBezTo>
                      <a:pt x="22358" y="25974"/>
                      <a:pt x="25816" y="22644"/>
                      <a:pt x="25895" y="18457"/>
                    </a:cubicBezTo>
                    <a:cubicBezTo>
                      <a:pt x="25896" y="18409"/>
                      <a:pt x="25896" y="18362"/>
                      <a:pt x="25896" y="18315"/>
                    </a:cubicBezTo>
                    <a:cubicBezTo>
                      <a:pt x="25975" y="14207"/>
                      <a:pt x="22709" y="10812"/>
                      <a:pt x="18601" y="10733"/>
                    </a:cubicBezTo>
                    <a:cubicBezTo>
                      <a:pt x="18552" y="10732"/>
                      <a:pt x="18505" y="10732"/>
                      <a:pt x="18457"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6" name="Freeform: Shape 264">
                <a:extLst>
                  <a:ext uri="{FF2B5EF4-FFF2-40B4-BE49-F238E27FC236}">
                    <a16:creationId xmlns:a16="http://schemas.microsoft.com/office/drawing/2014/main" id="{790E2FFF-EF7C-CF42-A3B4-29764E9CDB01}"/>
                  </a:ext>
                </a:extLst>
              </p:cNvPr>
              <p:cNvSpPr/>
              <p:nvPr/>
            </p:nvSpPr>
            <p:spPr>
              <a:xfrm>
                <a:off x="6257658" y="6309506"/>
                <a:ext cx="28615" cy="28615"/>
              </a:xfrm>
              <a:custGeom>
                <a:avLst/>
                <a:gdLst>
                  <a:gd name="connsiteX0" fmla="*/ 25610 w 28614"/>
                  <a:gd name="connsiteY0" fmla="*/ 18171 h 28614"/>
                  <a:gd name="connsiteX1" fmla="*/ 18170 w 28614"/>
                  <a:gd name="connsiteY1" fmla="*/ 25610 h 28614"/>
                  <a:gd name="connsiteX2" fmla="*/ 10731 w 28614"/>
                  <a:gd name="connsiteY2" fmla="*/ 18171 h 28614"/>
                  <a:gd name="connsiteX3" fmla="*/ 18170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0" y="25610"/>
                    </a:cubicBezTo>
                    <a:cubicBezTo>
                      <a:pt x="14062" y="25610"/>
                      <a:pt x="10731" y="22279"/>
                      <a:pt x="10731" y="18171"/>
                    </a:cubicBezTo>
                    <a:cubicBezTo>
                      <a:pt x="10731" y="14062"/>
                      <a:pt x="14062" y="10731"/>
                      <a:pt x="18170"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7" name="Freeform: Shape 265">
                <a:extLst>
                  <a:ext uri="{FF2B5EF4-FFF2-40B4-BE49-F238E27FC236}">
                    <a16:creationId xmlns:a16="http://schemas.microsoft.com/office/drawing/2014/main" id="{6B759854-26FC-D243-A280-43E69E723F96}"/>
                  </a:ext>
                </a:extLst>
              </p:cNvPr>
              <p:cNvSpPr/>
              <p:nvPr/>
            </p:nvSpPr>
            <p:spPr>
              <a:xfrm>
                <a:off x="6097414" y="6258714"/>
                <a:ext cx="28615" cy="28615"/>
              </a:xfrm>
              <a:custGeom>
                <a:avLst/>
                <a:gdLst>
                  <a:gd name="connsiteX0" fmla="*/ 20030 w 28614"/>
                  <a:gd name="connsiteY0" fmla="*/ 10731 h 28614"/>
                  <a:gd name="connsiteX1" fmla="*/ 10731 w 28614"/>
                  <a:gd name="connsiteY1" fmla="*/ 20030 h 28614"/>
                  <a:gd name="connsiteX2" fmla="*/ 20030 w 28614"/>
                  <a:gd name="connsiteY2" fmla="*/ 29330 h 28614"/>
                  <a:gd name="connsiteX3" fmla="*/ 29330 w 28614"/>
                  <a:gd name="connsiteY3" fmla="*/ 20173 h 28614"/>
                  <a:gd name="connsiteX4" fmla="*/ 20030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030" y="10731"/>
                    </a:moveTo>
                    <a:cubicBezTo>
                      <a:pt x="14894" y="10731"/>
                      <a:pt x="10731" y="14894"/>
                      <a:pt x="10731" y="20030"/>
                    </a:cubicBezTo>
                    <a:cubicBezTo>
                      <a:pt x="10731" y="25167"/>
                      <a:pt x="14894" y="29330"/>
                      <a:pt x="20030" y="29330"/>
                    </a:cubicBezTo>
                    <a:cubicBezTo>
                      <a:pt x="25111" y="29332"/>
                      <a:pt x="29252" y="25254"/>
                      <a:pt x="29330" y="20173"/>
                    </a:cubicBezTo>
                    <a:cubicBezTo>
                      <a:pt x="29330" y="15014"/>
                      <a:pt x="25190" y="10809"/>
                      <a:pt x="20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8" name="Freeform: Shape 266">
                <a:extLst>
                  <a:ext uri="{FF2B5EF4-FFF2-40B4-BE49-F238E27FC236}">
                    <a16:creationId xmlns:a16="http://schemas.microsoft.com/office/drawing/2014/main" id="{C09A2A7D-44DD-1245-9355-D37BA466A6FC}"/>
                  </a:ext>
                </a:extLst>
              </p:cNvPr>
              <p:cNvSpPr/>
              <p:nvPr/>
            </p:nvSpPr>
            <p:spPr>
              <a:xfrm>
                <a:off x="6094510" y="6108699"/>
                <a:ext cx="28615" cy="28615"/>
              </a:xfrm>
              <a:custGeom>
                <a:avLst/>
                <a:gdLst>
                  <a:gd name="connsiteX0" fmla="*/ 21790 w 28614"/>
                  <a:gd name="connsiteY0" fmla="*/ 30404 h 28614"/>
                  <a:gd name="connsiteX1" fmla="*/ 30947 w 28614"/>
                  <a:gd name="connsiteY1" fmla="*/ 21248 h 28614"/>
                  <a:gd name="connsiteX2" fmla="*/ 30947 w 28614"/>
                  <a:gd name="connsiteY2" fmla="*/ 19960 h 28614"/>
                  <a:gd name="connsiteX3" fmla="*/ 21790 w 28614"/>
                  <a:gd name="connsiteY3" fmla="*/ 10803 h 28614"/>
                  <a:gd name="connsiteX4" fmla="*/ 10803 w 28614"/>
                  <a:gd name="connsiteY4" fmla="*/ 19418 h 28614"/>
                  <a:gd name="connsiteX5" fmla="*/ 19418 w 28614"/>
                  <a:gd name="connsiteY5" fmla="*/ 30404 h 28614"/>
                  <a:gd name="connsiteX6" fmla="*/ 21790 w 28614"/>
                  <a:gd name="connsiteY6" fmla="*/ 30404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790" y="30404"/>
                    </a:moveTo>
                    <a:cubicBezTo>
                      <a:pt x="26848" y="30404"/>
                      <a:pt x="30947" y="26305"/>
                      <a:pt x="30947" y="21248"/>
                    </a:cubicBezTo>
                    <a:lnTo>
                      <a:pt x="30947" y="19960"/>
                    </a:lnTo>
                    <a:cubicBezTo>
                      <a:pt x="30947" y="14902"/>
                      <a:pt x="26848" y="10803"/>
                      <a:pt x="21790" y="10803"/>
                    </a:cubicBezTo>
                    <a:cubicBezTo>
                      <a:pt x="16377" y="10148"/>
                      <a:pt x="11458" y="14005"/>
                      <a:pt x="10803" y="19418"/>
                    </a:cubicBezTo>
                    <a:cubicBezTo>
                      <a:pt x="10148" y="24830"/>
                      <a:pt x="14005" y="29749"/>
                      <a:pt x="19418" y="30404"/>
                    </a:cubicBezTo>
                    <a:cubicBezTo>
                      <a:pt x="20205" y="30500"/>
                      <a:pt x="21002" y="30500"/>
                      <a:pt x="21790" y="3040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89" name="Freeform: Shape 267">
                <a:extLst>
                  <a:ext uri="{FF2B5EF4-FFF2-40B4-BE49-F238E27FC236}">
                    <a16:creationId xmlns:a16="http://schemas.microsoft.com/office/drawing/2014/main" id="{24947391-A1BB-2B45-94FF-7B4410BC18DA}"/>
                  </a:ext>
                </a:extLst>
              </p:cNvPr>
              <p:cNvSpPr/>
              <p:nvPr/>
            </p:nvSpPr>
            <p:spPr>
              <a:xfrm>
                <a:off x="6096984" y="6358151"/>
                <a:ext cx="28615" cy="28615"/>
              </a:xfrm>
              <a:custGeom>
                <a:avLst/>
                <a:gdLst>
                  <a:gd name="connsiteX0" fmla="*/ 20461 w 28614"/>
                  <a:gd name="connsiteY0" fmla="*/ 10731 h 28614"/>
                  <a:gd name="connsiteX1" fmla="*/ 20461 w 28614"/>
                  <a:gd name="connsiteY1" fmla="*/ 10731 h 28614"/>
                  <a:gd name="connsiteX2" fmla="*/ 10731 w 28614"/>
                  <a:gd name="connsiteY2" fmla="*/ 20458 h 28614"/>
                  <a:gd name="connsiteX3" fmla="*/ 10732 w 28614"/>
                  <a:gd name="connsiteY3" fmla="*/ 20603 h 28614"/>
                  <a:gd name="connsiteX4" fmla="*/ 20173 w 28614"/>
                  <a:gd name="connsiteY4" fmla="*/ 30332 h 28614"/>
                  <a:gd name="connsiteX5" fmla="*/ 20461 w 28614"/>
                  <a:gd name="connsiteY5" fmla="*/ 30332 h 28614"/>
                  <a:gd name="connsiteX6" fmla="*/ 29761 w 28614"/>
                  <a:gd name="connsiteY6" fmla="*/ 21175 h 28614"/>
                  <a:gd name="connsiteX7" fmla="*/ 29761 w 28614"/>
                  <a:gd name="connsiteY7" fmla="*/ 20174 h 28614"/>
                  <a:gd name="connsiteX8" fmla="*/ 20606 w 28614"/>
                  <a:gd name="connsiteY8" fmla="*/ 10732 h 28614"/>
                  <a:gd name="connsiteX9" fmla="*/ 20461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20461" y="10731"/>
                    </a:moveTo>
                    <a:lnTo>
                      <a:pt x="20461" y="10731"/>
                    </a:lnTo>
                    <a:cubicBezTo>
                      <a:pt x="15087" y="10731"/>
                      <a:pt x="10732" y="15086"/>
                      <a:pt x="10731" y="20458"/>
                    </a:cubicBezTo>
                    <a:cubicBezTo>
                      <a:pt x="10731" y="20507"/>
                      <a:pt x="10731" y="20554"/>
                      <a:pt x="10732" y="20603"/>
                    </a:cubicBezTo>
                    <a:cubicBezTo>
                      <a:pt x="10652" y="25897"/>
                      <a:pt x="14880" y="30252"/>
                      <a:pt x="20173" y="30332"/>
                    </a:cubicBezTo>
                    <a:cubicBezTo>
                      <a:pt x="20269" y="30333"/>
                      <a:pt x="20365" y="30333"/>
                      <a:pt x="20461" y="30332"/>
                    </a:cubicBezTo>
                    <a:cubicBezTo>
                      <a:pt x="25542" y="30332"/>
                      <a:pt x="29682" y="26256"/>
                      <a:pt x="29761" y="21175"/>
                    </a:cubicBezTo>
                    <a:lnTo>
                      <a:pt x="29761" y="20174"/>
                    </a:lnTo>
                    <a:cubicBezTo>
                      <a:pt x="29840" y="15039"/>
                      <a:pt x="25741" y="10811"/>
                      <a:pt x="20606" y="10732"/>
                    </a:cubicBezTo>
                    <a:cubicBezTo>
                      <a:pt x="20557" y="10731"/>
                      <a:pt x="20510" y="10731"/>
                      <a:pt x="2046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0" name="Freeform: Shape 268">
                <a:extLst>
                  <a:ext uri="{FF2B5EF4-FFF2-40B4-BE49-F238E27FC236}">
                    <a16:creationId xmlns:a16="http://schemas.microsoft.com/office/drawing/2014/main" id="{77AEAD1F-4D79-B94A-9367-5C941BAC374B}"/>
                  </a:ext>
                </a:extLst>
              </p:cNvPr>
              <p:cNvSpPr/>
              <p:nvPr/>
            </p:nvSpPr>
            <p:spPr>
              <a:xfrm>
                <a:off x="5694659" y="610462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1" name="Freeform: Shape 269">
                <a:extLst>
                  <a:ext uri="{FF2B5EF4-FFF2-40B4-BE49-F238E27FC236}">
                    <a16:creationId xmlns:a16="http://schemas.microsoft.com/office/drawing/2014/main" id="{B6ACD7FF-A179-6D49-9809-452CEDBFAF6A}"/>
                  </a:ext>
                </a:extLst>
              </p:cNvPr>
              <p:cNvSpPr/>
              <p:nvPr/>
            </p:nvSpPr>
            <p:spPr>
              <a:xfrm>
                <a:off x="6097271" y="6307787"/>
                <a:ext cx="28615" cy="28615"/>
              </a:xfrm>
              <a:custGeom>
                <a:avLst/>
                <a:gdLst>
                  <a:gd name="connsiteX0" fmla="*/ 20174 w 28614"/>
                  <a:gd name="connsiteY0" fmla="*/ 10732 h 28614"/>
                  <a:gd name="connsiteX1" fmla="*/ 10731 w 28614"/>
                  <a:gd name="connsiteY1" fmla="*/ 19889 h 28614"/>
                  <a:gd name="connsiteX2" fmla="*/ 20174 w 28614"/>
                  <a:gd name="connsiteY2" fmla="*/ 29332 h 28614"/>
                  <a:gd name="connsiteX3" fmla="*/ 29473 w 28614"/>
                  <a:gd name="connsiteY3" fmla="*/ 19889 h 28614"/>
                  <a:gd name="connsiteX4" fmla="*/ 20318 w 28614"/>
                  <a:gd name="connsiteY4" fmla="*/ 10731 h 28614"/>
                  <a:gd name="connsiteX5" fmla="*/ 20174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174" y="10732"/>
                    </a:moveTo>
                    <a:cubicBezTo>
                      <a:pt x="15069" y="10729"/>
                      <a:pt x="10885" y="14785"/>
                      <a:pt x="10731" y="19889"/>
                    </a:cubicBezTo>
                    <a:cubicBezTo>
                      <a:pt x="10880" y="25041"/>
                      <a:pt x="15021" y="29183"/>
                      <a:pt x="20174" y="29332"/>
                    </a:cubicBezTo>
                    <a:cubicBezTo>
                      <a:pt x="25333" y="29253"/>
                      <a:pt x="29473" y="25048"/>
                      <a:pt x="29473" y="19889"/>
                    </a:cubicBezTo>
                    <a:cubicBezTo>
                      <a:pt x="29473" y="14831"/>
                      <a:pt x="25374" y="10732"/>
                      <a:pt x="20318" y="10731"/>
                    </a:cubicBezTo>
                    <a:cubicBezTo>
                      <a:pt x="20269" y="10731"/>
                      <a:pt x="20222" y="10731"/>
                      <a:pt x="20174"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2" name="Freeform: Shape 270">
                <a:extLst>
                  <a:ext uri="{FF2B5EF4-FFF2-40B4-BE49-F238E27FC236}">
                    <a16:creationId xmlns:a16="http://schemas.microsoft.com/office/drawing/2014/main" id="{1E3D41EB-05E1-504D-8813-F7B49BA8C4C6}"/>
                  </a:ext>
                </a:extLst>
              </p:cNvPr>
              <p:cNvSpPr/>
              <p:nvPr/>
            </p:nvSpPr>
            <p:spPr>
              <a:xfrm>
                <a:off x="6016577" y="6257713"/>
                <a:ext cx="28615" cy="28615"/>
              </a:xfrm>
              <a:custGeom>
                <a:avLst/>
                <a:gdLst>
                  <a:gd name="connsiteX0" fmla="*/ 21175 w 28614"/>
                  <a:gd name="connsiteY0" fmla="*/ 10731 h 28614"/>
                  <a:gd name="connsiteX1" fmla="*/ 21175 w 28614"/>
                  <a:gd name="connsiteY1" fmla="*/ 10731 h 28614"/>
                  <a:gd name="connsiteX2" fmla="*/ 10731 w 28614"/>
                  <a:gd name="connsiteY2" fmla="*/ 21175 h 28614"/>
                  <a:gd name="connsiteX3" fmla="*/ 20889 w 28614"/>
                  <a:gd name="connsiteY3" fmla="*/ 31333 h 28614"/>
                  <a:gd name="connsiteX4" fmla="*/ 20889 w 28614"/>
                  <a:gd name="connsiteY4" fmla="*/ 31333 h 28614"/>
                  <a:gd name="connsiteX5" fmla="*/ 31190 w 28614"/>
                  <a:gd name="connsiteY5" fmla="*/ 21032 h 28614"/>
                  <a:gd name="connsiteX6" fmla="*/ 20889 w 28614"/>
                  <a:gd name="connsiteY6"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175" y="10731"/>
                    </a:moveTo>
                    <a:lnTo>
                      <a:pt x="21175" y="10731"/>
                    </a:lnTo>
                    <a:cubicBezTo>
                      <a:pt x="15406" y="10731"/>
                      <a:pt x="10731" y="15406"/>
                      <a:pt x="10731" y="21175"/>
                    </a:cubicBezTo>
                    <a:cubicBezTo>
                      <a:pt x="10731" y="26785"/>
                      <a:pt x="15279" y="31333"/>
                      <a:pt x="20889" y="31333"/>
                    </a:cubicBezTo>
                    <a:lnTo>
                      <a:pt x="20889" y="31333"/>
                    </a:lnTo>
                    <a:cubicBezTo>
                      <a:pt x="26578" y="31333"/>
                      <a:pt x="31190" y="26721"/>
                      <a:pt x="31190" y="21032"/>
                    </a:cubicBezTo>
                    <a:cubicBezTo>
                      <a:pt x="31190" y="15343"/>
                      <a:pt x="26578" y="10731"/>
                      <a:pt x="2088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3" name="Freeform: Shape 271">
                <a:extLst>
                  <a:ext uri="{FF2B5EF4-FFF2-40B4-BE49-F238E27FC236}">
                    <a16:creationId xmlns:a16="http://schemas.microsoft.com/office/drawing/2014/main" id="{2F6D75A0-44B1-B74E-AF7A-1C82BD882340}"/>
                  </a:ext>
                </a:extLst>
              </p:cNvPr>
              <p:cNvSpPr/>
              <p:nvPr/>
            </p:nvSpPr>
            <p:spPr>
              <a:xfrm>
                <a:off x="6177102" y="6359868"/>
                <a:ext cx="28615" cy="28615"/>
              </a:xfrm>
              <a:custGeom>
                <a:avLst/>
                <a:gdLst>
                  <a:gd name="connsiteX0" fmla="*/ 19463 w 28614"/>
                  <a:gd name="connsiteY0" fmla="*/ 10731 h 28614"/>
                  <a:gd name="connsiteX1" fmla="*/ 10736 w 28614"/>
                  <a:gd name="connsiteY1" fmla="*/ 19029 h 28614"/>
                  <a:gd name="connsiteX2" fmla="*/ 18744 w 28614"/>
                  <a:gd name="connsiteY2" fmla="*/ 27609 h 28614"/>
                  <a:gd name="connsiteX3" fmla="*/ 19034 w 28614"/>
                  <a:gd name="connsiteY3" fmla="*/ 27613 h 28614"/>
                  <a:gd name="connsiteX4" fmla="*/ 19034 w 28614"/>
                  <a:gd name="connsiteY4" fmla="*/ 27613 h 28614"/>
                  <a:gd name="connsiteX5" fmla="*/ 27189 w 28614"/>
                  <a:gd name="connsiteY5" fmla="*/ 19747 h 28614"/>
                  <a:gd name="connsiteX6" fmla="*/ 27189 w 28614"/>
                  <a:gd name="connsiteY6" fmla="*/ 19458 h 28614"/>
                  <a:gd name="connsiteX7" fmla="*/ 19463 w 28614"/>
                  <a:gd name="connsiteY7"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19463" y="10731"/>
                    </a:moveTo>
                    <a:cubicBezTo>
                      <a:pt x="14806" y="10725"/>
                      <a:pt x="10965" y="14378"/>
                      <a:pt x="10736" y="19029"/>
                    </a:cubicBezTo>
                    <a:cubicBezTo>
                      <a:pt x="10578" y="23609"/>
                      <a:pt x="14162" y="27450"/>
                      <a:pt x="18744" y="27609"/>
                    </a:cubicBezTo>
                    <a:cubicBezTo>
                      <a:pt x="18839" y="27612"/>
                      <a:pt x="18937" y="27613"/>
                      <a:pt x="19034" y="27613"/>
                    </a:cubicBezTo>
                    <a:lnTo>
                      <a:pt x="19034" y="27613"/>
                    </a:lnTo>
                    <a:cubicBezTo>
                      <a:pt x="23458" y="27694"/>
                      <a:pt x="27109" y="24171"/>
                      <a:pt x="27189" y="19747"/>
                    </a:cubicBezTo>
                    <a:cubicBezTo>
                      <a:pt x="27191" y="19651"/>
                      <a:pt x="27191" y="19554"/>
                      <a:pt x="27189" y="19458"/>
                    </a:cubicBezTo>
                    <a:cubicBezTo>
                      <a:pt x="27358" y="14953"/>
                      <a:pt x="23956" y="11110"/>
                      <a:pt x="1946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4" name="Freeform: Shape 272">
                <a:extLst>
                  <a:ext uri="{FF2B5EF4-FFF2-40B4-BE49-F238E27FC236}">
                    <a16:creationId xmlns:a16="http://schemas.microsoft.com/office/drawing/2014/main" id="{066939A5-E2C4-B84E-95A7-B24F9FA908D1}"/>
                  </a:ext>
                </a:extLst>
              </p:cNvPr>
              <p:cNvSpPr/>
              <p:nvPr/>
            </p:nvSpPr>
            <p:spPr>
              <a:xfrm>
                <a:off x="6176443" y="6111825"/>
                <a:ext cx="28615" cy="28615"/>
              </a:xfrm>
              <a:custGeom>
                <a:avLst/>
                <a:gdLst>
                  <a:gd name="connsiteX0" fmla="*/ 17976 w 28614"/>
                  <a:gd name="connsiteY0" fmla="*/ 27422 h 28614"/>
                  <a:gd name="connsiteX1" fmla="*/ 27562 w 28614"/>
                  <a:gd name="connsiteY1" fmla="*/ 20411 h 28614"/>
                  <a:gd name="connsiteX2" fmla="*/ 27562 w 28614"/>
                  <a:gd name="connsiteY2" fmla="*/ 17836 h 28614"/>
                  <a:gd name="connsiteX3" fmla="*/ 17976 w 28614"/>
                  <a:gd name="connsiteY3" fmla="*/ 10825 h 28614"/>
                  <a:gd name="connsiteX4" fmla="*/ 10822 w 28614"/>
                  <a:gd name="connsiteY4" fmla="*/ 17836 h 28614"/>
                  <a:gd name="connsiteX5" fmla="*/ 17943 w 28614"/>
                  <a:gd name="connsiteY5" fmla="*/ 27418 h 28614"/>
                  <a:gd name="connsiteX6" fmla="*/ 17976 w 28614"/>
                  <a:gd name="connsiteY6" fmla="*/ 2742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7976" y="27422"/>
                    </a:moveTo>
                    <a:cubicBezTo>
                      <a:pt x="22553" y="28107"/>
                      <a:pt x="26828" y="24981"/>
                      <a:pt x="27562" y="20411"/>
                    </a:cubicBezTo>
                    <a:cubicBezTo>
                      <a:pt x="27706" y="19558"/>
                      <a:pt x="27706" y="18689"/>
                      <a:pt x="27562" y="17836"/>
                    </a:cubicBezTo>
                    <a:cubicBezTo>
                      <a:pt x="26828" y="13266"/>
                      <a:pt x="22553" y="10138"/>
                      <a:pt x="17976" y="10825"/>
                    </a:cubicBezTo>
                    <a:cubicBezTo>
                      <a:pt x="14313" y="11342"/>
                      <a:pt x="11413" y="14183"/>
                      <a:pt x="10822" y="17836"/>
                    </a:cubicBezTo>
                    <a:cubicBezTo>
                      <a:pt x="10142" y="22449"/>
                      <a:pt x="13331" y="26738"/>
                      <a:pt x="17943" y="27418"/>
                    </a:cubicBezTo>
                    <a:cubicBezTo>
                      <a:pt x="17954" y="27419"/>
                      <a:pt x="17964" y="27420"/>
                      <a:pt x="17976" y="2742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5" name="Freeform: Shape 273">
                <a:extLst>
                  <a:ext uri="{FF2B5EF4-FFF2-40B4-BE49-F238E27FC236}">
                    <a16:creationId xmlns:a16="http://schemas.microsoft.com/office/drawing/2014/main" id="{BFFB0EAB-2ECB-A142-A8D3-AD8CB11A9956}"/>
                  </a:ext>
                </a:extLst>
              </p:cNvPr>
              <p:cNvSpPr/>
              <p:nvPr/>
            </p:nvSpPr>
            <p:spPr>
              <a:xfrm>
                <a:off x="5222224" y="6258714"/>
                <a:ext cx="28615" cy="28615"/>
              </a:xfrm>
              <a:custGeom>
                <a:avLst/>
                <a:gdLst>
                  <a:gd name="connsiteX0" fmla="*/ 20032 w 28614"/>
                  <a:gd name="connsiteY0" fmla="*/ 29330 h 28614"/>
                  <a:gd name="connsiteX1" fmla="*/ 29330 w 28614"/>
                  <a:gd name="connsiteY1" fmla="*/ 20029 h 28614"/>
                  <a:gd name="connsiteX2" fmla="*/ 20029 w 28614"/>
                  <a:gd name="connsiteY2" fmla="*/ 10731 h 28614"/>
                  <a:gd name="connsiteX3" fmla="*/ 10731 w 28614"/>
                  <a:gd name="connsiteY3" fmla="*/ 20032 h 28614"/>
                  <a:gd name="connsiteX4" fmla="*/ 10732 w 28614"/>
                  <a:gd name="connsiteY4" fmla="*/ 20173 h 28614"/>
                  <a:gd name="connsiteX5" fmla="*/ 20032 w 28614"/>
                  <a:gd name="connsiteY5" fmla="*/ 293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2" y="29330"/>
                    </a:moveTo>
                    <a:cubicBezTo>
                      <a:pt x="25168" y="29330"/>
                      <a:pt x="29332" y="25165"/>
                      <a:pt x="29330" y="20029"/>
                    </a:cubicBezTo>
                    <a:cubicBezTo>
                      <a:pt x="29330" y="14893"/>
                      <a:pt x="25165" y="10731"/>
                      <a:pt x="20029" y="10731"/>
                    </a:cubicBezTo>
                    <a:cubicBezTo>
                      <a:pt x="14894" y="10731"/>
                      <a:pt x="10731" y="14896"/>
                      <a:pt x="10731" y="20032"/>
                    </a:cubicBezTo>
                    <a:cubicBezTo>
                      <a:pt x="10731" y="20079"/>
                      <a:pt x="10731" y="20126"/>
                      <a:pt x="10732" y="20173"/>
                    </a:cubicBezTo>
                    <a:cubicBezTo>
                      <a:pt x="10811" y="25254"/>
                      <a:pt x="14951" y="29330"/>
                      <a:pt x="20032" y="293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6" name="Freeform: Shape 274">
                <a:extLst>
                  <a:ext uri="{FF2B5EF4-FFF2-40B4-BE49-F238E27FC236}">
                    <a16:creationId xmlns:a16="http://schemas.microsoft.com/office/drawing/2014/main" id="{FFF673D1-0546-FE47-9570-B6DBDD8CEA46}"/>
                  </a:ext>
                </a:extLst>
              </p:cNvPr>
              <p:cNvSpPr/>
              <p:nvPr/>
            </p:nvSpPr>
            <p:spPr>
              <a:xfrm>
                <a:off x="6097271" y="6209496"/>
                <a:ext cx="28615" cy="28615"/>
              </a:xfrm>
              <a:custGeom>
                <a:avLst/>
                <a:gdLst>
                  <a:gd name="connsiteX0" fmla="*/ 20174 w 28614"/>
                  <a:gd name="connsiteY0" fmla="*/ 10731 h 28614"/>
                  <a:gd name="connsiteX1" fmla="*/ 10731 w 28614"/>
                  <a:gd name="connsiteY1" fmla="*/ 19887 h 28614"/>
                  <a:gd name="connsiteX2" fmla="*/ 20174 w 28614"/>
                  <a:gd name="connsiteY2" fmla="*/ 29330 h 28614"/>
                  <a:gd name="connsiteX3" fmla="*/ 29473 w 28614"/>
                  <a:gd name="connsiteY3" fmla="*/ 19887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69" y="10728"/>
                      <a:pt x="10885" y="14784"/>
                      <a:pt x="10731" y="19887"/>
                    </a:cubicBezTo>
                    <a:cubicBezTo>
                      <a:pt x="10880" y="25040"/>
                      <a:pt x="15021" y="29181"/>
                      <a:pt x="20174" y="29330"/>
                    </a:cubicBezTo>
                    <a:cubicBezTo>
                      <a:pt x="25333" y="29252"/>
                      <a:pt x="29473" y="25047"/>
                      <a:pt x="29473" y="19887"/>
                    </a:cubicBezTo>
                    <a:cubicBezTo>
                      <a:pt x="29395" y="14807"/>
                      <a:pt x="25254" y="10731"/>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7" name="Freeform: Shape 275">
                <a:extLst>
                  <a:ext uri="{FF2B5EF4-FFF2-40B4-BE49-F238E27FC236}">
                    <a16:creationId xmlns:a16="http://schemas.microsoft.com/office/drawing/2014/main" id="{8B286317-31F6-6144-BD30-F16A34DD14E2}"/>
                  </a:ext>
                </a:extLst>
              </p:cNvPr>
              <p:cNvSpPr/>
              <p:nvPr/>
            </p:nvSpPr>
            <p:spPr>
              <a:xfrm>
                <a:off x="6097271" y="6158419"/>
                <a:ext cx="28615" cy="28615"/>
              </a:xfrm>
              <a:custGeom>
                <a:avLst/>
                <a:gdLst>
                  <a:gd name="connsiteX0" fmla="*/ 20174 w 28614"/>
                  <a:gd name="connsiteY0" fmla="*/ 10731 h 28614"/>
                  <a:gd name="connsiteX1" fmla="*/ 10731 w 28614"/>
                  <a:gd name="connsiteY1" fmla="*/ 20173 h 28614"/>
                  <a:gd name="connsiteX2" fmla="*/ 20174 w 28614"/>
                  <a:gd name="connsiteY2" fmla="*/ 29330 h 28614"/>
                  <a:gd name="connsiteX3" fmla="*/ 29473 w 28614"/>
                  <a:gd name="connsiteY3" fmla="*/ 20173 h 28614"/>
                  <a:gd name="connsiteX4" fmla="*/ 20174 w 28614"/>
                  <a:gd name="connsiteY4" fmla="*/ 1073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0174" y="10731"/>
                    </a:moveTo>
                    <a:cubicBezTo>
                      <a:pt x="15021" y="10879"/>
                      <a:pt x="10880" y="15021"/>
                      <a:pt x="10731" y="20173"/>
                    </a:cubicBezTo>
                    <a:cubicBezTo>
                      <a:pt x="10885" y="25277"/>
                      <a:pt x="15069" y="29333"/>
                      <a:pt x="20174" y="29330"/>
                    </a:cubicBezTo>
                    <a:cubicBezTo>
                      <a:pt x="25254" y="29330"/>
                      <a:pt x="29395" y="25254"/>
                      <a:pt x="29473" y="20173"/>
                    </a:cubicBezTo>
                    <a:cubicBezTo>
                      <a:pt x="29473" y="15014"/>
                      <a:pt x="25333" y="10809"/>
                      <a:pt x="2017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8" name="Freeform: Shape 276">
                <a:extLst>
                  <a:ext uri="{FF2B5EF4-FFF2-40B4-BE49-F238E27FC236}">
                    <a16:creationId xmlns:a16="http://schemas.microsoft.com/office/drawing/2014/main" id="{8F6BCAB3-C6FA-384B-8F1D-E38563D3B3A1}"/>
                  </a:ext>
                </a:extLst>
              </p:cNvPr>
              <p:cNvSpPr/>
              <p:nvPr/>
            </p:nvSpPr>
            <p:spPr>
              <a:xfrm>
                <a:off x="5223080" y="6107698"/>
                <a:ext cx="28615" cy="28615"/>
              </a:xfrm>
              <a:custGeom>
                <a:avLst/>
                <a:gdLst>
                  <a:gd name="connsiteX0" fmla="*/ 19892 w 28614"/>
                  <a:gd name="connsiteY0" fmla="*/ 10802 h 28614"/>
                  <a:gd name="connsiteX1" fmla="*/ 10735 w 28614"/>
                  <a:gd name="connsiteY1" fmla="*/ 19959 h 28614"/>
                  <a:gd name="connsiteX2" fmla="*/ 10735 w 28614"/>
                  <a:gd name="connsiteY2" fmla="*/ 20961 h 28614"/>
                  <a:gd name="connsiteX3" fmla="*/ 19600 w 28614"/>
                  <a:gd name="connsiteY3" fmla="*/ 30401 h 28614"/>
                  <a:gd name="connsiteX4" fmla="*/ 19749 w 28614"/>
                  <a:gd name="connsiteY4" fmla="*/ 30404 h 28614"/>
                  <a:gd name="connsiteX5" fmla="*/ 19749 w 28614"/>
                  <a:gd name="connsiteY5" fmla="*/ 30404 h 28614"/>
                  <a:gd name="connsiteX6" fmla="*/ 30736 w 28614"/>
                  <a:gd name="connsiteY6" fmla="*/ 21789 h 28614"/>
                  <a:gd name="connsiteX7" fmla="*/ 22121 w 28614"/>
                  <a:gd name="connsiteY7" fmla="*/ 10802 h 28614"/>
                  <a:gd name="connsiteX8" fmla="*/ 19749 w 28614"/>
                  <a:gd name="connsiteY8" fmla="*/ 108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19892" y="10802"/>
                    </a:moveTo>
                    <a:cubicBezTo>
                      <a:pt x="14834" y="10802"/>
                      <a:pt x="10735" y="14902"/>
                      <a:pt x="10735" y="19959"/>
                    </a:cubicBezTo>
                    <a:lnTo>
                      <a:pt x="10735" y="20961"/>
                    </a:lnTo>
                    <a:cubicBezTo>
                      <a:pt x="10576" y="26016"/>
                      <a:pt x="14545" y="30242"/>
                      <a:pt x="19600" y="30401"/>
                    </a:cubicBezTo>
                    <a:cubicBezTo>
                      <a:pt x="19650" y="30402"/>
                      <a:pt x="19699" y="30402"/>
                      <a:pt x="19749" y="30404"/>
                    </a:cubicBezTo>
                    <a:lnTo>
                      <a:pt x="19749" y="30404"/>
                    </a:lnTo>
                    <a:cubicBezTo>
                      <a:pt x="25161" y="31059"/>
                      <a:pt x="30080" y="27202"/>
                      <a:pt x="30736" y="21789"/>
                    </a:cubicBezTo>
                    <a:cubicBezTo>
                      <a:pt x="31391" y="16377"/>
                      <a:pt x="27534" y="11458"/>
                      <a:pt x="22121" y="10802"/>
                    </a:cubicBezTo>
                    <a:cubicBezTo>
                      <a:pt x="21334" y="10707"/>
                      <a:pt x="20537" y="10707"/>
                      <a:pt x="19749" y="1080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899" name="Freeform: Shape 277">
                <a:extLst>
                  <a:ext uri="{FF2B5EF4-FFF2-40B4-BE49-F238E27FC236}">
                    <a16:creationId xmlns:a16="http://schemas.microsoft.com/office/drawing/2014/main" id="{8DC9FEBB-02AE-9F45-A04F-4DBBCA3F0BAE}"/>
                  </a:ext>
                </a:extLst>
              </p:cNvPr>
              <p:cNvSpPr/>
              <p:nvPr/>
            </p:nvSpPr>
            <p:spPr>
              <a:xfrm>
                <a:off x="5222940" y="6357150"/>
                <a:ext cx="28615" cy="28615"/>
              </a:xfrm>
              <a:custGeom>
                <a:avLst/>
                <a:gdLst>
                  <a:gd name="connsiteX0" fmla="*/ 19889 w 28614"/>
                  <a:gd name="connsiteY0" fmla="*/ 10731 h 28614"/>
                  <a:gd name="connsiteX1" fmla="*/ 10731 w 28614"/>
                  <a:gd name="connsiteY1" fmla="*/ 19886 h 28614"/>
                  <a:gd name="connsiteX2" fmla="*/ 10732 w 28614"/>
                  <a:gd name="connsiteY2" fmla="*/ 20030 h 28614"/>
                  <a:gd name="connsiteX3" fmla="*/ 10732 w 28614"/>
                  <a:gd name="connsiteY3" fmla="*/ 20030 h 28614"/>
                  <a:gd name="connsiteX4" fmla="*/ 10732 w 28614"/>
                  <a:gd name="connsiteY4" fmla="*/ 21032 h 28614"/>
                  <a:gd name="connsiteX5" fmla="*/ 19600 w 28614"/>
                  <a:gd name="connsiteY5" fmla="*/ 30189 h 28614"/>
                  <a:gd name="connsiteX6" fmla="*/ 19889 w 28614"/>
                  <a:gd name="connsiteY6" fmla="*/ 30189 h 28614"/>
                  <a:gd name="connsiteX7" fmla="*/ 29760 w 28614"/>
                  <a:gd name="connsiteY7" fmla="*/ 20604 h 28614"/>
                  <a:gd name="connsiteX8" fmla="*/ 29761 w 28614"/>
                  <a:gd name="connsiteY8" fmla="*/ 20460 h 28614"/>
                  <a:gd name="connsiteX9" fmla="*/ 19889 w 28614"/>
                  <a:gd name="connsiteY9"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14" h="28614">
                    <a:moveTo>
                      <a:pt x="19889" y="10731"/>
                    </a:moveTo>
                    <a:cubicBezTo>
                      <a:pt x="14831" y="10731"/>
                      <a:pt x="10732" y="14830"/>
                      <a:pt x="10731" y="19886"/>
                    </a:cubicBezTo>
                    <a:cubicBezTo>
                      <a:pt x="10731" y="19935"/>
                      <a:pt x="10731" y="19982"/>
                      <a:pt x="10732" y="20030"/>
                    </a:cubicBezTo>
                    <a:lnTo>
                      <a:pt x="10732" y="20030"/>
                    </a:lnTo>
                    <a:lnTo>
                      <a:pt x="10732" y="21032"/>
                    </a:lnTo>
                    <a:cubicBezTo>
                      <a:pt x="10652" y="26010"/>
                      <a:pt x="14622" y="30109"/>
                      <a:pt x="19600" y="30189"/>
                    </a:cubicBezTo>
                    <a:cubicBezTo>
                      <a:pt x="19697" y="30190"/>
                      <a:pt x="19793" y="30190"/>
                      <a:pt x="19889" y="30189"/>
                    </a:cubicBezTo>
                    <a:cubicBezTo>
                      <a:pt x="25261" y="30267"/>
                      <a:pt x="29681" y="25977"/>
                      <a:pt x="29760" y="20604"/>
                    </a:cubicBezTo>
                    <a:cubicBezTo>
                      <a:pt x="29761" y="20556"/>
                      <a:pt x="29761" y="20508"/>
                      <a:pt x="29761" y="20460"/>
                    </a:cubicBezTo>
                    <a:cubicBezTo>
                      <a:pt x="29682" y="15063"/>
                      <a:pt x="25286" y="10731"/>
                      <a:pt x="19889"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0" name="Freeform: Shape 278">
                <a:extLst>
                  <a:ext uri="{FF2B5EF4-FFF2-40B4-BE49-F238E27FC236}">
                    <a16:creationId xmlns:a16="http://schemas.microsoft.com/office/drawing/2014/main" id="{AAEDCA86-939D-8849-9B95-BCEB47A40A74}"/>
                  </a:ext>
                </a:extLst>
              </p:cNvPr>
              <p:cNvSpPr/>
              <p:nvPr/>
            </p:nvSpPr>
            <p:spPr>
              <a:xfrm>
                <a:off x="5144964" y="6109344"/>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1" name="Freeform: Shape 279">
                <a:extLst>
                  <a:ext uri="{FF2B5EF4-FFF2-40B4-BE49-F238E27FC236}">
                    <a16:creationId xmlns:a16="http://schemas.microsoft.com/office/drawing/2014/main" id="{946C08D2-8517-DC41-98AA-02D6BE3D581E}"/>
                  </a:ext>
                </a:extLst>
              </p:cNvPr>
              <p:cNvSpPr/>
              <p:nvPr/>
            </p:nvSpPr>
            <p:spPr>
              <a:xfrm>
                <a:off x="5300773" y="6257855"/>
                <a:ext cx="28615" cy="28615"/>
              </a:xfrm>
              <a:custGeom>
                <a:avLst/>
                <a:gdLst>
                  <a:gd name="connsiteX0" fmla="*/ 20890 w 28614"/>
                  <a:gd name="connsiteY0" fmla="*/ 31191 h 28614"/>
                  <a:gd name="connsiteX1" fmla="*/ 31334 w 28614"/>
                  <a:gd name="connsiteY1" fmla="*/ 21176 h 28614"/>
                  <a:gd name="connsiteX2" fmla="*/ 31334 w 28614"/>
                  <a:gd name="connsiteY2" fmla="*/ 21176 h 28614"/>
                  <a:gd name="connsiteX3" fmla="*/ 21178 w 28614"/>
                  <a:gd name="connsiteY3" fmla="*/ 10732 h 28614"/>
                  <a:gd name="connsiteX4" fmla="*/ 20890 w 28614"/>
                  <a:gd name="connsiteY4" fmla="*/ 10732 h 28614"/>
                  <a:gd name="connsiteX5" fmla="*/ 10732 w 28614"/>
                  <a:gd name="connsiteY5" fmla="*/ 20890 h 28614"/>
                  <a:gd name="connsiteX6" fmla="*/ 10732 w 28614"/>
                  <a:gd name="connsiteY6" fmla="*/ 20890 h 28614"/>
                  <a:gd name="connsiteX7" fmla="*/ 20745 w 28614"/>
                  <a:gd name="connsiteY7" fmla="*/ 31190 h 28614"/>
                  <a:gd name="connsiteX8" fmla="*/ 20890 w 28614"/>
                  <a:gd name="connsiteY8" fmla="*/ 3119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0890" y="31191"/>
                    </a:moveTo>
                    <a:cubicBezTo>
                      <a:pt x="26524" y="31271"/>
                      <a:pt x="31178" y="26809"/>
                      <a:pt x="31334" y="21176"/>
                    </a:cubicBezTo>
                    <a:lnTo>
                      <a:pt x="31334" y="21176"/>
                    </a:lnTo>
                    <a:cubicBezTo>
                      <a:pt x="31415" y="15488"/>
                      <a:pt x="26866" y="10812"/>
                      <a:pt x="21178" y="10732"/>
                    </a:cubicBezTo>
                    <a:cubicBezTo>
                      <a:pt x="21082" y="10730"/>
                      <a:pt x="20986" y="10730"/>
                      <a:pt x="20890" y="10732"/>
                    </a:cubicBezTo>
                    <a:cubicBezTo>
                      <a:pt x="15280" y="10732"/>
                      <a:pt x="10732" y="15280"/>
                      <a:pt x="10732" y="20890"/>
                    </a:cubicBezTo>
                    <a:lnTo>
                      <a:pt x="10732" y="20890"/>
                    </a:lnTo>
                    <a:cubicBezTo>
                      <a:pt x="10653" y="26500"/>
                      <a:pt x="15135" y="31111"/>
                      <a:pt x="20745" y="31190"/>
                    </a:cubicBezTo>
                    <a:cubicBezTo>
                      <a:pt x="20794" y="31191"/>
                      <a:pt x="20841" y="31191"/>
                      <a:pt x="20890" y="3119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2" name="Freeform: Shape 280">
                <a:extLst>
                  <a:ext uri="{FF2B5EF4-FFF2-40B4-BE49-F238E27FC236}">
                    <a16:creationId xmlns:a16="http://schemas.microsoft.com/office/drawing/2014/main" id="{3D3488BB-CF81-8E47-89BB-FF443712CFC0}"/>
                  </a:ext>
                </a:extLst>
              </p:cNvPr>
              <p:cNvSpPr/>
              <p:nvPr/>
            </p:nvSpPr>
            <p:spPr>
              <a:xfrm>
                <a:off x="5222226" y="6309362"/>
                <a:ext cx="28615" cy="28615"/>
              </a:xfrm>
              <a:custGeom>
                <a:avLst/>
                <a:gdLst>
                  <a:gd name="connsiteX0" fmla="*/ 20030 w 28614"/>
                  <a:gd name="connsiteY0" fmla="*/ 29331 h 28614"/>
                  <a:gd name="connsiteX1" fmla="*/ 29473 w 28614"/>
                  <a:gd name="connsiteY1" fmla="*/ 19889 h 28614"/>
                  <a:gd name="connsiteX2" fmla="*/ 20030 w 28614"/>
                  <a:gd name="connsiteY2" fmla="*/ 10732 h 28614"/>
                  <a:gd name="connsiteX3" fmla="*/ 10732 w 28614"/>
                  <a:gd name="connsiteY3" fmla="*/ 19744 h 28614"/>
                  <a:gd name="connsiteX4" fmla="*/ 10731 w 28614"/>
                  <a:gd name="connsiteY4" fmla="*/ 19889 h 28614"/>
                  <a:gd name="connsiteX5" fmla="*/ 20030 w 28614"/>
                  <a:gd name="connsiteY5" fmla="*/ 293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030" y="29331"/>
                    </a:moveTo>
                    <a:cubicBezTo>
                      <a:pt x="25183" y="29183"/>
                      <a:pt x="29325" y="25041"/>
                      <a:pt x="29473" y="19889"/>
                    </a:cubicBezTo>
                    <a:cubicBezTo>
                      <a:pt x="29319" y="14785"/>
                      <a:pt x="25135" y="10729"/>
                      <a:pt x="20030" y="10732"/>
                    </a:cubicBezTo>
                    <a:cubicBezTo>
                      <a:pt x="14974" y="10653"/>
                      <a:pt x="10811" y="14688"/>
                      <a:pt x="10732" y="19744"/>
                    </a:cubicBezTo>
                    <a:cubicBezTo>
                      <a:pt x="10731" y="19793"/>
                      <a:pt x="10731" y="19840"/>
                      <a:pt x="10731" y="19889"/>
                    </a:cubicBezTo>
                    <a:cubicBezTo>
                      <a:pt x="10731" y="25048"/>
                      <a:pt x="14871" y="29253"/>
                      <a:pt x="20030" y="293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3" name="Freeform: Shape 281">
                <a:extLst>
                  <a:ext uri="{FF2B5EF4-FFF2-40B4-BE49-F238E27FC236}">
                    <a16:creationId xmlns:a16="http://schemas.microsoft.com/office/drawing/2014/main" id="{0D5BF696-0BD4-2648-A863-9BACD6DFCA8A}"/>
                  </a:ext>
                </a:extLst>
              </p:cNvPr>
              <p:cNvSpPr/>
              <p:nvPr/>
            </p:nvSpPr>
            <p:spPr>
              <a:xfrm>
                <a:off x="5300917" y="6307931"/>
                <a:ext cx="42922" cy="28615"/>
              </a:xfrm>
              <a:custGeom>
                <a:avLst/>
                <a:gdLst>
                  <a:gd name="connsiteX0" fmla="*/ 26469 w 42922"/>
                  <a:gd name="connsiteY0" fmla="*/ 11161 h 28614"/>
                  <a:gd name="connsiteX1" fmla="*/ 20746 w 42922"/>
                  <a:gd name="connsiteY1" fmla="*/ 11161 h 28614"/>
                  <a:gd name="connsiteX2" fmla="*/ 10731 w 42922"/>
                  <a:gd name="connsiteY2" fmla="*/ 20890 h 28614"/>
                  <a:gd name="connsiteX3" fmla="*/ 20746 w 42922"/>
                  <a:gd name="connsiteY3" fmla="*/ 30762 h 28614"/>
                  <a:gd name="connsiteX4" fmla="*/ 33408 w 42922"/>
                  <a:gd name="connsiteY4" fmla="*/ 23823 h 28614"/>
                  <a:gd name="connsiteX5" fmla="*/ 26469 w 42922"/>
                  <a:gd name="connsiteY5" fmla="*/ 111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161"/>
                    </a:moveTo>
                    <a:cubicBezTo>
                      <a:pt x="24605" y="10587"/>
                      <a:pt x="22610" y="10587"/>
                      <a:pt x="20746" y="11161"/>
                    </a:cubicBezTo>
                    <a:cubicBezTo>
                      <a:pt x="15325" y="11159"/>
                      <a:pt x="10885" y="15470"/>
                      <a:pt x="10731" y="20890"/>
                    </a:cubicBezTo>
                    <a:cubicBezTo>
                      <a:pt x="10884" y="26332"/>
                      <a:pt x="15300" y="30688"/>
                      <a:pt x="20746" y="30762"/>
                    </a:cubicBezTo>
                    <a:cubicBezTo>
                      <a:pt x="26158" y="32343"/>
                      <a:pt x="31827" y="29236"/>
                      <a:pt x="33408" y="23823"/>
                    </a:cubicBezTo>
                    <a:cubicBezTo>
                      <a:pt x="34989" y="18410"/>
                      <a:pt x="31881" y="12742"/>
                      <a:pt x="26469" y="1116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4" name="Freeform: Shape 282">
                <a:extLst>
                  <a:ext uri="{FF2B5EF4-FFF2-40B4-BE49-F238E27FC236}">
                    <a16:creationId xmlns:a16="http://schemas.microsoft.com/office/drawing/2014/main" id="{D7C4293A-0BFD-B044-8052-659A11C2DC56}"/>
                  </a:ext>
                </a:extLst>
              </p:cNvPr>
              <p:cNvSpPr/>
              <p:nvPr/>
            </p:nvSpPr>
            <p:spPr>
              <a:xfrm>
                <a:off x="5694802" y="615427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5" name="Freeform: Shape 283">
                <a:extLst>
                  <a:ext uri="{FF2B5EF4-FFF2-40B4-BE49-F238E27FC236}">
                    <a16:creationId xmlns:a16="http://schemas.microsoft.com/office/drawing/2014/main" id="{B215F0FC-AD04-5440-AB8B-54B8EEB412C6}"/>
                  </a:ext>
                </a:extLst>
              </p:cNvPr>
              <p:cNvSpPr/>
              <p:nvPr/>
            </p:nvSpPr>
            <p:spPr>
              <a:xfrm>
                <a:off x="5300774" y="6318520"/>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6" name="Freeform: Shape 284">
                <a:extLst>
                  <a:ext uri="{FF2B5EF4-FFF2-40B4-BE49-F238E27FC236}">
                    <a16:creationId xmlns:a16="http://schemas.microsoft.com/office/drawing/2014/main" id="{1D7654E4-D984-0B4A-8841-FA54C947158F}"/>
                  </a:ext>
                </a:extLst>
              </p:cNvPr>
              <p:cNvSpPr/>
              <p:nvPr/>
            </p:nvSpPr>
            <p:spPr>
              <a:xfrm>
                <a:off x="5301346" y="6207635"/>
                <a:ext cx="28615" cy="28615"/>
              </a:xfrm>
              <a:custGeom>
                <a:avLst/>
                <a:gdLst>
                  <a:gd name="connsiteX0" fmla="*/ 20889 w 28614"/>
                  <a:gd name="connsiteY0" fmla="*/ 31335 h 28614"/>
                  <a:gd name="connsiteX1" fmla="*/ 20889 w 28614"/>
                  <a:gd name="connsiteY1" fmla="*/ 31335 h 28614"/>
                  <a:gd name="connsiteX2" fmla="*/ 31333 w 28614"/>
                  <a:gd name="connsiteY2" fmla="*/ 20890 h 28614"/>
                  <a:gd name="connsiteX3" fmla="*/ 21177 w 28614"/>
                  <a:gd name="connsiteY3" fmla="*/ 10731 h 28614"/>
                  <a:gd name="connsiteX4" fmla="*/ 21032 w 28614"/>
                  <a:gd name="connsiteY4" fmla="*/ 10732 h 28614"/>
                  <a:gd name="connsiteX5" fmla="*/ 21032 w 28614"/>
                  <a:gd name="connsiteY5" fmla="*/ 10732 h 28614"/>
                  <a:gd name="connsiteX6" fmla="*/ 10731 w 28614"/>
                  <a:gd name="connsiteY6" fmla="*/ 21033 h 28614"/>
                  <a:gd name="connsiteX7" fmla="*/ 21032 w 28614"/>
                  <a:gd name="connsiteY7" fmla="*/ 313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889" y="31335"/>
                    </a:moveTo>
                    <a:lnTo>
                      <a:pt x="20889" y="31335"/>
                    </a:lnTo>
                    <a:cubicBezTo>
                      <a:pt x="26658" y="31335"/>
                      <a:pt x="31333" y="26659"/>
                      <a:pt x="31333" y="20890"/>
                    </a:cubicBezTo>
                    <a:cubicBezTo>
                      <a:pt x="31333" y="15280"/>
                      <a:pt x="26786" y="10732"/>
                      <a:pt x="21177" y="10731"/>
                    </a:cubicBezTo>
                    <a:cubicBezTo>
                      <a:pt x="21128" y="10731"/>
                      <a:pt x="21081" y="10731"/>
                      <a:pt x="21032" y="10732"/>
                    </a:cubicBezTo>
                    <a:lnTo>
                      <a:pt x="21032" y="10732"/>
                    </a:lnTo>
                    <a:cubicBezTo>
                      <a:pt x="15343" y="10732"/>
                      <a:pt x="10731" y="15345"/>
                      <a:pt x="10731" y="21033"/>
                    </a:cubicBezTo>
                    <a:cubicBezTo>
                      <a:pt x="10731" y="26722"/>
                      <a:pt x="15343" y="31335"/>
                      <a:pt x="21032" y="313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7" name="Freeform: Shape 285">
                <a:extLst>
                  <a:ext uri="{FF2B5EF4-FFF2-40B4-BE49-F238E27FC236}">
                    <a16:creationId xmlns:a16="http://schemas.microsoft.com/office/drawing/2014/main" id="{51D07A41-7CDB-4E4F-B47B-04D8DE43C0CA}"/>
                  </a:ext>
                </a:extLst>
              </p:cNvPr>
              <p:cNvSpPr/>
              <p:nvPr/>
            </p:nvSpPr>
            <p:spPr>
              <a:xfrm>
                <a:off x="5301346" y="6357150"/>
                <a:ext cx="28615" cy="28615"/>
              </a:xfrm>
              <a:custGeom>
                <a:avLst/>
                <a:gdLst>
                  <a:gd name="connsiteX0" fmla="*/ 21032 w 28614"/>
                  <a:gd name="connsiteY0" fmla="*/ 10731 h 28614"/>
                  <a:gd name="connsiteX1" fmla="*/ 10731 w 28614"/>
                  <a:gd name="connsiteY1" fmla="*/ 21032 h 28614"/>
                  <a:gd name="connsiteX2" fmla="*/ 10731 w 28614"/>
                  <a:gd name="connsiteY2" fmla="*/ 21032 h 28614"/>
                  <a:gd name="connsiteX3" fmla="*/ 20888 w 28614"/>
                  <a:gd name="connsiteY3" fmla="*/ 31192 h 28614"/>
                  <a:gd name="connsiteX4" fmla="*/ 21032 w 28614"/>
                  <a:gd name="connsiteY4" fmla="*/ 31190 h 28614"/>
                  <a:gd name="connsiteX5" fmla="*/ 31333 w 28614"/>
                  <a:gd name="connsiteY5" fmla="*/ 21177 h 28614"/>
                  <a:gd name="connsiteX6" fmla="*/ 31333 w 28614"/>
                  <a:gd name="connsiteY6" fmla="*/ 21175 h 28614"/>
                  <a:gd name="connsiteX7" fmla="*/ 31333 w 28614"/>
                  <a:gd name="connsiteY7" fmla="*/ 21175 h 28614"/>
                  <a:gd name="connsiteX8" fmla="*/ 21032 w 28614"/>
                  <a:gd name="connsiteY8"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14" h="28614">
                    <a:moveTo>
                      <a:pt x="21032" y="10731"/>
                    </a:moveTo>
                    <a:cubicBezTo>
                      <a:pt x="15343" y="10731"/>
                      <a:pt x="10731" y="15343"/>
                      <a:pt x="10731" y="21032"/>
                    </a:cubicBezTo>
                    <a:lnTo>
                      <a:pt x="10731" y="21032"/>
                    </a:lnTo>
                    <a:cubicBezTo>
                      <a:pt x="10731" y="26642"/>
                      <a:pt x="15278" y="31190"/>
                      <a:pt x="20888" y="31192"/>
                    </a:cubicBezTo>
                    <a:cubicBezTo>
                      <a:pt x="20936" y="31192"/>
                      <a:pt x="20983" y="31190"/>
                      <a:pt x="21032" y="31190"/>
                    </a:cubicBezTo>
                    <a:cubicBezTo>
                      <a:pt x="26642" y="31270"/>
                      <a:pt x="31253" y="26786"/>
                      <a:pt x="31333" y="21177"/>
                    </a:cubicBezTo>
                    <a:cubicBezTo>
                      <a:pt x="31333" y="21177"/>
                      <a:pt x="31333" y="21175"/>
                      <a:pt x="31333" y="21175"/>
                    </a:cubicBezTo>
                    <a:lnTo>
                      <a:pt x="31333" y="21175"/>
                    </a:lnTo>
                    <a:cubicBezTo>
                      <a:pt x="31333" y="15462"/>
                      <a:pt x="26745" y="10809"/>
                      <a:pt x="2103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8" name="Freeform: Shape 286">
                <a:extLst>
                  <a:ext uri="{FF2B5EF4-FFF2-40B4-BE49-F238E27FC236}">
                    <a16:creationId xmlns:a16="http://schemas.microsoft.com/office/drawing/2014/main" id="{8E1F416A-8DA6-5344-B5B5-32A760A2724F}"/>
                  </a:ext>
                </a:extLst>
              </p:cNvPr>
              <p:cNvSpPr/>
              <p:nvPr/>
            </p:nvSpPr>
            <p:spPr>
              <a:xfrm>
                <a:off x="5143712" y="6158980"/>
                <a:ext cx="28615" cy="28615"/>
              </a:xfrm>
              <a:custGeom>
                <a:avLst/>
                <a:gdLst>
                  <a:gd name="connsiteX0" fmla="*/ 20425 w 28614"/>
                  <a:gd name="connsiteY0" fmla="*/ 28197 h 28614"/>
                  <a:gd name="connsiteX1" fmla="*/ 27436 w 28614"/>
                  <a:gd name="connsiteY1" fmla="*/ 21186 h 28614"/>
                  <a:gd name="connsiteX2" fmla="*/ 21249 w 28614"/>
                  <a:gd name="connsiteY2" fmla="*/ 10976 h 28614"/>
                  <a:gd name="connsiteX3" fmla="*/ 11039 w 28614"/>
                  <a:gd name="connsiteY3" fmla="*/ 17161 h 28614"/>
                  <a:gd name="connsiteX4" fmla="*/ 10839 w 28614"/>
                  <a:gd name="connsiteY4" fmla="*/ 18324 h 28614"/>
                  <a:gd name="connsiteX5" fmla="*/ 10839 w 28614"/>
                  <a:gd name="connsiteY5" fmla="*/ 20900 h 28614"/>
                  <a:gd name="connsiteX6" fmla="*/ 20272 w 28614"/>
                  <a:gd name="connsiteY6" fmla="*/ 28218 h 28614"/>
                  <a:gd name="connsiteX7" fmla="*/ 20425 w 28614"/>
                  <a:gd name="connsiteY7" fmla="*/ 28197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0425" y="28197"/>
                    </a:moveTo>
                    <a:cubicBezTo>
                      <a:pt x="24078" y="27711"/>
                      <a:pt x="26951" y="24839"/>
                      <a:pt x="27436" y="21186"/>
                    </a:cubicBezTo>
                    <a:cubicBezTo>
                      <a:pt x="28547" y="16658"/>
                      <a:pt x="25777" y="12086"/>
                      <a:pt x="21249" y="10976"/>
                    </a:cubicBezTo>
                    <a:cubicBezTo>
                      <a:pt x="16722" y="9864"/>
                      <a:pt x="12151" y="12634"/>
                      <a:pt x="11039" y="17161"/>
                    </a:cubicBezTo>
                    <a:cubicBezTo>
                      <a:pt x="10946" y="17545"/>
                      <a:pt x="10879" y="17932"/>
                      <a:pt x="10839" y="18324"/>
                    </a:cubicBezTo>
                    <a:cubicBezTo>
                      <a:pt x="10694" y="19177"/>
                      <a:pt x="10694" y="20047"/>
                      <a:pt x="10839" y="20900"/>
                    </a:cubicBezTo>
                    <a:cubicBezTo>
                      <a:pt x="11423" y="25525"/>
                      <a:pt x="15646" y="28802"/>
                      <a:pt x="20272" y="28218"/>
                    </a:cubicBezTo>
                    <a:cubicBezTo>
                      <a:pt x="20322" y="28211"/>
                      <a:pt x="20373" y="28204"/>
                      <a:pt x="20425" y="2819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09" name="Freeform: Shape 287">
                <a:extLst>
                  <a:ext uri="{FF2B5EF4-FFF2-40B4-BE49-F238E27FC236}">
                    <a16:creationId xmlns:a16="http://schemas.microsoft.com/office/drawing/2014/main" id="{FF12B165-85E6-A940-99D9-167264B1C3B7}"/>
                  </a:ext>
                </a:extLst>
              </p:cNvPr>
              <p:cNvSpPr/>
              <p:nvPr/>
            </p:nvSpPr>
            <p:spPr>
              <a:xfrm>
                <a:off x="5144285" y="6356912"/>
                <a:ext cx="28615" cy="28615"/>
              </a:xfrm>
              <a:custGeom>
                <a:avLst/>
                <a:gdLst>
                  <a:gd name="connsiteX0" fmla="*/ 20425 w 28614"/>
                  <a:gd name="connsiteY0" fmla="*/ 10825 h 28614"/>
                  <a:gd name="connsiteX1" fmla="*/ 10839 w 28614"/>
                  <a:gd name="connsiteY1" fmla="*/ 17836 h 28614"/>
                  <a:gd name="connsiteX2" fmla="*/ 10839 w 28614"/>
                  <a:gd name="connsiteY2" fmla="*/ 20411 h 28614"/>
                  <a:gd name="connsiteX3" fmla="*/ 20305 w 28614"/>
                  <a:gd name="connsiteY3" fmla="*/ 27683 h 28614"/>
                  <a:gd name="connsiteX4" fmla="*/ 27579 w 28614"/>
                  <a:gd name="connsiteY4" fmla="*/ 20411 h 28614"/>
                  <a:gd name="connsiteX5" fmla="*/ 20425 w 28614"/>
                  <a:gd name="connsiteY5" fmla="*/ 1082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0425" y="10825"/>
                    </a:moveTo>
                    <a:cubicBezTo>
                      <a:pt x="15848" y="10140"/>
                      <a:pt x="11573" y="13266"/>
                      <a:pt x="10839" y="17836"/>
                    </a:cubicBezTo>
                    <a:cubicBezTo>
                      <a:pt x="10694" y="18688"/>
                      <a:pt x="10694" y="19558"/>
                      <a:pt x="10839" y="20411"/>
                    </a:cubicBezTo>
                    <a:cubicBezTo>
                      <a:pt x="11444" y="25034"/>
                      <a:pt x="15683" y="28290"/>
                      <a:pt x="20305" y="27683"/>
                    </a:cubicBezTo>
                    <a:cubicBezTo>
                      <a:pt x="24098" y="27187"/>
                      <a:pt x="27082" y="24202"/>
                      <a:pt x="27579" y="20411"/>
                    </a:cubicBezTo>
                    <a:cubicBezTo>
                      <a:pt x="28180" y="15807"/>
                      <a:pt x="25009" y="11560"/>
                      <a:pt x="20425" y="108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0" name="Freeform: Shape 288">
                <a:extLst>
                  <a:ext uri="{FF2B5EF4-FFF2-40B4-BE49-F238E27FC236}">
                    <a16:creationId xmlns:a16="http://schemas.microsoft.com/office/drawing/2014/main" id="{F9466AA4-DDDA-164F-A282-E1FEAF90508E}"/>
                  </a:ext>
                </a:extLst>
              </p:cNvPr>
              <p:cNvSpPr/>
              <p:nvPr/>
            </p:nvSpPr>
            <p:spPr>
              <a:xfrm>
                <a:off x="5065843" y="6109343"/>
                <a:ext cx="28615" cy="28615"/>
              </a:xfrm>
              <a:custGeom>
                <a:avLst/>
                <a:gdLst>
                  <a:gd name="connsiteX0" fmla="*/ 18459 w 28614"/>
                  <a:gd name="connsiteY0" fmla="*/ 10732 h 28614"/>
                  <a:gd name="connsiteX1" fmla="*/ 11019 w 28614"/>
                  <a:gd name="connsiteY1" fmla="*/ 17883 h 28614"/>
                  <a:gd name="connsiteX2" fmla="*/ 11019 w 28614"/>
                  <a:gd name="connsiteY2" fmla="*/ 17886 h 28614"/>
                  <a:gd name="connsiteX3" fmla="*/ 16129 w 28614"/>
                  <a:gd name="connsiteY3" fmla="*/ 27083 h 28614"/>
                  <a:gd name="connsiteX4" fmla="*/ 25326 w 28614"/>
                  <a:gd name="connsiteY4" fmla="*/ 21973 h 28614"/>
                  <a:gd name="connsiteX5" fmla="*/ 25326 w 28614"/>
                  <a:gd name="connsiteY5" fmla="*/ 17886 h 28614"/>
                  <a:gd name="connsiteX6" fmla="*/ 18602 w 28614"/>
                  <a:gd name="connsiteY6"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18459" y="10732"/>
                    </a:moveTo>
                    <a:cubicBezTo>
                      <a:pt x="14429" y="10652"/>
                      <a:pt x="11099" y="13854"/>
                      <a:pt x="11019" y="17883"/>
                    </a:cubicBezTo>
                    <a:cubicBezTo>
                      <a:pt x="11019" y="17884"/>
                      <a:pt x="11019" y="17884"/>
                      <a:pt x="11019" y="17886"/>
                    </a:cubicBezTo>
                    <a:cubicBezTo>
                      <a:pt x="9890" y="21836"/>
                      <a:pt x="12178" y="25954"/>
                      <a:pt x="16129" y="27083"/>
                    </a:cubicBezTo>
                    <a:cubicBezTo>
                      <a:pt x="20080" y="28212"/>
                      <a:pt x="24198" y="25924"/>
                      <a:pt x="25326" y="21973"/>
                    </a:cubicBezTo>
                    <a:cubicBezTo>
                      <a:pt x="25708" y="20637"/>
                      <a:pt x="25708" y="19222"/>
                      <a:pt x="25326" y="17886"/>
                    </a:cubicBezTo>
                    <a:cubicBezTo>
                      <a:pt x="25264" y="14124"/>
                      <a:pt x="22352" y="11027"/>
                      <a:pt x="1860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1" name="Freeform: Shape 289">
                <a:extLst>
                  <a:ext uri="{FF2B5EF4-FFF2-40B4-BE49-F238E27FC236}">
                    <a16:creationId xmlns:a16="http://schemas.microsoft.com/office/drawing/2014/main" id="{1F80761F-0CF4-8F4D-A6FE-BD8AE602FE6B}"/>
                  </a:ext>
                </a:extLst>
              </p:cNvPr>
              <p:cNvSpPr/>
              <p:nvPr/>
            </p:nvSpPr>
            <p:spPr>
              <a:xfrm>
                <a:off x="5065273" y="6161996"/>
                <a:ext cx="28615" cy="28615"/>
              </a:xfrm>
              <a:custGeom>
                <a:avLst/>
                <a:gdLst>
                  <a:gd name="connsiteX0" fmla="*/ 25610 w 28614"/>
                  <a:gd name="connsiteY0" fmla="*/ 18170 h 28614"/>
                  <a:gd name="connsiteX1" fmla="*/ 18170 w 28614"/>
                  <a:gd name="connsiteY1" fmla="*/ 25610 h 28614"/>
                  <a:gd name="connsiteX2" fmla="*/ 10731 w 28614"/>
                  <a:gd name="connsiteY2" fmla="*/ 18170 h 28614"/>
                  <a:gd name="connsiteX3" fmla="*/ 18170 w 28614"/>
                  <a:gd name="connsiteY3" fmla="*/ 10731 h 28614"/>
                  <a:gd name="connsiteX4" fmla="*/ 25610 w 28614"/>
                  <a:gd name="connsiteY4" fmla="*/ 18170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0"/>
                    </a:moveTo>
                    <a:cubicBezTo>
                      <a:pt x="25610" y="22279"/>
                      <a:pt x="22279" y="25610"/>
                      <a:pt x="18170" y="25610"/>
                    </a:cubicBezTo>
                    <a:cubicBezTo>
                      <a:pt x="14062" y="25610"/>
                      <a:pt x="10731" y="22279"/>
                      <a:pt x="10731" y="18170"/>
                    </a:cubicBezTo>
                    <a:cubicBezTo>
                      <a:pt x="10731" y="14062"/>
                      <a:pt x="14062" y="10731"/>
                      <a:pt x="18170" y="10731"/>
                    </a:cubicBezTo>
                    <a:cubicBezTo>
                      <a:pt x="22279" y="10731"/>
                      <a:pt x="25610" y="14062"/>
                      <a:pt x="25610" y="1817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2" name="Freeform: Shape 290">
                <a:extLst>
                  <a:ext uri="{FF2B5EF4-FFF2-40B4-BE49-F238E27FC236}">
                    <a16:creationId xmlns:a16="http://schemas.microsoft.com/office/drawing/2014/main" id="{D4AACE07-3498-A540-BDEA-BDC0C4CDAF64}"/>
                  </a:ext>
                </a:extLst>
              </p:cNvPr>
              <p:cNvSpPr/>
              <p:nvPr/>
            </p:nvSpPr>
            <p:spPr>
              <a:xfrm>
                <a:off x="5300774" y="6169435"/>
                <a:ext cx="14307" cy="14307"/>
              </a:xfrm>
              <a:custGeom>
                <a:avLst/>
                <a:gdLst>
                  <a:gd name="connsiteX0" fmla="*/ 10731 w 14307"/>
                  <a:gd name="connsiteY0" fmla="*/ 10731 h 14307"/>
                  <a:gd name="connsiteX1" fmla="*/ 10731 w 14307"/>
                  <a:gd name="connsiteY1" fmla="*/ 10731 h 14307"/>
                  <a:gd name="connsiteX2" fmla="*/ 10731 w 14307"/>
                  <a:gd name="connsiteY2" fmla="*/ 10731 h 14307"/>
                </a:gdLst>
                <a:ahLst/>
                <a:cxnLst>
                  <a:cxn ang="0">
                    <a:pos x="connsiteX0" y="connsiteY0"/>
                  </a:cxn>
                  <a:cxn ang="0">
                    <a:pos x="connsiteX1" y="connsiteY1"/>
                  </a:cxn>
                  <a:cxn ang="0">
                    <a:pos x="connsiteX2" y="connsiteY2"/>
                  </a:cxn>
                </a:cxnLst>
                <a:rect l="l" t="t" r="r" b="b"/>
                <a:pathLst>
                  <a:path w="14307" h="14307">
                    <a:moveTo>
                      <a:pt x="10731" y="10731"/>
                    </a:moveTo>
                    <a:cubicBezTo>
                      <a:pt x="10731" y="10731"/>
                      <a:pt x="10731" y="10731"/>
                      <a:pt x="10731" y="10731"/>
                    </a:cubicBezTo>
                    <a:cubicBezTo>
                      <a:pt x="10731" y="10731"/>
                      <a:pt x="10731" y="10731"/>
                      <a:pt x="1073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3" name="Freeform: Shape 291">
                <a:extLst>
                  <a:ext uri="{FF2B5EF4-FFF2-40B4-BE49-F238E27FC236}">
                    <a16:creationId xmlns:a16="http://schemas.microsoft.com/office/drawing/2014/main" id="{1D1D3DB4-BBF0-B847-806F-D984072991E8}"/>
                  </a:ext>
                </a:extLst>
              </p:cNvPr>
              <p:cNvSpPr/>
              <p:nvPr/>
            </p:nvSpPr>
            <p:spPr>
              <a:xfrm>
                <a:off x="5143712" y="6257578"/>
                <a:ext cx="28615" cy="28615"/>
              </a:xfrm>
              <a:custGeom>
                <a:avLst/>
                <a:gdLst>
                  <a:gd name="connsiteX0" fmla="*/ 20425 w 28614"/>
                  <a:gd name="connsiteY0" fmla="*/ 28321 h 28614"/>
                  <a:gd name="connsiteX1" fmla="*/ 27436 w 28614"/>
                  <a:gd name="connsiteY1" fmla="*/ 21310 h 28614"/>
                  <a:gd name="connsiteX2" fmla="*/ 21405 w 28614"/>
                  <a:gd name="connsiteY2" fmla="*/ 11007 h 28614"/>
                  <a:gd name="connsiteX3" fmla="*/ 11102 w 28614"/>
                  <a:gd name="connsiteY3" fmla="*/ 17038 h 28614"/>
                  <a:gd name="connsiteX4" fmla="*/ 10839 w 28614"/>
                  <a:gd name="connsiteY4" fmla="*/ 18735 h 28614"/>
                  <a:gd name="connsiteX5" fmla="*/ 10839 w 28614"/>
                  <a:gd name="connsiteY5" fmla="*/ 21310 h 28614"/>
                  <a:gd name="connsiteX6" fmla="*/ 20425 w 28614"/>
                  <a:gd name="connsiteY6" fmla="*/ 2832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0425" y="28321"/>
                    </a:moveTo>
                    <a:cubicBezTo>
                      <a:pt x="24078" y="27836"/>
                      <a:pt x="26951" y="24963"/>
                      <a:pt x="27436" y="21310"/>
                    </a:cubicBezTo>
                    <a:cubicBezTo>
                      <a:pt x="28616" y="16800"/>
                      <a:pt x="25915" y="12188"/>
                      <a:pt x="21405" y="11007"/>
                    </a:cubicBezTo>
                    <a:cubicBezTo>
                      <a:pt x="16894" y="9828"/>
                      <a:pt x="12283" y="12528"/>
                      <a:pt x="11102" y="17038"/>
                    </a:cubicBezTo>
                    <a:cubicBezTo>
                      <a:pt x="10958" y="17593"/>
                      <a:pt x="10869" y="18161"/>
                      <a:pt x="10839" y="18735"/>
                    </a:cubicBezTo>
                    <a:cubicBezTo>
                      <a:pt x="10694" y="19587"/>
                      <a:pt x="10694" y="20457"/>
                      <a:pt x="10839" y="21310"/>
                    </a:cubicBezTo>
                    <a:cubicBezTo>
                      <a:pt x="11573" y="25880"/>
                      <a:pt x="15848" y="29006"/>
                      <a:pt x="20425" y="2832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4" name="Freeform: Shape 292">
                <a:extLst>
                  <a:ext uri="{FF2B5EF4-FFF2-40B4-BE49-F238E27FC236}">
                    <a16:creationId xmlns:a16="http://schemas.microsoft.com/office/drawing/2014/main" id="{0C90CA08-E649-2942-B7E0-6046A3AEFF8B}"/>
                  </a:ext>
                </a:extLst>
              </p:cNvPr>
              <p:cNvSpPr/>
              <p:nvPr/>
            </p:nvSpPr>
            <p:spPr>
              <a:xfrm>
                <a:off x="5066168" y="6260574"/>
                <a:ext cx="28615" cy="28615"/>
              </a:xfrm>
              <a:custGeom>
                <a:avLst/>
                <a:gdLst>
                  <a:gd name="connsiteX0" fmla="*/ 17275 w 28614"/>
                  <a:gd name="connsiteY0" fmla="*/ 25754 h 28614"/>
                  <a:gd name="connsiteX1" fmla="*/ 23748 w 28614"/>
                  <a:gd name="connsiteY1" fmla="*/ 17203 h 28614"/>
                  <a:gd name="connsiteX2" fmla="*/ 17275 w 28614"/>
                  <a:gd name="connsiteY2" fmla="*/ 10731 h 28614"/>
                  <a:gd name="connsiteX3" fmla="*/ 10803 w 28614"/>
                  <a:gd name="connsiteY3" fmla="*/ 19281 h 28614"/>
                  <a:gd name="connsiteX4" fmla="*/ 17275 w 28614"/>
                  <a:gd name="connsiteY4" fmla="*/ 25754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17275" y="25754"/>
                    </a:moveTo>
                    <a:cubicBezTo>
                      <a:pt x="21424" y="25180"/>
                      <a:pt x="24321" y="21351"/>
                      <a:pt x="23748" y="17203"/>
                    </a:cubicBezTo>
                    <a:cubicBezTo>
                      <a:pt x="23282" y="13840"/>
                      <a:pt x="20638" y="11196"/>
                      <a:pt x="17275" y="10731"/>
                    </a:cubicBezTo>
                    <a:cubicBezTo>
                      <a:pt x="13127" y="11304"/>
                      <a:pt x="10229" y="15133"/>
                      <a:pt x="10803" y="19281"/>
                    </a:cubicBezTo>
                    <a:cubicBezTo>
                      <a:pt x="11268" y="22644"/>
                      <a:pt x="13912" y="25288"/>
                      <a:pt x="17275" y="2575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5" name="Freeform: Shape 293">
                <a:extLst>
                  <a:ext uri="{FF2B5EF4-FFF2-40B4-BE49-F238E27FC236}">
                    <a16:creationId xmlns:a16="http://schemas.microsoft.com/office/drawing/2014/main" id="{39BC216A-ABA9-5944-82EC-B0D60DC5B460}"/>
                  </a:ext>
                </a:extLst>
              </p:cNvPr>
              <p:cNvSpPr/>
              <p:nvPr/>
            </p:nvSpPr>
            <p:spPr>
              <a:xfrm>
                <a:off x="5143535" y="6310221"/>
                <a:ext cx="28615" cy="28615"/>
              </a:xfrm>
              <a:custGeom>
                <a:avLst/>
                <a:gdLst>
                  <a:gd name="connsiteX0" fmla="*/ 19172 w 28614"/>
                  <a:gd name="connsiteY0" fmla="*/ 27613 h 28614"/>
                  <a:gd name="connsiteX1" fmla="*/ 27613 w 28614"/>
                  <a:gd name="connsiteY1" fmla="*/ 19172 h 28614"/>
                  <a:gd name="connsiteX2" fmla="*/ 19172 w 28614"/>
                  <a:gd name="connsiteY2" fmla="*/ 10731 h 28614"/>
                  <a:gd name="connsiteX3" fmla="*/ 19172 w 28614"/>
                  <a:gd name="connsiteY3" fmla="*/ 10731 h 28614"/>
                  <a:gd name="connsiteX4" fmla="*/ 10731 w 28614"/>
                  <a:gd name="connsiteY4" fmla="*/ 19172 h 28614"/>
                  <a:gd name="connsiteX5" fmla="*/ 19172 w 28614"/>
                  <a:gd name="connsiteY5" fmla="*/ 2761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172" y="27613"/>
                    </a:moveTo>
                    <a:cubicBezTo>
                      <a:pt x="23833" y="27613"/>
                      <a:pt x="27613" y="23833"/>
                      <a:pt x="27613" y="19172"/>
                    </a:cubicBezTo>
                    <a:cubicBezTo>
                      <a:pt x="27613" y="14511"/>
                      <a:pt x="23833" y="10731"/>
                      <a:pt x="19172" y="10731"/>
                    </a:cubicBezTo>
                    <a:lnTo>
                      <a:pt x="19172" y="10731"/>
                    </a:lnTo>
                    <a:cubicBezTo>
                      <a:pt x="14511" y="10731"/>
                      <a:pt x="10731" y="14511"/>
                      <a:pt x="10731" y="19172"/>
                    </a:cubicBezTo>
                    <a:cubicBezTo>
                      <a:pt x="10731" y="23833"/>
                      <a:pt x="14511" y="27613"/>
                      <a:pt x="19172" y="2761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6" name="Freeform: Shape 294">
                <a:extLst>
                  <a:ext uri="{FF2B5EF4-FFF2-40B4-BE49-F238E27FC236}">
                    <a16:creationId xmlns:a16="http://schemas.microsoft.com/office/drawing/2014/main" id="{A6807B7A-54EA-A44D-B442-1AC0A5A5C11E}"/>
                  </a:ext>
                </a:extLst>
              </p:cNvPr>
              <p:cNvSpPr/>
              <p:nvPr/>
            </p:nvSpPr>
            <p:spPr>
              <a:xfrm>
                <a:off x="5066131" y="6210355"/>
                <a:ext cx="28615" cy="28615"/>
              </a:xfrm>
              <a:custGeom>
                <a:avLst/>
                <a:gdLst>
                  <a:gd name="connsiteX0" fmla="*/ 25610 w 28614"/>
                  <a:gd name="connsiteY0" fmla="*/ 18171 h 28614"/>
                  <a:gd name="connsiteX1" fmla="*/ 18171 w 28614"/>
                  <a:gd name="connsiteY1" fmla="*/ 25610 h 28614"/>
                  <a:gd name="connsiteX2" fmla="*/ 10731 w 28614"/>
                  <a:gd name="connsiteY2" fmla="*/ 18171 h 28614"/>
                  <a:gd name="connsiteX3" fmla="*/ 18171 w 28614"/>
                  <a:gd name="connsiteY3" fmla="*/ 10731 h 28614"/>
                  <a:gd name="connsiteX4" fmla="*/ 25610 w 28614"/>
                  <a:gd name="connsiteY4" fmla="*/ 18171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5610" y="18171"/>
                    </a:moveTo>
                    <a:cubicBezTo>
                      <a:pt x="25610" y="22279"/>
                      <a:pt x="22279" y="25610"/>
                      <a:pt x="18171" y="25610"/>
                    </a:cubicBezTo>
                    <a:cubicBezTo>
                      <a:pt x="14062" y="25610"/>
                      <a:pt x="10731" y="22279"/>
                      <a:pt x="10731" y="18171"/>
                    </a:cubicBezTo>
                    <a:cubicBezTo>
                      <a:pt x="10731" y="14062"/>
                      <a:pt x="14062" y="10731"/>
                      <a:pt x="18171" y="10731"/>
                    </a:cubicBezTo>
                    <a:cubicBezTo>
                      <a:pt x="22279" y="10731"/>
                      <a:pt x="25610" y="14062"/>
                      <a:pt x="25610" y="1817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7" name="Freeform: Shape 295">
                <a:extLst>
                  <a:ext uri="{FF2B5EF4-FFF2-40B4-BE49-F238E27FC236}">
                    <a16:creationId xmlns:a16="http://schemas.microsoft.com/office/drawing/2014/main" id="{DD592021-DDB1-B14B-A7E4-52516C6B5C08}"/>
                  </a:ext>
                </a:extLst>
              </p:cNvPr>
              <p:cNvSpPr/>
              <p:nvPr/>
            </p:nvSpPr>
            <p:spPr>
              <a:xfrm>
                <a:off x="5065994" y="6359151"/>
                <a:ext cx="28615" cy="28615"/>
              </a:xfrm>
              <a:custGeom>
                <a:avLst/>
                <a:gdLst>
                  <a:gd name="connsiteX0" fmla="*/ 18022 w 28614"/>
                  <a:gd name="connsiteY0" fmla="*/ 10732 h 28614"/>
                  <a:gd name="connsiteX1" fmla="*/ 10732 w 28614"/>
                  <a:gd name="connsiteY1" fmla="*/ 18319 h 28614"/>
                  <a:gd name="connsiteX2" fmla="*/ 18319 w 28614"/>
                  <a:gd name="connsiteY2" fmla="*/ 25609 h 28614"/>
                  <a:gd name="connsiteX3" fmla="*/ 25605 w 28614"/>
                  <a:gd name="connsiteY3" fmla="*/ 18458 h 28614"/>
                  <a:gd name="connsiteX4" fmla="*/ 18458 w 28614"/>
                  <a:gd name="connsiteY4" fmla="*/ 10736 h 28614"/>
                  <a:gd name="connsiteX5" fmla="*/ 18022 w 28614"/>
                  <a:gd name="connsiteY5" fmla="*/ 1073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8022" y="10732"/>
                    </a:moveTo>
                    <a:cubicBezTo>
                      <a:pt x="13914" y="10814"/>
                      <a:pt x="10650" y="14212"/>
                      <a:pt x="10732" y="18319"/>
                    </a:cubicBezTo>
                    <a:cubicBezTo>
                      <a:pt x="10814" y="22427"/>
                      <a:pt x="14211" y="25691"/>
                      <a:pt x="18319" y="25609"/>
                    </a:cubicBezTo>
                    <a:cubicBezTo>
                      <a:pt x="22258" y="25530"/>
                      <a:pt x="25453" y="22394"/>
                      <a:pt x="25605" y="18458"/>
                    </a:cubicBezTo>
                    <a:cubicBezTo>
                      <a:pt x="25764" y="14352"/>
                      <a:pt x="22564" y="10895"/>
                      <a:pt x="18458" y="10736"/>
                    </a:cubicBezTo>
                    <a:cubicBezTo>
                      <a:pt x="18313" y="10731"/>
                      <a:pt x="18167" y="10729"/>
                      <a:pt x="18022"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8" name="Freeform: Shape 296">
                <a:extLst>
                  <a:ext uri="{FF2B5EF4-FFF2-40B4-BE49-F238E27FC236}">
                    <a16:creationId xmlns:a16="http://schemas.microsoft.com/office/drawing/2014/main" id="{4ED26B4B-CB4D-214A-B792-DEA45D8C492E}"/>
                  </a:ext>
                </a:extLst>
              </p:cNvPr>
              <p:cNvSpPr/>
              <p:nvPr/>
            </p:nvSpPr>
            <p:spPr>
              <a:xfrm>
                <a:off x="5144964" y="6209496"/>
                <a:ext cx="28615" cy="28615"/>
              </a:xfrm>
              <a:custGeom>
                <a:avLst/>
                <a:gdLst>
                  <a:gd name="connsiteX0" fmla="*/ 19030 w 28614"/>
                  <a:gd name="connsiteY0" fmla="*/ 10731 h 28614"/>
                  <a:gd name="connsiteX1" fmla="*/ 19030 w 28614"/>
                  <a:gd name="connsiteY1" fmla="*/ 10731 h 28614"/>
                  <a:gd name="connsiteX2" fmla="*/ 10732 w 28614"/>
                  <a:gd name="connsiteY2" fmla="*/ 18886 h 28614"/>
                  <a:gd name="connsiteX3" fmla="*/ 19030 w 28614"/>
                  <a:gd name="connsiteY3" fmla="*/ 27613 h 28614"/>
                  <a:gd name="connsiteX4" fmla="*/ 27472 w 28614"/>
                  <a:gd name="connsiteY4" fmla="*/ 19172 h 28614"/>
                  <a:gd name="connsiteX5" fmla="*/ 19030 w 28614"/>
                  <a:gd name="connsiteY5" fmla="*/ 1073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19030" y="10731"/>
                    </a:moveTo>
                    <a:lnTo>
                      <a:pt x="19030" y="10731"/>
                    </a:lnTo>
                    <a:cubicBezTo>
                      <a:pt x="14502" y="10731"/>
                      <a:pt x="10811" y="14359"/>
                      <a:pt x="10732" y="18886"/>
                    </a:cubicBezTo>
                    <a:cubicBezTo>
                      <a:pt x="10652" y="23573"/>
                      <a:pt x="14345" y="27457"/>
                      <a:pt x="19030" y="27613"/>
                    </a:cubicBezTo>
                    <a:cubicBezTo>
                      <a:pt x="23692" y="27613"/>
                      <a:pt x="27472" y="23833"/>
                      <a:pt x="27472" y="19172"/>
                    </a:cubicBezTo>
                    <a:cubicBezTo>
                      <a:pt x="27472" y="14511"/>
                      <a:pt x="23692" y="10731"/>
                      <a:pt x="1903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19" name="Freeform: Shape 297">
                <a:extLst>
                  <a:ext uri="{FF2B5EF4-FFF2-40B4-BE49-F238E27FC236}">
                    <a16:creationId xmlns:a16="http://schemas.microsoft.com/office/drawing/2014/main" id="{412FED4F-FDBC-9843-A432-4DCECFFD38F8}"/>
                  </a:ext>
                </a:extLst>
              </p:cNvPr>
              <p:cNvSpPr/>
              <p:nvPr/>
            </p:nvSpPr>
            <p:spPr>
              <a:xfrm>
                <a:off x="5614394" y="6303497"/>
                <a:ext cx="42922" cy="42922"/>
              </a:xfrm>
              <a:custGeom>
                <a:avLst/>
                <a:gdLst>
                  <a:gd name="connsiteX0" fmla="*/ 25038 w 42922"/>
                  <a:gd name="connsiteY0" fmla="*/ 39346 h 42922"/>
                  <a:gd name="connsiteX1" fmla="*/ 39346 w 42922"/>
                  <a:gd name="connsiteY1" fmla="*/ 25038 h 42922"/>
                  <a:gd name="connsiteX2" fmla="*/ 25038 w 42922"/>
                  <a:gd name="connsiteY2" fmla="*/ 10731 h 42922"/>
                  <a:gd name="connsiteX3" fmla="*/ 25038 w 42922"/>
                  <a:gd name="connsiteY3" fmla="*/ 10731 h 42922"/>
                  <a:gd name="connsiteX4" fmla="*/ 10731 w 42922"/>
                  <a:gd name="connsiteY4" fmla="*/ 25038 h 42922"/>
                  <a:gd name="connsiteX5" fmla="*/ 25038 w 42922"/>
                  <a:gd name="connsiteY5" fmla="*/ 3934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39346"/>
                    </a:moveTo>
                    <a:cubicBezTo>
                      <a:pt x="32940" y="39346"/>
                      <a:pt x="39346" y="32940"/>
                      <a:pt x="39346" y="25038"/>
                    </a:cubicBezTo>
                    <a:cubicBezTo>
                      <a:pt x="39346" y="17136"/>
                      <a:pt x="32940" y="10731"/>
                      <a:pt x="25038" y="10731"/>
                    </a:cubicBezTo>
                    <a:lnTo>
                      <a:pt x="25038" y="10731"/>
                    </a:lnTo>
                    <a:cubicBezTo>
                      <a:pt x="17136" y="10731"/>
                      <a:pt x="10731" y="17136"/>
                      <a:pt x="10731" y="25038"/>
                    </a:cubicBezTo>
                    <a:cubicBezTo>
                      <a:pt x="10731" y="32940"/>
                      <a:pt x="17136" y="39346"/>
                      <a:pt x="25038" y="393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0" name="Freeform: Shape 298">
                <a:extLst>
                  <a:ext uri="{FF2B5EF4-FFF2-40B4-BE49-F238E27FC236}">
                    <a16:creationId xmlns:a16="http://schemas.microsoft.com/office/drawing/2014/main" id="{46FF39E2-BCF2-FA41-A3AF-5640815FDD70}"/>
                  </a:ext>
                </a:extLst>
              </p:cNvPr>
              <p:cNvSpPr/>
              <p:nvPr/>
            </p:nvSpPr>
            <p:spPr>
              <a:xfrm>
                <a:off x="5536990" y="6106626"/>
                <a:ext cx="42922" cy="42922"/>
              </a:xfrm>
              <a:custGeom>
                <a:avLst/>
                <a:gdLst>
                  <a:gd name="connsiteX0" fmla="*/ 23893 w 42922"/>
                  <a:gd name="connsiteY0" fmla="*/ 10731 h 42922"/>
                  <a:gd name="connsiteX1" fmla="*/ 10731 w 42922"/>
                  <a:gd name="connsiteY1" fmla="*/ 23894 h 42922"/>
                  <a:gd name="connsiteX2" fmla="*/ 23893 w 42922"/>
                  <a:gd name="connsiteY2" fmla="*/ 37056 h 42922"/>
                  <a:gd name="connsiteX3" fmla="*/ 37056 w 42922"/>
                  <a:gd name="connsiteY3" fmla="*/ 23894 h 42922"/>
                  <a:gd name="connsiteX4" fmla="*/ 23893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3" y="10731"/>
                    </a:moveTo>
                    <a:cubicBezTo>
                      <a:pt x="16624" y="10731"/>
                      <a:pt x="10731" y="16624"/>
                      <a:pt x="10731" y="23894"/>
                    </a:cubicBezTo>
                    <a:cubicBezTo>
                      <a:pt x="10731" y="31163"/>
                      <a:pt x="16624" y="37056"/>
                      <a:pt x="23893" y="37056"/>
                    </a:cubicBezTo>
                    <a:cubicBezTo>
                      <a:pt x="31163" y="37056"/>
                      <a:pt x="37056" y="31163"/>
                      <a:pt x="37056" y="23894"/>
                    </a:cubicBezTo>
                    <a:cubicBezTo>
                      <a:pt x="37056" y="16624"/>
                      <a:pt x="31163" y="10731"/>
                      <a:pt x="23893"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1" name="Freeform: Shape 299">
                <a:extLst>
                  <a:ext uri="{FF2B5EF4-FFF2-40B4-BE49-F238E27FC236}">
                    <a16:creationId xmlns:a16="http://schemas.microsoft.com/office/drawing/2014/main" id="{024DCF24-A3AA-9B4F-B326-E770565EE770}"/>
                  </a:ext>
                </a:extLst>
              </p:cNvPr>
              <p:cNvSpPr/>
              <p:nvPr/>
            </p:nvSpPr>
            <p:spPr>
              <a:xfrm>
                <a:off x="5536992" y="6204775"/>
                <a:ext cx="42922" cy="42922"/>
              </a:xfrm>
              <a:custGeom>
                <a:avLst/>
                <a:gdLst>
                  <a:gd name="connsiteX0" fmla="*/ 23892 w 42922"/>
                  <a:gd name="connsiteY0" fmla="*/ 10731 h 42922"/>
                  <a:gd name="connsiteX1" fmla="*/ 10731 w 42922"/>
                  <a:gd name="connsiteY1" fmla="*/ 23893 h 42922"/>
                  <a:gd name="connsiteX2" fmla="*/ 23894 w 42922"/>
                  <a:gd name="connsiteY2" fmla="*/ 37056 h 42922"/>
                  <a:gd name="connsiteX3" fmla="*/ 37056 w 42922"/>
                  <a:gd name="connsiteY3" fmla="*/ 23892 h 42922"/>
                  <a:gd name="connsiteX4" fmla="*/ 37055 w 42922"/>
                  <a:gd name="connsiteY4" fmla="*/ 23750 h 42922"/>
                  <a:gd name="connsiteX5" fmla="*/ 23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2" y="10731"/>
                    </a:moveTo>
                    <a:cubicBezTo>
                      <a:pt x="16622" y="10731"/>
                      <a:pt x="10729" y="16624"/>
                      <a:pt x="10731" y="23893"/>
                    </a:cubicBezTo>
                    <a:cubicBezTo>
                      <a:pt x="10731" y="31165"/>
                      <a:pt x="16624" y="37056"/>
                      <a:pt x="23894" y="37056"/>
                    </a:cubicBezTo>
                    <a:cubicBezTo>
                      <a:pt x="31163" y="37056"/>
                      <a:pt x="37056" y="31162"/>
                      <a:pt x="37056" y="23892"/>
                    </a:cubicBezTo>
                    <a:cubicBezTo>
                      <a:pt x="37056" y="23845"/>
                      <a:pt x="37055" y="23798"/>
                      <a:pt x="37055" y="23750"/>
                    </a:cubicBezTo>
                    <a:cubicBezTo>
                      <a:pt x="36976" y="16537"/>
                      <a:pt x="31106" y="10731"/>
                      <a:pt x="23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2" name="Freeform: Shape 300">
                <a:extLst>
                  <a:ext uri="{FF2B5EF4-FFF2-40B4-BE49-F238E27FC236}">
                    <a16:creationId xmlns:a16="http://schemas.microsoft.com/office/drawing/2014/main" id="{ACE96F9D-CD63-B642-B70F-0571122C3603}"/>
                  </a:ext>
                </a:extLst>
              </p:cNvPr>
              <p:cNvSpPr/>
              <p:nvPr/>
            </p:nvSpPr>
            <p:spPr>
              <a:xfrm>
                <a:off x="5300917" y="6158812"/>
                <a:ext cx="42922" cy="28615"/>
              </a:xfrm>
              <a:custGeom>
                <a:avLst/>
                <a:gdLst>
                  <a:gd name="connsiteX0" fmla="*/ 26469 w 42922"/>
                  <a:gd name="connsiteY0" fmla="*/ 11053 h 28614"/>
                  <a:gd name="connsiteX1" fmla="*/ 20746 w 42922"/>
                  <a:gd name="connsiteY1" fmla="*/ 11053 h 28614"/>
                  <a:gd name="connsiteX2" fmla="*/ 10731 w 42922"/>
                  <a:gd name="connsiteY2" fmla="*/ 20925 h 28614"/>
                  <a:gd name="connsiteX3" fmla="*/ 20746 w 42922"/>
                  <a:gd name="connsiteY3" fmla="*/ 30654 h 28614"/>
                  <a:gd name="connsiteX4" fmla="*/ 33480 w 42922"/>
                  <a:gd name="connsiteY4" fmla="*/ 23643 h 28614"/>
                  <a:gd name="connsiteX5" fmla="*/ 26469 w 42922"/>
                  <a:gd name="connsiteY5" fmla="*/ 11053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28614">
                    <a:moveTo>
                      <a:pt x="26469" y="11053"/>
                    </a:moveTo>
                    <a:cubicBezTo>
                      <a:pt x="24586" y="10623"/>
                      <a:pt x="22629" y="10623"/>
                      <a:pt x="20746" y="11053"/>
                    </a:cubicBezTo>
                    <a:cubicBezTo>
                      <a:pt x="15300" y="11127"/>
                      <a:pt x="10884" y="15482"/>
                      <a:pt x="10731" y="20925"/>
                    </a:cubicBezTo>
                    <a:cubicBezTo>
                      <a:pt x="10885" y="26344"/>
                      <a:pt x="15325" y="30657"/>
                      <a:pt x="20746" y="30654"/>
                    </a:cubicBezTo>
                    <a:cubicBezTo>
                      <a:pt x="26197" y="32221"/>
                      <a:pt x="31889" y="29087"/>
                      <a:pt x="33480" y="23643"/>
                    </a:cubicBezTo>
                    <a:cubicBezTo>
                      <a:pt x="34876" y="18248"/>
                      <a:pt x="31790" y="12706"/>
                      <a:pt x="26469" y="1105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3" name="Freeform: Shape 301">
                <a:extLst>
                  <a:ext uri="{FF2B5EF4-FFF2-40B4-BE49-F238E27FC236}">
                    <a16:creationId xmlns:a16="http://schemas.microsoft.com/office/drawing/2014/main" id="{B2FA86BC-A3D6-5B40-8B50-57F00036DB60}"/>
                  </a:ext>
                </a:extLst>
              </p:cNvPr>
              <p:cNvSpPr/>
              <p:nvPr/>
            </p:nvSpPr>
            <p:spPr>
              <a:xfrm>
                <a:off x="5536847" y="6354431"/>
                <a:ext cx="42922" cy="42922"/>
              </a:xfrm>
              <a:custGeom>
                <a:avLst/>
                <a:gdLst>
                  <a:gd name="connsiteX0" fmla="*/ 23894 w 42922"/>
                  <a:gd name="connsiteY0" fmla="*/ 10731 h 42922"/>
                  <a:gd name="connsiteX1" fmla="*/ 10731 w 42922"/>
                  <a:gd name="connsiteY1" fmla="*/ 23894 h 42922"/>
                  <a:gd name="connsiteX2" fmla="*/ 23894 w 42922"/>
                  <a:gd name="connsiteY2" fmla="*/ 37056 h 42922"/>
                  <a:gd name="connsiteX3" fmla="*/ 37056 w 42922"/>
                  <a:gd name="connsiteY3" fmla="*/ 23894 h 42922"/>
                  <a:gd name="connsiteX4" fmla="*/ 23894 w 42922"/>
                  <a:gd name="connsiteY4" fmla="*/ 10731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3894" y="10731"/>
                    </a:moveTo>
                    <a:cubicBezTo>
                      <a:pt x="16624" y="10731"/>
                      <a:pt x="10731" y="16624"/>
                      <a:pt x="10731" y="23894"/>
                    </a:cubicBezTo>
                    <a:cubicBezTo>
                      <a:pt x="10731" y="31163"/>
                      <a:pt x="16624" y="37056"/>
                      <a:pt x="23894" y="37056"/>
                    </a:cubicBezTo>
                    <a:cubicBezTo>
                      <a:pt x="31163" y="37056"/>
                      <a:pt x="37056" y="31163"/>
                      <a:pt x="37056" y="23894"/>
                    </a:cubicBezTo>
                    <a:cubicBezTo>
                      <a:pt x="37056" y="16624"/>
                      <a:pt x="31163" y="10731"/>
                      <a:pt x="23894"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4" name="Freeform: Shape 302">
                <a:extLst>
                  <a:ext uri="{FF2B5EF4-FFF2-40B4-BE49-F238E27FC236}">
                    <a16:creationId xmlns:a16="http://schemas.microsoft.com/office/drawing/2014/main" id="{26958D34-B765-1648-89DE-09E7E8D22D02}"/>
                  </a:ext>
                </a:extLst>
              </p:cNvPr>
              <p:cNvSpPr/>
              <p:nvPr/>
            </p:nvSpPr>
            <p:spPr>
              <a:xfrm>
                <a:off x="5694659" y="620406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5" name="Freeform: Shape 303">
                <a:extLst>
                  <a:ext uri="{FF2B5EF4-FFF2-40B4-BE49-F238E27FC236}">
                    <a16:creationId xmlns:a16="http://schemas.microsoft.com/office/drawing/2014/main" id="{B9038FB4-945E-2342-BAFD-2281C087CEC3}"/>
                  </a:ext>
                </a:extLst>
              </p:cNvPr>
              <p:cNvSpPr/>
              <p:nvPr/>
            </p:nvSpPr>
            <p:spPr>
              <a:xfrm>
                <a:off x="5694659" y="6253993"/>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6" name="Freeform: Shape 304">
                <a:extLst>
                  <a:ext uri="{FF2B5EF4-FFF2-40B4-BE49-F238E27FC236}">
                    <a16:creationId xmlns:a16="http://schemas.microsoft.com/office/drawing/2014/main" id="{F0DDF831-409E-344A-BF71-FDA881884D80}"/>
                  </a:ext>
                </a:extLst>
              </p:cNvPr>
              <p:cNvSpPr/>
              <p:nvPr/>
            </p:nvSpPr>
            <p:spPr>
              <a:xfrm>
                <a:off x="5536274" y="6304498"/>
                <a:ext cx="42922" cy="42922"/>
              </a:xfrm>
              <a:custGeom>
                <a:avLst/>
                <a:gdLst>
                  <a:gd name="connsiteX0" fmla="*/ 23895 w 42922"/>
                  <a:gd name="connsiteY0" fmla="*/ 37056 h 42922"/>
                  <a:gd name="connsiteX1" fmla="*/ 37056 w 42922"/>
                  <a:gd name="connsiteY1" fmla="*/ 23893 h 42922"/>
                  <a:gd name="connsiteX2" fmla="*/ 23893 w 42922"/>
                  <a:gd name="connsiteY2" fmla="*/ 10731 h 42922"/>
                  <a:gd name="connsiteX3" fmla="*/ 10731 w 42922"/>
                  <a:gd name="connsiteY3" fmla="*/ 23895 h 42922"/>
                  <a:gd name="connsiteX4" fmla="*/ 10732 w 42922"/>
                  <a:gd name="connsiteY4" fmla="*/ 24037 h 42922"/>
                  <a:gd name="connsiteX5" fmla="*/ 23895 w 42922"/>
                  <a:gd name="connsiteY5" fmla="*/ 37056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3895" y="37056"/>
                    </a:moveTo>
                    <a:cubicBezTo>
                      <a:pt x="31165" y="37056"/>
                      <a:pt x="37058" y="31163"/>
                      <a:pt x="37056" y="23893"/>
                    </a:cubicBezTo>
                    <a:cubicBezTo>
                      <a:pt x="37056" y="16622"/>
                      <a:pt x="31163" y="10731"/>
                      <a:pt x="23893" y="10731"/>
                    </a:cubicBezTo>
                    <a:cubicBezTo>
                      <a:pt x="16624" y="10731"/>
                      <a:pt x="10731" y="16625"/>
                      <a:pt x="10731" y="23895"/>
                    </a:cubicBezTo>
                    <a:cubicBezTo>
                      <a:pt x="10731" y="23942"/>
                      <a:pt x="10732" y="23989"/>
                      <a:pt x="10732" y="24037"/>
                    </a:cubicBezTo>
                    <a:cubicBezTo>
                      <a:pt x="10811" y="31250"/>
                      <a:pt x="16681" y="37056"/>
                      <a:pt x="23895" y="3705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7" name="Freeform: Shape 305">
                <a:extLst>
                  <a:ext uri="{FF2B5EF4-FFF2-40B4-BE49-F238E27FC236}">
                    <a16:creationId xmlns:a16="http://schemas.microsoft.com/office/drawing/2014/main" id="{DAF26FEF-2A3D-4F46-9B28-281BBB6A4450}"/>
                  </a:ext>
                </a:extLst>
              </p:cNvPr>
              <p:cNvSpPr/>
              <p:nvPr/>
            </p:nvSpPr>
            <p:spPr>
              <a:xfrm>
                <a:off x="5694802" y="6353287"/>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lnTo>
                      <a:pt x="25038" y="39346"/>
                    </a:ln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8" name="Freeform: Shape 306">
                <a:extLst>
                  <a:ext uri="{FF2B5EF4-FFF2-40B4-BE49-F238E27FC236}">
                    <a16:creationId xmlns:a16="http://schemas.microsoft.com/office/drawing/2014/main" id="{E40AEA25-7C45-9D4E-8237-C155CCE5955E}"/>
                  </a:ext>
                </a:extLst>
              </p:cNvPr>
              <p:cNvSpPr/>
              <p:nvPr/>
            </p:nvSpPr>
            <p:spPr>
              <a:xfrm>
                <a:off x="5694659" y="6303640"/>
                <a:ext cx="42922" cy="42922"/>
              </a:xfrm>
              <a:custGeom>
                <a:avLst/>
                <a:gdLst>
                  <a:gd name="connsiteX0" fmla="*/ 25038 w 42922"/>
                  <a:gd name="connsiteY0" fmla="*/ 10731 h 42922"/>
                  <a:gd name="connsiteX1" fmla="*/ 10731 w 42922"/>
                  <a:gd name="connsiteY1" fmla="*/ 25038 h 42922"/>
                  <a:gd name="connsiteX2" fmla="*/ 25038 w 42922"/>
                  <a:gd name="connsiteY2" fmla="*/ 39346 h 42922"/>
                  <a:gd name="connsiteX3" fmla="*/ 39346 w 42922"/>
                  <a:gd name="connsiteY3" fmla="*/ 25038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cubicBezTo>
                      <a:pt x="10731" y="32940"/>
                      <a:pt x="17136" y="39346"/>
                      <a:pt x="25038" y="39346"/>
                    </a:cubicBezTo>
                    <a:cubicBezTo>
                      <a:pt x="32940" y="39346"/>
                      <a:pt x="39346" y="32940"/>
                      <a:pt x="39346" y="25038"/>
                    </a:cubicBezTo>
                    <a:lnTo>
                      <a:pt x="39346" y="25038"/>
                    </a:ln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29" name="Freeform: Shape 307">
                <a:extLst>
                  <a:ext uri="{FF2B5EF4-FFF2-40B4-BE49-F238E27FC236}">
                    <a16:creationId xmlns:a16="http://schemas.microsoft.com/office/drawing/2014/main" id="{3D0651AD-E08E-B84C-BDCB-57BD5617CEB0}"/>
                  </a:ext>
                </a:extLst>
              </p:cNvPr>
              <p:cNvSpPr/>
              <p:nvPr/>
            </p:nvSpPr>
            <p:spPr>
              <a:xfrm>
                <a:off x="5615109" y="6353430"/>
                <a:ext cx="42922" cy="42922"/>
              </a:xfrm>
              <a:custGeom>
                <a:avLst/>
                <a:gdLst>
                  <a:gd name="connsiteX0" fmla="*/ 25038 w 42922"/>
                  <a:gd name="connsiteY0" fmla="*/ 10731 h 42922"/>
                  <a:gd name="connsiteX1" fmla="*/ 10731 w 42922"/>
                  <a:gd name="connsiteY1" fmla="*/ 25038 h 42922"/>
                  <a:gd name="connsiteX2" fmla="*/ 10731 w 42922"/>
                  <a:gd name="connsiteY2" fmla="*/ 25038 h 42922"/>
                  <a:gd name="connsiteX3" fmla="*/ 25038 w 42922"/>
                  <a:gd name="connsiteY3" fmla="*/ 39346 h 42922"/>
                  <a:gd name="connsiteX4" fmla="*/ 39346 w 42922"/>
                  <a:gd name="connsiteY4" fmla="*/ 25038 h 42922"/>
                  <a:gd name="connsiteX5" fmla="*/ 25038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5038" y="10731"/>
                    </a:moveTo>
                    <a:cubicBezTo>
                      <a:pt x="17136" y="10731"/>
                      <a:pt x="10731" y="17136"/>
                      <a:pt x="10731" y="25038"/>
                    </a:cubicBezTo>
                    <a:lnTo>
                      <a:pt x="10731" y="25038"/>
                    </a:lnTo>
                    <a:cubicBezTo>
                      <a:pt x="10731" y="32940"/>
                      <a:pt x="17136" y="39346"/>
                      <a:pt x="25038" y="39346"/>
                    </a:cubicBezTo>
                    <a:cubicBezTo>
                      <a:pt x="32940" y="39346"/>
                      <a:pt x="39346" y="32940"/>
                      <a:pt x="39346" y="25038"/>
                    </a:cubicBezTo>
                    <a:cubicBezTo>
                      <a:pt x="39346" y="17136"/>
                      <a:pt x="32940" y="10731"/>
                      <a:pt x="25038"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0" name="Freeform: Shape 308">
                <a:extLst>
                  <a:ext uri="{FF2B5EF4-FFF2-40B4-BE49-F238E27FC236}">
                    <a16:creationId xmlns:a16="http://schemas.microsoft.com/office/drawing/2014/main" id="{3A415406-8AAF-EC4C-B8F2-E82BCC289D66}"/>
                  </a:ext>
                </a:extLst>
              </p:cNvPr>
              <p:cNvSpPr/>
              <p:nvPr/>
            </p:nvSpPr>
            <p:spPr>
              <a:xfrm>
                <a:off x="5379894" y="6357636"/>
                <a:ext cx="42922" cy="28615"/>
              </a:xfrm>
              <a:custGeom>
                <a:avLst/>
                <a:gdLst>
                  <a:gd name="connsiteX0" fmla="*/ 20460 w 42922"/>
                  <a:gd name="connsiteY0" fmla="*/ 10817 h 28614"/>
                  <a:gd name="connsiteX1" fmla="*/ 10731 w 42922"/>
                  <a:gd name="connsiteY1" fmla="*/ 20689 h 28614"/>
                  <a:gd name="connsiteX2" fmla="*/ 23838 w 42922"/>
                  <a:gd name="connsiteY2" fmla="*/ 30188 h 28614"/>
                  <a:gd name="connsiteX3" fmla="*/ 33336 w 42922"/>
                  <a:gd name="connsiteY3" fmla="*/ 20689 h 28614"/>
                  <a:gd name="connsiteX4" fmla="*/ 20460 w 42922"/>
                  <a:gd name="connsiteY4" fmla="*/ 10817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28614">
                    <a:moveTo>
                      <a:pt x="20460" y="10817"/>
                    </a:moveTo>
                    <a:cubicBezTo>
                      <a:pt x="15389" y="11592"/>
                      <a:pt x="11432" y="15609"/>
                      <a:pt x="10731" y="20689"/>
                    </a:cubicBezTo>
                    <a:cubicBezTo>
                      <a:pt x="11726" y="26931"/>
                      <a:pt x="17595" y="31184"/>
                      <a:pt x="23838" y="30188"/>
                    </a:cubicBezTo>
                    <a:cubicBezTo>
                      <a:pt x="28724" y="29408"/>
                      <a:pt x="32557" y="25575"/>
                      <a:pt x="33336" y="20689"/>
                    </a:cubicBezTo>
                    <a:cubicBezTo>
                      <a:pt x="32448" y="14441"/>
                      <a:pt x="26724" y="10053"/>
                      <a:pt x="20460" y="10817"/>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1" name="Freeform: Shape 309">
                <a:extLst>
                  <a:ext uri="{FF2B5EF4-FFF2-40B4-BE49-F238E27FC236}">
                    <a16:creationId xmlns:a16="http://schemas.microsoft.com/office/drawing/2014/main" id="{6A01C96E-8557-2946-A07C-AC786E5D5880}"/>
                  </a:ext>
                </a:extLst>
              </p:cNvPr>
              <p:cNvSpPr/>
              <p:nvPr/>
            </p:nvSpPr>
            <p:spPr>
              <a:xfrm>
                <a:off x="5380313" y="6306429"/>
                <a:ext cx="42922" cy="42922"/>
              </a:xfrm>
              <a:custGeom>
                <a:avLst/>
                <a:gdLst>
                  <a:gd name="connsiteX0" fmla="*/ 20900 w 42922"/>
                  <a:gd name="connsiteY0" fmla="*/ 33551 h 42922"/>
                  <a:gd name="connsiteX1" fmla="*/ 33552 w 42922"/>
                  <a:gd name="connsiteY1" fmla="*/ 23455 h 42922"/>
                  <a:gd name="connsiteX2" fmla="*/ 23455 w 42922"/>
                  <a:gd name="connsiteY2" fmla="*/ 10802 h 42922"/>
                  <a:gd name="connsiteX3" fmla="*/ 20900 w 42922"/>
                  <a:gd name="connsiteY3" fmla="*/ 10802 h 42922"/>
                  <a:gd name="connsiteX4" fmla="*/ 20900 w 42922"/>
                  <a:gd name="connsiteY4" fmla="*/ 10802 h 42922"/>
                  <a:gd name="connsiteX5" fmla="*/ 10803 w 42922"/>
                  <a:gd name="connsiteY5" fmla="*/ 23455 h 42922"/>
                  <a:gd name="connsiteX6" fmla="*/ 20900 w 42922"/>
                  <a:gd name="connsiteY6" fmla="*/ 3355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0900" y="33551"/>
                    </a:moveTo>
                    <a:cubicBezTo>
                      <a:pt x="27182" y="34257"/>
                      <a:pt x="32847" y="29737"/>
                      <a:pt x="33552" y="23455"/>
                    </a:cubicBezTo>
                    <a:cubicBezTo>
                      <a:pt x="34257" y="17172"/>
                      <a:pt x="29738" y="11508"/>
                      <a:pt x="23455" y="10802"/>
                    </a:cubicBezTo>
                    <a:cubicBezTo>
                      <a:pt x="22607" y="10707"/>
                      <a:pt x="21748" y="10707"/>
                      <a:pt x="20900" y="10802"/>
                    </a:cubicBezTo>
                    <a:lnTo>
                      <a:pt x="20900" y="10802"/>
                    </a:lnTo>
                    <a:cubicBezTo>
                      <a:pt x="14617" y="11508"/>
                      <a:pt x="10098" y="17172"/>
                      <a:pt x="10803" y="23455"/>
                    </a:cubicBezTo>
                    <a:cubicBezTo>
                      <a:pt x="11400" y="28764"/>
                      <a:pt x="15590" y="32955"/>
                      <a:pt x="20900" y="3355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2" name="Freeform: Shape 310">
                <a:extLst>
                  <a:ext uri="{FF2B5EF4-FFF2-40B4-BE49-F238E27FC236}">
                    <a16:creationId xmlns:a16="http://schemas.microsoft.com/office/drawing/2014/main" id="{DDA49874-40F5-7646-B9F9-B454913AF915}"/>
                  </a:ext>
                </a:extLst>
              </p:cNvPr>
              <p:cNvSpPr/>
              <p:nvPr/>
            </p:nvSpPr>
            <p:spPr>
              <a:xfrm>
                <a:off x="5379891" y="6206635"/>
                <a:ext cx="42922" cy="42922"/>
              </a:xfrm>
              <a:custGeom>
                <a:avLst/>
                <a:gdLst>
                  <a:gd name="connsiteX0" fmla="*/ 22180 w 42922"/>
                  <a:gd name="connsiteY0" fmla="*/ 10731 h 42922"/>
                  <a:gd name="connsiteX1" fmla="*/ 22180 w 42922"/>
                  <a:gd name="connsiteY1" fmla="*/ 10731 h 42922"/>
                  <a:gd name="connsiteX2" fmla="*/ 10734 w 42922"/>
                  <a:gd name="connsiteY2" fmla="*/ 21890 h 42922"/>
                  <a:gd name="connsiteX3" fmla="*/ 21891 w 42922"/>
                  <a:gd name="connsiteY3" fmla="*/ 33618 h 42922"/>
                  <a:gd name="connsiteX4" fmla="*/ 33619 w 42922"/>
                  <a:gd name="connsiteY4" fmla="*/ 22463 h 42922"/>
                  <a:gd name="connsiteX5" fmla="*/ 22463 w 42922"/>
                  <a:gd name="connsiteY5" fmla="*/ 10735 h 42922"/>
                  <a:gd name="connsiteX6" fmla="*/ 22180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180" y="10731"/>
                    </a:moveTo>
                    <a:lnTo>
                      <a:pt x="22180" y="10731"/>
                    </a:lnTo>
                    <a:cubicBezTo>
                      <a:pt x="15969" y="10729"/>
                      <a:pt x="10890" y="15681"/>
                      <a:pt x="10734" y="21890"/>
                    </a:cubicBezTo>
                    <a:cubicBezTo>
                      <a:pt x="10577" y="28210"/>
                      <a:pt x="15572" y="33461"/>
                      <a:pt x="21891" y="33618"/>
                    </a:cubicBezTo>
                    <a:cubicBezTo>
                      <a:pt x="28209" y="33777"/>
                      <a:pt x="33462" y="28782"/>
                      <a:pt x="33619" y="22463"/>
                    </a:cubicBezTo>
                    <a:cubicBezTo>
                      <a:pt x="33776" y="16143"/>
                      <a:pt x="28782" y="10892"/>
                      <a:pt x="22463" y="10735"/>
                    </a:cubicBezTo>
                    <a:cubicBezTo>
                      <a:pt x="22369" y="10732"/>
                      <a:pt x="22275" y="10731"/>
                      <a:pt x="22180"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3" name="Freeform: Shape 311">
                <a:extLst>
                  <a:ext uri="{FF2B5EF4-FFF2-40B4-BE49-F238E27FC236}">
                    <a16:creationId xmlns:a16="http://schemas.microsoft.com/office/drawing/2014/main" id="{CDF00CA1-E5F4-8F4F-8F82-DD2A23B6D16B}"/>
                  </a:ext>
                </a:extLst>
              </p:cNvPr>
              <p:cNvSpPr/>
              <p:nvPr/>
            </p:nvSpPr>
            <p:spPr>
              <a:xfrm>
                <a:off x="5301632" y="6107766"/>
                <a:ext cx="28615" cy="28615"/>
              </a:xfrm>
              <a:custGeom>
                <a:avLst/>
                <a:gdLst>
                  <a:gd name="connsiteX0" fmla="*/ 21032 w 28614"/>
                  <a:gd name="connsiteY0" fmla="*/ 10735 h 28614"/>
                  <a:gd name="connsiteX1" fmla="*/ 21032 w 28614"/>
                  <a:gd name="connsiteY1" fmla="*/ 10735 h 28614"/>
                  <a:gd name="connsiteX2" fmla="*/ 10731 w 28614"/>
                  <a:gd name="connsiteY2" fmla="*/ 21036 h 28614"/>
                  <a:gd name="connsiteX3" fmla="*/ 21032 w 28614"/>
                  <a:gd name="connsiteY3" fmla="*/ 31338 h 28614"/>
                  <a:gd name="connsiteX4" fmla="*/ 21032 w 28614"/>
                  <a:gd name="connsiteY4" fmla="*/ 31338 h 28614"/>
                  <a:gd name="connsiteX5" fmla="*/ 31476 w 28614"/>
                  <a:gd name="connsiteY5" fmla="*/ 20893 h 28614"/>
                  <a:gd name="connsiteX6" fmla="*/ 21322 w 28614"/>
                  <a:gd name="connsiteY6" fmla="*/ 10731 h 28614"/>
                  <a:gd name="connsiteX7" fmla="*/ 21032 w 28614"/>
                  <a:gd name="connsiteY7" fmla="*/ 10735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14" h="28614">
                    <a:moveTo>
                      <a:pt x="21032" y="10735"/>
                    </a:moveTo>
                    <a:lnTo>
                      <a:pt x="21032" y="10735"/>
                    </a:lnTo>
                    <a:cubicBezTo>
                      <a:pt x="15343" y="10735"/>
                      <a:pt x="10731" y="15348"/>
                      <a:pt x="10731" y="21036"/>
                    </a:cubicBezTo>
                    <a:cubicBezTo>
                      <a:pt x="10731" y="26725"/>
                      <a:pt x="15343" y="31338"/>
                      <a:pt x="21032" y="31338"/>
                    </a:cubicBezTo>
                    <a:lnTo>
                      <a:pt x="21032" y="31338"/>
                    </a:lnTo>
                    <a:cubicBezTo>
                      <a:pt x="26801" y="31338"/>
                      <a:pt x="31476" y="26662"/>
                      <a:pt x="31476" y="20893"/>
                    </a:cubicBezTo>
                    <a:cubicBezTo>
                      <a:pt x="31479" y="15283"/>
                      <a:pt x="26932" y="10733"/>
                      <a:pt x="21322" y="10731"/>
                    </a:cubicBezTo>
                    <a:cubicBezTo>
                      <a:pt x="21225" y="10731"/>
                      <a:pt x="21129" y="10732"/>
                      <a:pt x="21032" y="107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4" name="Freeform: Shape 312">
                <a:extLst>
                  <a:ext uri="{FF2B5EF4-FFF2-40B4-BE49-F238E27FC236}">
                    <a16:creationId xmlns:a16="http://schemas.microsoft.com/office/drawing/2014/main" id="{B0E8B668-724A-A74D-B9C8-6AF430B787CB}"/>
                  </a:ext>
                </a:extLst>
              </p:cNvPr>
              <p:cNvSpPr/>
              <p:nvPr/>
            </p:nvSpPr>
            <p:spPr>
              <a:xfrm>
                <a:off x="5379752" y="6106768"/>
                <a:ext cx="42922" cy="42922"/>
              </a:xfrm>
              <a:custGeom>
                <a:avLst/>
                <a:gdLst>
                  <a:gd name="connsiteX0" fmla="*/ 22319 w 42922"/>
                  <a:gd name="connsiteY0" fmla="*/ 10732 h 42922"/>
                  <a:gd name="connsiteX1" fmla="*/ 22319 w 42922"/>
                  <a:gd name="connsiteY1" fmla="*/ 10732 h 42922"/>
                  <a:gd name="connsiteX2" fmla="*/ 10732 w 42922"/>
                  <a:gd name="connsiteY2" fmla="*/ 22034 h 42922"/>
                  <a:gd name="connsiteX3" fmla="*/ 22034 w 42922"/>
                  <a:gd name="connsiteY3" fmla="*/ 33622 h 42922"/>
                  <a:gd name="connsiteX4" fmla="*/ 33622 w 42922"/>
                  <a:gd name="connsiteY4" fmla="*/ 22321 h 42922"/>
                  <a:gd name="connsiteX5" fmla="*/ 22321 w 42922"/>
                  <a:gd name="connsiteY5" fmla="*/ 10732 h 42922"/>
                  <a:gd name="connsiteX6" fmla="*/ 22319 w 42922"/>
                  <a:gd name="connsiteY6" fmla="*/ 1073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319" y="10732"/>
                    </a:moveTo>
                    <a:lnTo>
                      <a:pt x="22319" y="10732"/>
                    </a:lnTo>
                    <a:cubicBezTo>
                      <a:pt x="15998" y="10653"/>
                      <a:pt x="10810" y="15713"/>
                      <a:pt x="10732" y="22034"/>
                    </a:cubicBezTo>
                    <a:cubicBezTo>
                      <a:pt x="10653" y="28356"/>
                      <a:pt x="15713" y="33543"/>
                      <a:pt x="22034" y="33622"/>
                    </a:cubicBezTo>
                    <a:cubicBezTo>
                      <a:pt x="28355" y="33701"/>
                      <a:pt x="33542" y="28640"/>
                      <a:pt x="33622" y="22321"/>
                    </a:cubicBezTo>
                    <a:cubicBezTo>
                      <a:pt x="33702" y="16000"/>
                      <a:pt x="28642" y="10812"/>
                      <a:pt x="22321" y="10732"/>
                    </a:cubicBezTo>
                    <a:cubicBezTo>
                      <a:pt x="22321" y="10732"/>
                      <a:pt x="22319" y="10732"/>
                      <a:pt x="22319" y="1073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5" name="Freeform: Shape 313">
                <a:extLst>
                  <a:ext uri="{FF2B5EF4-FFF2-40B4-BE49-F238E27FC236}">
                    <a16:creationId xmlns:a16="http://schemas.microsoft.com/office/drawing/2014/main" id="{21F0AC1F-84B8-3748-9A03-FF4D49755805}"/>
                  </a:ext>
                </a:extLst>
              </p:cNvPr>
              <p:cNvSpPr/>
              <p:nvPr/>
            </p:nvSpPr>
            <p:spPr>
              <a:xfrm>
                <a:off x="5458299" y="6355004"/>
                <a:ext cx="42922" cy="42922"/>
              </a:xfrm>
              <a:custGeom>
                <a:avLst/>
                <a:gdLst>
                  <a:gd name="connsiteX0" fmla="*/ 22892 w 42922"/>
                  <a:gd name="connsiteY0" fmla="*/ 11160 h 42922"/>
                  <a:gd name="connsiteX1" fmla="*/ 10731 w 42922"/>
                  <a:gd name="connsiteY1" fmla="*/ 22892 h 42922"/>
                  <a:gd name="connsiteX2" fmla="*/ 10731 w 42922"/>
                  <a:gd name="connsiteY2" fmla="*/ 22892 h 42922"/>
                  <a:gd name="connsiteX3" fmla="*/ 22892 w 42922"/>
                  <a:gd name="connsiteY3" fmla="*/ 35053 h 42922"/>
                  <a:gd name="connsiteX4" fmla="*/ 35053 w 42922"/>
                  <a:gd name="connsiteY4" fmla="*/ 22892 h 42922"/>
                  <a:gd name="connsiteX5" fmla="*/ 22892 w 42922"/>
                  <a:gd name="connsiteY5"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2892" y="11160"/>
                    </a:moveTo>
                    <a:cubicBezTo>
                      <a:pt x="16309" y="11080"/>
                      <a:pt x="10887" y="16311"/>
                      <a:pt x="10731" y="22892"/>
                    </a:cubicBezTo>
                    <a:lnTo>
                      <a:pt x="10731" y="22892"/>
                    </a:lnTo>
                    <a:cubicBezTo>
                      <a:pt x="10731" y="29608"/>
                      <a:pt x="16176" y="35053"/>
                      <a:pt x="22892" y="35053"/>
                    </a:cubicBezTo>
                    <a:cubicBezTo>
                      <a:pt x="29608" y="35053"/>
                      <a:pt x="35053" y="29608"/>
                      <a:pt x="35053" y="22892"/>
                    </a:cubicBezTo>
                    <a:cubicBezTo>
                      <a:pt x="35053" y="16176"/>
                      <a:pt x="29608" y="10731"/>
                      <a:pt x="22892"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6" name="Freeform: Shape 314">
                <a:extLst>
                  <a:ext uri="{FF2B5EF4-FFF2-40B4-BE49-F238E27FC236}">
                    <a16:creationId xmlns:a16="http://schemas.microsoft.com/office/drawing/2014/main" id="{5BE7F310-F9B7-8149-A54C-5A51C7F5533E}"/>
                  </a:ext>
                </a:extLst>
              </p:cNvPr>
              <p:cNvSpPr/>
              <p:nvPr/>
            </p:nvSpPr>
            <p:spPr>
              <a:xfrm>
                <a:off x="5458577" y="6205633"/>
                <a:ext cx="42922" cy="42922"/>
              </a:xfrm>
              <a:custGeom>
                <a:avLst/>
                <a:gdLst>
                  <a:gd name="connsiteX0" fmla="*/ 22900 w 42922"/>
                  <a:gd name="connsiteY0" fmla="*/ 10731 h 42922"/>
                  <a:gd name="connsiteX1" fmla="*/ 10739 w 42922"/>
                  <a:gd name="connsiteY1" fmla="*/ 22892 h 42922"/>
                  <a:gd name="connsiteX2" fmla="*/ 22034 w 42922"/>
                  <a:gd name="connsiteY2" fmla="*/ 35046 h 42922"/>
                  <a:gd name="connsiteX3" fmla="*/ 22471 w 42922"/>
                  <a:gd name="connsiteY3" fmla="*/ 35053 h 42922"/>
                  <a:gd name="connsiteX4" fmla="*/ 22471 w 42922"/>
                  <a:gd name="connsiteY4" fmla="*/ 35053 h 42922"/>
                  <a:gd name="connsiteX5" fmla="*/ 34632 w 42922"/>
                  <a:gd name="connsiteY5" fmla="*/ 22892 h 42922"/>
                  <a:gd name="connsiteX6" fmla="*/ 22471 w 42922"/>
                  <a:gd name="connsiteY6" fmla="*/ 10731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22900" y="10731"/>
                    </a:moveTo>
                    <a:cubicBezTo>
                      <a:pt x="16184" y="10731"/>
                      <a:pt x="10739" y="16176"/>
                      <a:pt x="10739" y="22892"/>
                    </a:cubicBezTo>
                    <a:cubicBezTo>
                      <a:pt x="10501" y="29367"/>
                      <a:pt x="15559" y="34809"/>
                      <a:pt x="22034" y="35046"/>
                    </a:cubicBezTo>
                    <a:cubicBezTo>
                      <a:pt x="22179" y="35050"/>
                      <a:pt x="22325" y="35053"/>
                      <a:pt x="22471" y="35053"/>
                    </a:cubicBezTo>
                    <a:lnTo>
                      <a:pt x="22471" y="35053"/>
                    </a:lnTo>
                    <a:cubicBezTo>
                      <a:pt x="29187" y="35053"/>
                      <a:pt x="34632" y="29608"/>
                      <a:pt x="34632" y="22892"/>
                    </a:cubicBezTo>
                    <a:cubicBezTo>
                      <a:pt x="34632" y="16176"/>
                      <a:pt x="29187" y="10731"/>
                      <a:pt x="22471" y="1073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7" name="Freeform: Shape 315">
                <a:extLst>
                  <a:ext uri="{FF2B5EF4-FFF2-40B4-BE49-F238E27FC236}">
                    <a16:creationId xmlns:a16="http://schemas.microsoft.com/office/drawing/2014/main" id="{165A1E89-48FC-9B4F-BD0D-06C8BF7AC527}"/>
                  </a:ext>
                </a:extLst>
              </p:cNvPr>
              <p:cNvSpPr/>
              <p:nvPr/>
            </p:nvSpPr>
            <p:spPr>
              <a:xfrm>
                <a:off x="5458585" y="6105910"/>
                <a:ext cx="42922" cy="42922"/>
              </a:xfrm>
              <a:custGeom>
                <a:avLst/>
                <a:gdLst>
                  <a:gd name="connsiteX0" fmla="*/ 24753 w 42922"/>
                  <a:gd name="connsiteY0" fmla="*/ 10731 h 42922"/>
                  <a:gd name="connsiteX1" fmla="*/ 22893 w 42922"/>
                  <a:gd name="connsiteY1" fmla="*/ 10731 h 42922"/>
                  <a:gd name="connsiteX2" fmla="*/ 10732 w 42922"/>
                  <a:gd name="connsiteY2" fmla="*/ 22892 h 42922"/>
                  <a:gd name="connsiteX3" fmla="*/ 10732 w 42922"/>
                  <a:gd name="connsiteY3" fmla="*/ 24752 h 42922"/>
                  <a:gd name="connsiteX4" fmla="*/ 22464 w 42922"/>
                  <a:gd name="connsiteY4" fmla="*/ 36913 h 42922"/>
                  <a:gd name="connsiteX5" fmla="*/ 22464 w 42922"/>
                  <a:gd name="connsiteY5" fmla="*/ 36913 h 42922"/>
                  <a:gd name="connsiteX6" fmla="*/ 34841 w 42922"/>
                  <a:gd name="connsiteY6" fmla="*/ 23009 h 42922"/>
                  <a:gd name="connsiteX7" fmla="*/ 24324 w 42922"/>
                  <a:gd name="connsiteY7" fmla="*/ 10874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24753" y="10731"/>
                    </a:moveTo>
                    <a:lnTo>
                      <a:pt x="22893" y="10731"/>
                    </a:lnTo>
                    <a:cubicBezTo>
                      <a:pt x="16177" y="10731"/>
                      <a:pt x="10732" y="16176"/>
                      <a:pt x="10732" y="22892"/>
                    </a:cubicBezTo>
                    <a:lnTo>
                      <a:pt x="10732" y="24752"/>
                    </a:lnTo>
                    <a:cubicBezTo>
                      <a:pt x="10651" y="31335"/>
                      <a:pt x="15882" y="36757"/>
                      <a:pt x="22464" y="36913"/>
                    </a:cubicBezTo>
                    <a:lnTo>
                      <a:pt x="22464" y="36913"/>
                    </a:lnTo>
                    <a:cubicBezTo>
                      <a:pt x="29720" y="36491"/>
                      <a:pt x="35263" y="30268"/>
                      <a:pt x="34841" y="23009"/>
                    </a:cubicBezTo>
                    <a:cubicBezTo>
                      <a:pt x="34495" y="17046"/>
                      <a:pt x="30177" y="12064"/>
                      <a:pt x="24324" y="10874"/>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38" name="Freeform: Shape 316">
                <a:extLst>
                  <a:ext uri="{FF2B5EF4-FFF2-40B4-BE49-F238E27FC236}">
                    <a16:creationId xmlns:a16="http://schemas.microsoft.com/office/drawing/2014/main" id="{DA37F73B-D3BF-E646-AC10-50622A810676}"/>
                  </a:ext>
                </a:extLst>
              </p:cNvPr>
              <p:cNvSpPr/>
              <p:nvPr/>
            </p:nvSpPr>
            <p:spPr>
              <a:xfrm>
                <a:off x="5457727" y="6305643"/>
                <a:ext cx="42922" cy="42922"/>
              </a:xfrm>
              <a:custGeom>
                <a:avLst/>
                <a:gdLst>
                  <a:gd name="connsiteX0" fmla="*/ 35053 w 42922"/>
                  <a:gd name="connsiteY0" fmla="*/ 22892 h 42922"/>
                  <a:gd name="connsiteX1" fmla="*/ 22892 w 42922"/>
                  <a:gd name="connsiteY1" fmla="*/ 35053 h 42922"/>
                  <a:gd name="connsiteX2" fmla="*/ 10731 w 42922"/>
                  <a:gd name="connsiteY2" fmla="*/ 22892 h 42922"/>
                  <a:gd name="connsiteX3" fmla="*/ 22892 w 42922"/>
                  <a:gd name="connsiteY3" fmla="*/ 10731 h 42922"/>
                  <a:gd name="connsiteX4" fmla="*/ 35053 w 42922"/>
                  <a:gd name="connsiteY4" fmla="*/ 22892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5053" y="22892"/>
                    </a:moveTo>
                    <a:cubicBezTo>
                      <a:pt x="35053" y="29609"/>
                      <a:pt x="29609" y="35053"/>
                      <a:pt x="22892" y="35053"/>
                    </a:cubicBezTo>
                    <a:cubicBezTo>
                      <a:pt x="16175" y="35053"/>
                      <a:pt x="10731" y="29609"/>
                      <a:pt x="10731" y="22892"/>
                    </a:cubicBezTo>
                    <a:cubicBezTo>
                      <a:pt x="10731" y="16175"/>
                      <a:pt x="16175" y="10731"/>
                      <a:pt x="22892" y="10731"/>
                    </a:cubicBezTo>
                    <a:cubicBezTo>
                      <a:pt x="29609" y="10731"/>
                      <a:pt x="35053" y="16175"/>
                      <a:pt x="35053" y="22892"/>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grpSp>
        <p:sp>
          <p:nvSpPr>
            <p:cNvPr id="1624" name="Arc 1623">
              <a:extLst>
                <a:ext uri="{FF2B5EF4-FFF2-40B4-BE49-F238E27FC236}">
                  <a16:creationId xmlns:a16="http://schemas.microsoft.com/office/drawing/2014/main" id="{481E5336-7666-644D-8B4D-0DA9D1E88C97}"/>
                </a:ext>
              </a:extLst>
            </p:cNvPr>
            <p:cNvSpPr/>
            <p:nvPr/>
          </p:nvSpPr>
          <p:spPr>
            <a:xfrm flipH="1">
              <a:off x="6016646" y="3274612"/>
              <a:ext cx="2322385" cy="2322385"/>
            </a:xfrm>
            <a:prstGeom prst="arc">
              <a:avLst>
                <a:gd name="adj1" fmla="val 10779220"/>
                <a:gd name="adj2" fmla="val 10433"/>
              </a:avLst>
            </a:prstGeom>
            <a:gradFill flip="none" rotWithShape="1">
              <a:gsLst>
                <a:gs pos="55000">
                  <a:srgbClr val="00BCEB">
                    <a:lumMod val="20000"/>
                    <a:lumOff val="80000"/>
                    <a:alpha val="10000"/>
                  </a:srgbClr>
                </a:gs>
                <a:gs pos="91000">
                  <a:srgbClr val="00BCEB">
                    <a:lumMod val="20000"/>
                    <a:lumOff val="80000"/>
                  </a:srgbClr>
                </a:gs>
              </a:gsLst>
              <a:lin ang="5400000" scaled="1"/>
              <a:tileRect/>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26" name="Arc 1625">
              <a:extLst>
                <a:ext uri="{FF2B5EF4-FFF2-40B4-BE49-F238E27FC236}">
                  <a16:creationId xmlns:a16="http://schemas.microsoft.com/office/drawing/2014/main" id="{99B63635-9AEA-354A-A08B-83E651C9C9E7}"/>
                </a:ext>
              </a:extLst>
            </p:cNvPr>
            <p:cNvSpPr/>
            <p:nvPr/>
          </p:nvSpPr>
          <p:spPr>
            <a:xfrm flipH="1">
              <a:off x="6521653" y="3737879"/>
              <a:ext cx="1379585" cy="1379585"/>
            </a:xfrm>
            <a:prstGeom prst="arc">
              <a:avLst>
                <a:gd name="adj1" fmla="val 10747920"/>
                <a:gd name="adj2" fmla="val 0"/>
              </a:avLst>
            </a:prstGeom>
            <a:solidFill>
              <a:srgbClr val="FFFFFF"/>
            </a:solidFill>
            <a:ln w="25400" cap="flat" cmpd="sng" algn="ctr">
              <a:solidFill>
                <a:srgbClr val="1E447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27" name="Arc 1626">
              <a:extLst>
                <a:ext uri="{FF2B5EF4-FFF2-40B4-BE49-F238E27FC236}">
                  <a16:creationId xmlns:a16="http://schemas.microsoft.com/office/drawing/2014/main" id="{11116CCB-9D9B-8B44-A19D-DEC2E31BA15C}"/>
                </a:ext>
              </a:extLst>
            </p:cNvPr>
            <p:cNvSpPr/>
            <p:nvPr/>
          </p:nvSpPr>
          <p:spPr>
            <a:xfrm flipH="1">
              <a:off x="6673944" y="3890171"/>
              <a:ext cx="1075002" cy="1075002"/>
            </a:xfrm>
            <a:prstGeom prst="arc">
              <a:avLst>
                <a:gd name="adj1" fmla="val 10747920"/>
                <a:gd name="adj2" fmla="val 0"/>
              </a:avLst>
            </a:prstGeom>
            <a:noFill/>
            <a:ln w="25400" cap="flat" cmpd="sng" algn="ctr">
              <a:solidFill>
                <a:srgbClr val="6EBE4A"/>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29" name="Freeform: Shape 420">
              <a:extLst>
                <a:ext uri="{FF2B5EF4-FFF2-40B4-BE49-F238E27FC236}">
                  <a16:creationId xmlns:a16="http://schemas.microsoft.com/office/drawing/2014/main" id="{E8A6ACC9-F59D-E643-B99B-304BDB53E1B8}"/>
                </a:ext>
              </a:extLst>
            </p:cNvPr>
            <p:cNvSpPr>
              <a:spLocks/>
            </p:cNvSpPr>
            <p:nvPr/>
          </p:nvSpPr>
          <p:spPr bwMode="auto">
            <a:xfrm flipH="1">
              <a:off x="5409104" y="3617164"/>
              <a:ext cx="499639" cy="50691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cxnSp>
          <p:nvCxnSpPr>
            <p:cNvPr id="1939" name="Straight Connector 1938">
              <a:extLst>
                <a:ext uri="{FF2B5EF4-FFF2-40B4-BE49-F238E27FC236}">
                  <a16:creationId xmlns:a16="http://schemas.microsoft.com/office/drawing/2014/main" id="{8B37ECF5-B191-9446-9C17-EE6E89B7B8EE}"/>
                </a:ext>
              </a:extLst>
            </p:cNvPr>
            <p:cNvCxnSpPr>
              <a:cxnSpLocks/>
            </p:cNvCxnSpPr>
            <p:nvPr/>
          </p:nvCxnSpPr>
          <p:spPr>
            <a:xfrm flipV="1">
              <a:off x="7213229" y="2501616"/>
              <a:ext cx="467741" cy="1875608"/>
            </a:xfrm>
            <a:prstGeom prst="line">
              <a:avLst/>
            </a:prstGeom>
            <a:noFill/>
            <a:ln w="15875" cap="rnd" cmpd="sng" algn="ctr">
              <a:solidFill>
                <a:srgbClr val="00BCEB">
                  <a:shade val="95000"/>
                  <a:satMod val="105000"/>
                </a:srgbClr>
              </a:solidFill>
              <a:prstDash val="sysDot"/>
            </a:ln>
            <a:effectLst/>
          </p:spPr>
        </p:cxnSp>
        <p:cxnSp>
          <p:nvCxnSpPr>
            <p:cNvPr id="1940" name="Straight Connector 1939">
              <a:extLst>
                <a:ext uri="{FF2B5EF4-FFF2-40B4-BE49-F238E27FC236}">
                  <a16:creationId xmlns:a16="http://schemas.microsoft.com/office/drawing/2014/main" id="{5CB3655D-8188-194E-99E8-30880784B640}"/>
                </a:ext>
              </a:extLst>
            </p:cNvPr>
            <p:cNvCxnSpPr>
              <a:cxnSpLocks/>
            </p:cNvCxnSpPr>
            <p:nvPr/>
          </p:nvCxnSpPr>
          <p:spPr>
            <a:xfrm flipV="1">
              <a:off x="7272030" y="3819728"/>
              <a:ext cx="895658" cy="560240"/>
            </a:xfrm>
            <a:prstGeom prst="line">
              <a:avLst/>
            </a:prstGeom>
            <a:noFill/>
            <a:ln w="15875" cap="rnd" cmpd="sng" algn="ctr">
              <a:solidFill>
                <a:srgbClr val="00BCEB">
                  <a:shade val="95000"/>
                  <a:satMod val="105000"/>
                </a:srgbClr>
              </a:solidFill>
              <a:prstDash val="sysDot"/>
            </a:ln>
            <a:effectLst/>
          </p:spPr>
        </p:cxnSp>
        <p:cxnSp>
          <p:nvCxnSpPr>
            <p:cNvPr id="1941" name="Straight Connector 1940">
              <a:extLst>
                <a:ext uri="{FF2B5EF4-FFF2-40B4-BE49-F238E27FC236}">
                  <a16:creationId xmlns:a16="http://schemas.microsoft.com/office/drawing/2014/main" id="{40A80178-ECDC-E64D-B9C1-03C9A0A0FBB5}"/>
                </a:ext>
              </a:extLst>
            </p:cNvPr>
            <p:cNvCxnSpPr>
              <a:cxnSpLocks/>
            </p:cNvCxnSpPr>
            <p:nvPr/>
          </p:nvCxnSpPr>
          <p:spPr>
            <a:xfrm flipH="1" flipV="1">
              <a:off x="6616700" y="3290297"/>
              <a:ext cx="596530" cy="1097282"/>
            </a:xfrm>
            <a:prstGeom prst="line">
              <a:avLst/>
            </a:prstGeom>
            <a:noFill/>
            <a:ln w="15875" cap="rnd" cmpd="sng" algn="ctr">
              <a:solidFill>
                <a:srgbClr val="00BCEB">
                  <a:shade val="95000"/>
                  <a:satMod val="105000"/>
                </a:srgbClr>
              </a:solidFill>
              <a:prstDash val="sysDot"/>
            </a:ln>
            <a:effectLst/>
          </p:spPr>
        </p:cxnSp>
        <p:cxnSp>
          <p:nvCxnSpPr>
            <p:cNvPr id="1942" name="Straight Connector 1941">
              <a:extLst>
                <a:ext uri="{FF2B5EF4-FFF2-40B4-BE49-F238E27FC236}">
                  <a16:creationId xmlns:a16="http://schemas.microsoft.com/office/drawing/2014/main" id="{20412781-D3E0-654D-8D73-558D55453EC6}"/>
                </a:ext>
              </a:extLst>
            </p:cNvPr>
            <p:cNvCxnSpPr>
              <a:cxnSpLocks/>
            </p:cNvCxnSpPr>
            <p:nvPr/>
          </p:nvCxnSpPr>
          <p:spPr>
            <a:xfrm flipH="1" flipV="1">
              <a:off x="5668169" y="3816553"/>
              <a:ext cx="1204861" cy="555272"/>
            </a:xfrm>
            <a:prstGeom prst="line">
              <a:avLst/>
            </a:prstGeom>
            <a:noFill/>
            <a:ln w="15875" cap="rnd" cmpd="sng" algn="ctr">
              <a:solidFill>
                <a:srgbClr val="00BCEB">
                  <a:shade val="95000"/>
                  <a:satMod val="105000"/>
                </a:srgbClr>
              </a:solidFill>
              <a:prstDash val="sysDot"/>
            </a:ln>
            <a:effectLst/>
          </p:spPr>
        </p:cxnSp>
        <p:sp>
          <p:nvSpPr>
            <p:cNvPr id="1943" name="Oval 1942">
              <a:extLst>
                <a:ext uri="{FF2B5EF4-FFF2-40B4-BE49-F238E27FC236}">
                  <a16:creationId xmlns:a16="http://schemas.microsoft.com/office/drawing/2014/main" id="{764777CC-5579-974C-A842-C1EA10291C4C}"/>
                </a:ext>
              </a:extLst>
            </p:cNvPr>
            <p:cNvSpPr>
              <a:spLocks noChangeAspect="1"/>
            </p:cNvSpPr>
            <p:nvPr/>
          </p:nvSpPr>
          <p:spPr>
            <a:xfrm flipH="1">
              <a:off x="8165469" y="3733664"/>
              <a:ext cx="90639" cy="90639"/>
            </a:xfrm>
            <a:prstGeom prst="ellipse">
              <a:avLst/>
            </a:prstGeom>
            <a:solidFill>
              <a:srgbClr val="FFFFFF"/>
            </a:solidFill>
            <a:ln w="15875" cap="rnd" cmpd="sng" algn="ctr">
              <a:solidFill>
                <a:srgbClr val="00BCEB">
                  <a:shade val="95000"/>
                  <a:satMod val="105000"/>
                </a:srgb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44" name="Oval 1943">
              <a:extLst>
                <a:ext uri="{FF2B5EF4-FFF2-40B4-BE49-F238E27FC236}">
                  <a16:creationId xmlns:a16="http://schemas.microsoft.com/office/drawing/2014/main" id="{06A05783-CE7E-B142-A428-9DCDD218B4D0}"/>
                </a:ext>
              </a:extLst>
            </p:cNvPr>
            <p:cNvSpPr>
              <a:spLocks noChangeAspect="1"/>
            </p:cNvSpPr>
            <p:nvPr/>
          </p:nvSpPr>
          <p:spPr>
            <a:xfrm flipH="1">
              <a:off x="7643495" y="2426939"/>
              <a:ext cx="90639" cy="90639"/>
            </a:xfrm>
            <a:prstGeom prst="ellipse">
              <a:avLst/>
            </a:prstGeom>
            <a:solidFill>
              <a:srgbClr val="FFFFFF"/>
            </a:solidFill>
            <a:ln w="15875" cap="rnd" cmpd="sng" algn="ctr">
              <a:solidFill>
                <a:srgbClr val="00BCEB">
                  <a:shade val="95000"/>
                  <a:satMod val="105000"/>
                </a:srgb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45" name="Oval 1944">
              <a:extLst>
                <a:ext uri="{FF2B5EF4-FFF2-40B4-BE49-F238E27FC236}">
                  <a16:creationId xmlns:a16="http://schemas.microsoft.com/office/drawing/2014/main" id="{A41FCC25-BD58-6D48-86E5-C3C4AD4E1899}"/>
                </a:ext>
              </a:extLst>
            </p:cNvPr>
            <p:cNvSpPr>
              <a:spLocks noChangeAspect="1"/>
            </p:cNvSpPr>
            <p:nvPr/>
          </p:nvSpPr>
          <p:spPr>
            <a:xfrm flipH="1">
              <a:off x="6536815" y="3189222"/>
              <a:ext cx="90639" cy="90639"/>
            </a:xfrm>
            <a:prstGeom prst="ellipse">
              <a:avLst/>
            </a:prstGeom>
            <a:solidFill>
              <a:srgbClr val="FFFFFF"/>
            </a:solidFill>
            <a:ln w="15875" cap="rnd" cmpd="sng" algn="ctr">
              <a:solidFill>
                <a:srgbClr val="00BCEB">
                  <a:shade val="95000"/>
                  <a:satMod val="105000"/>
                </a:srgb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946" name="Oval 1945">
              <a:extLst>
                <a:ext uri="{FF2B5EF4-FFF2-40B4-BE49-F238E27FC236}">
                  <a16:creationId xmlns:a16="http://schemas.microsoft.com/office/drawing/2014/main" id="{B67ABBD3-F751-0B49-9545-1404160D0A67}"/>
                </a:ext>
              </a:extLst>
            </p:cNvPr>
            <p:cNvSpPr>
              <a:spLocks noChangeAspect="1"/>
            </p:cNvSpPr>
            <p:nvPr/>
          </p:nvSpPr>
          <p:spPr>
            <a:xfrm flipH="1">
              <a:off x="5581915" y="3756524"/>
              <a:ext cx="90639" cy="90639"/>
            </a:xfrm>
            <a:prstGeom prst="ellipse">
              <a:avLst/>
            </a:prstGeom>
            <a:solidFill>
              <a:srgbClr val="FFFFFF"/>
            </a:solidFill>
            <a:ln w="15875" cap="rnd" cmpd="sng" algn="ctr">
              <a:solidFill>
                <a:srgbClr val="00BCEB">
                  <a:shade val="95000"/>
                  <a:satMod val="105000"/>
                </a:srgb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28" name="Rectangle 1627">
              <a:extLst>
                <a:ext uri="{FF2B5EF4-FFF2-40B4-BE49-F238E27FC236}">
                  <a16:creationId xmlns:a16="http://schemas.microsoft.com/office/drawing/2014/main" id="{B29DBACA-B1D4-F747-A97D-59DDAD466368}"/>
                </a:ext>
              </a:extLst>
            </p:cNvPr>
            <p:cNvSpPr/>
            <p:nvPr/>
          </p:nvSpPr>
          <p:spPr>
            <a:xfrm flipH="1">
              <a:off x="4577013" y="4433568"/>
              <a:ext cx="4206240" cy="6713"/>
            </a:xfrm>
            <a:prstGeom prst="rect">
              <a:avLst/>
            </a:prstGeom>
            <a:solidFill>
              <a:srgbClr val="FFFFFF">
                <a:lumMod val="8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630" name="Freeform: Shape 419">
              <a:extLst>
                <a:ext uri="{FF2B5EF4-FFF2-40B4-BE49-F238E27FC236}">
                  <a16:creationId xmlns:a16="http://schemas.microsoft.com/office/drawing/2014/main" id="{EA288900-50E4-3548-B678-0CB5A06E9A46}"/>
                </a:ext>
              </a:extLst>
            </p:cNvPr>
            <p:cNvSpPr>
              <a:spLocks/>
            </p:cNvSpPr>
            <p:nvPr/>
          </p:nvSpPr>
          <p:spPr bwMode="auto">
            <a:xfrm flipH="1">
              <a:off x="6050254" y="2969853"/>
              <a:ext cx="499639" cy="50691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31" name="Freeform: Shape 418">
              <a:extLst>
                <a:ext uri="{FF2B5EF4-FFF2-40B4-BE49-F238E27FC236}">
                  <a16:creationId xmlns:a16="http://schemas.microsoft.com/office/drawing/2014/main" id="{9E2F98EA-713F-5842-BD8B-1E2E9B34FFF9}"/>
                </a:ext>
              </a:extLst>
            </p:cNvPr>
            <p:cNvSpPr>
              <a:spLocks/>
            </p:cNvSpPr>
            <p:nvPr/>
          </p:nvSpPr>
          <p:spPr bwMode="auto">
            <a:xfrm flipH="1">
              <a:off x="8246690" y="2938366"/>
              <a:ext cx="499639" cy="50691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noAutofit/>
            </a:bodyPr>
            <a:lstStyle/>
            <a:p>
              <a:pPr defTabSz="914400"/>
              <a:endParaRPr lang="en-US" sz="1600" kern="0">
                <a:solidFill>
                  <a:srgbClr val="282828"/>
                </a:solidFill>
                <a:latin typeface="CiscoSansTT ExtraLight"/>
              </a:endParaRPr>
            </a:p>
          </p:txBody>
        </p:sp>
        <p:sp>
          <p:nvSpPr>
            <p:cNvPr id="1632" name="Freeform: Shape 417">
              <a:extLst>
                <a:ext uri="{FF2B5EF4-FFF2-40B4-BE49-F238E27FC236}">
                  <a16:creationId xmlns:a16="http://schemas.microsoft.com/office/drawing/2014/main" id="{EB7D06D7-403B-764E-B8B1-68D22DC4503B}"/>
                </a:ext>
              </a:extLst>
            </p:cNvPr>
            <p:cNvSpPr>
              <a:spLocks noChangeAspect="1"/>
            </p:cNvSpPr>
            <p:nvPr/>
          </p:nvSpPr>
          <p:spPr bwMode="auto">
            <a:xfrm flipH="1">
              <a:off x="7944650" y="1274328"/>
              <a:ext cx="721911" cy="732420"/>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chemeClr val="bg1">
                <a:lumMod val="95000"/>
              </a:schemeClr>
            </a:solidFill>
            <a:ln>
              <a:noFill/>
            </a:ln>
          </p:spPr>
          <p:txBody>
            <a:bodyPr vert="horz" wrap="square" lIns="68580" tIns="34290" rIns="68580" bIns="3429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pic>
          <p:nvPicPr>
            <p:cNvPr id="1633" name="Picture 1632" descr="A picture containing man, looking, black, sitting&#10;&#10;Description automatically generated">
              <a:extLst>
                <a:ext uri="{FF2B5EF4-FFF2-40B4-BE49-F238E27FC236}">
                  <a16:creationId xmlns:a16="http://schemas.microsoft.com/office/drawing/2014/main" id="{49197888-577A-AF42-850C-84E74112466C}"/>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flipH="1">
              <a:off x="6491112" y="3490017"/>
              <a:ext cx="1147909" cy="941179"/>
            </a:xfrm>
            <a:prstGeom prst="rect">
              <a:avLst/>
            </a:prstGeom>
          </p:spPr>
        </p:pic>
        <p:grpSp>
          <p:nvGrpSpPr>
            <p:cNvPr id="1635" name="Group 1634">
              <a:extLst>
                <a:ext uri="{FF2B5EF4-FFF2-40B4-BE49-F238E27FC236}">
                  <a16:creationId xmlns:a16="http://schemas.microsoft.com/office/drawing/2014/main" id="{77188A51-A48C-D74A-B9FA-722EE6AF881C}"/>
                </a:ext>
              </a:extLst>
            </p:cNvPr>
            <p:cNvGrpSpPr/>
            <p:nvPr/>
          </p:nvGrpSpPr>
          <p:grpSpPr>
            <a:xfrm flipH="1">
              <a:off x="6663482" y="4186181"/>
              <a:ext cx="338479" cy="128148"/>
              <a:chOff x="3440113" y="5662613"/>
              <a:chExt cx="769938" cy="292100"/>
            </a:xfrm>
            <a:solidFill>
              <a:srgbClr val="1E4471"/>
            </a:solidFill>
          </p:grpSpPr>
          <p:sp>
            <p:nvSpPr>
              <p:cNvPr id="1636" name="Freeform 84">
                <a:extLst>
                  <a:ext uri="{FF2B5EF4-FFF2-40B4-BE49-F238E27FC236}">
                    <a16:creationId xmlns:a16="http://schemas.microsoft.com/office/drawing/2014/main" id="{D399AA3E-1220-6A4A-8042-9C3C022562BB}"/>
                  </a:ext>
                </a:extLst>
              </p:cNvPr>
              <p:cNvSpPr>
                <a:spLocks/>
              </p:cNvSpPr>
              <p:nvPr/>
            </p:nvSpPr>
            <p:spPr bwMode="auto">
              <a:xfrm>
                <a:off x="3440113" y="566261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4 h 46"/>
                  <a:gd name="T46" fmla="*/ 355 w 358"/>
                  <a:gd name="T47" fmla="*/ 41 h 46"/>
                  <a:gd name="T48" fmla="*/ 342 w 358"/>
                  <a:gd name="T49" fmla="*/ 36 h 46"/>
                  <a:gd name="T50" fmla="*/ 327 w 358"/>
                  <a:gd name="T51" fmla="*/ 14 h 46"/>
                  <a:gd name="T52" fmla="*/ 305 w 358"/>
                  <a:gd name="T53" fmla="*/ 1 h 46"/>
                  <a:gd name="T54" fmla="*/ 288 w 358"/>
                  <a:gd name="T55" fmla="*/ 8 h 46"/>
                  <a:gd name="T56" fmla="*/ 273 w 358"/>
                  <a:gd name="T57" fmla="*/ 30 h 46"/>
                  <a:gd name="T58" fmla="*/ 254 w 358"/>
                  <a:gd name="T59" fmla="*/ 41 h 46"/>
                  <a:gd name="T60" fmla="*/ 241 w 358"/>
                  <a:gd name="T61" fmla="*/ 36 h 46"/>
                  <a:gd name="T62" fmla="*/ 226 w 358"/>
                  <a:gd name="T63" fmla="*/ 14 h 46"/>
                  <a:gd name="T64" fmla="*/ 204 w 358"/>
                  <a:gd name="T65" fmla="*/ 1 h 46"/>
                  <a:gd name="T66" fmla="*/ 187 w 358"/>
                  <a:gd name="T67" fmla="*/ 8 h 46"/>
                  <a:gd name="T68" fmla="*/ 172 w 358"/>
                  <a:gd name="T69" fmla="*/ 30 h 46"/>
                  <a:gd name="T70" fmla="*/ 154 w 358"/>
                  <a:gd name="T71" fmla="*/ 41 h 46"/>
                  <a:gd name="T72" fmla="*/ 140 w 358"/>
                  <a:gd name="T73" fmla="*/ 36 h 46"/>
                  <a:gd name="T74" fmla="*/ 126 w 358"/>
                  <a:gd name="T75" fmla="*/ 14 h 46"/>
                  <a:gd name="T76" fmla="*/ 103 w 358"/>
                  <a:gd name="T77" fmla="*/ 1 h 46"/>
                  <a:gd name="T78" fmla="*/ 87 w 358"/>
                  <a:gd name="T79" fmla="*/ 8 h 46"/>
                  <a:gd name="T80" fmla="*/ 72 w 358"/>
                  <a:gd name="T81" fmla="*/ 30 h 46"/>
                  <a:gd name="T82" fmla="*/ 53 w 358"/>
                  <a:gd name="T83" fmla="*/ 41 h 46"/>
                  <a:gd name="T84" fmla="*/ 40 w 358"/>
                  <a:gd name="T85" fmla="*/ 36 h 46"/>
                  <a:gd name="T86" fmla="*/ 25 w 358"/>
                  <a:gd name="T87" fmla="*/ 14 h 46"/>
                  <a:gd name="T88" fmla="*/ 3 w 358"/>
                  <a:gd name="T89" fmla="*/ 1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5"/>
                      <a:pt x="31" y="32"/>
                    </a:cubicBezTo>
                    <a:cubicBezTo>
                      <a:pt x="36" y="40"/>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5"/>
                      <a:pt x="131" y="32"/>
                    </a:cubicBezTo>
                    <a:cubicBezTo>
                      <a:pt x="137" y="40"/>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5"/>
                      <a:pt x="232" y="32"/>
                    </a:cubicBezTo>
                    <a:cubicBezTo>
                      <a:pt x="237" y="40"/>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5"/>
                      <a:pt x="333" y="32"/>
                    </a:cubicBezTo>
                    <a:cubicBezTo>
                      <a:pt x="338" y="40"/>
                      <a:pt x="345" y="46"/>
                      <a:pt x="355" y="46"/>
                    </a:cubicBezTo>
                    <a:cubicBezTo>
                      <a:pt x="356" y="46"/>
                      <a:pt x="358" y="45"/>
                      <a:pt x="358" y="44"/>
                    </a:cubicBezTo>
                    <a:cubicBezTo>
                      <a:pt x="358" y="43"/>
                      <a:pt x="356" y="41"/>
                      <a:pt x="355" y="41"/>
                    </a:cubicBezTo>
                    <a:cubicBezTo>
                      <a:pt x="350" y="41"/>
                      <a:pt x="346" y="39"/>
                      <a:pt x="342" y="36"/>
                    </a:cubicBezTo>
                    <a:cubicBezTo>
                      <a:pt x="336" y="30"/>
                      <a:pt x="332" y="22"/>
                      <a:pt x="327" y="14"/>
                    </a:cubicBezTo>
                    <a:cubicBezTo>
                      <a:pt x="322" y="7"/>
                      <a:pt x="315" y="0"/>
                      <a:pt x="305" y="1"/>
                    </a:cubicBezTo>
                    <a:cubicBezTo>
                      <a:pt x="298" y="0"/>
                      <a:pt x="292" y="3"/>
                      <a:pt x="288" y="8"/>
                    </a:cubicBezTo>
                    <a:cubicBezTo>
                      <a:pt x="282" y="14"/>
                      <a:pt x="278" y="23"/>
                      <a:pt x="273" y="30"/>
                    </a:cubicBezTo>
                    <a:cubicBezTo>
                      <a:pt x="268" y="37"/>
                      <a:pt x="263" y="41"/>
                      <a:pt x="254" y="41"/>
                    </a:cubicBezTo>
                    <a:cubicBezTo>
                      <a:pt x="249" y="41"/>
                      <a:pt x="245" y="39"/>
                      <a:pt x="241" y="36"/>
                    </a:cubicBezTo>
                    <a:cubicBezTo>
                      <a:pt x="236" y="30"/>
                      <a:pt x="232" y="22"/>
                      <a:pt x="226" y="14"/>
                    </a:cubicBezTo>
                    <a:cubicBezTo>
                      <a:pt x="221" y="7"/>
                      <a:pt x="215" y="0"/>
                      <a:pt x="204" y="1"/>
                    </a:cubicBezTo>
                    <a:cubicBezTo>
                      <a:pt x="197" y="0"/>
                      <a:pt x="192" y="3"/>
                      <a:pt x="187" y="8"/>
                    </a:cubicBezTo>
                    <a:cubicBezTo>
                      <a:pt x="181" y="14"/>
                      <a:pt x="177" y="23"/>
                      <a:pt x="172" y="30"/>
                    </a:cubicBezTo>
                    <a:cubicBezTo>
                      <a:pt x="167" y="37"/>
                      <a:pt x="162" y="41"/>
                      <a:pt x="154" y="41"/>
                    </a:cubicBezTo>
                    <a:cubicBezTo>
                      <a:pt x="148" y="41"/>
                      <a:pt x="144" y="39"/>
                      <a:pt x="140" y="36"/>
                    </a:cubicBezTo>
                    <a:cubicBezTo>
                      <a:pt x="135" y="30"/>
                      <a:pt x="131" y="22"/>
                      <a:pt x="126" y="14"/>
                    </a:cubicBezTo>
                    <a:cubicBezTo>
                      <a:pt x="121" y="7"/>
                      <a:pt x="114" y="0"/>
                      <a:pt x="103" y="1"/>
                    </a:cubicBezTo>
                    <a:cubicBezTo>
                      <a:pt x="96" y="0"/>
                      <a:pt x="91" y="3"/>
                      <a:pt x="87" y="8"/>
                    </a:cubicBezTo>
                    <a:cubicBezTo>
                      <a:pt x="81" y="14"/>
                      <a:pt x="76" y="23"/>
                      <a:pt x="72" y="30"/>
                    </a:cubicBezTo>
                    <a:cubicBezTo>
                      <a:pt x="67" y="37"/>
                      <a:pt x="61" y="41"/>
                      <a:pt x="53" y="41"/>
                    </a:cubicBezTo>
                    <a:cubicBezTo>
                      <a:pt x="48" y="41"/>
                      <a:pt x="44" y="39"/>
                      <a:pt x="40" y="36"/>
                    </a:cubicBezTo>
                    <a:cubicBezTo>
                      <a:pt x="34" y="30"/>
                      <a:pt x="30" y="22"/>
                      <a:pt x="25" y="14"/>
                    </a:cubicBezTo>
                    <a:cubicBezTo>
                      <a:pt x="20" y="7"/>
                      <a:pt x="13" y="0"/>
                      <a:pt x="3" y="1"/>
                    </a:cubicBezTo>
                    <a:cubicBezTo>
                      <a:pt x="2" y="1"/>
                      <a:pt x="0" y="2"/>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37" name="Freeform 85">
                <a:extLst>
                  <a:ext uri="{FF2B5EF4-FFF2-40B4-BE49-F238E27FC236}">
                    <a16:creationId xmlns:a16="http://schemas.microsoft.com/office/drawing/2014/main" id="{8E8C8E2B-438A-3A43-AB22-10355AD127AD}"/>
                  </a:ext>
                </a:extLst>
              </p:cNvPr>
              <p:cNvSpPr>
                <a:spLocks/>
              </p:cNvSpPr>
              <p:nvPr/>
            </p:nvSpPr>
            <p:spPr bwMode="auto">
              <a:xfrm>
                <a:off x="3440113" y="5757863"/>
                <a:ext cx="769938" cy="101600"/>
              </a:xfrm>
              <a:custGeom>
                <a:avLst/>
                <a:gdLst>
                  <a:gd name="T0" fmla="*/ 3 w 358"/>
                  <a:gd name="T1" fmla="*/ 5 h 46"/>
                  <a:gd name="T2" fmla="*/ 16 w 358"/>
                  <a:gd name="T3" fmla="*/ 11 h 46"/>
                  <a:gd name="T4" fmla="*/ 31 w 358"/>
                  <a:gd name="T5" fmla="*/ 32 h 46"/>
                  <a:gd name="T6" fmla="*/ 53 w 358"/>
                  <a:gd name="T7" fmla="*/ 46 h 46"/>
                  <a:gd name="T8" fmla="*/ 70 w 358"/>
                  <a:gd name="T9" fmla="*/ 39 h 46"/>
                  <a:gd name="T10" fmla="*/ 85 w 358"/>
                  <a:gd name="T11" fmla="*/ 17 h 46"/>
                  <a:gd name="T12" fmla="*/ 103 w 358"/>
                  <a:gd name="T13" fmla="*/ 5 h 46"/>
                  <a:gd name="T14" fmla="*/ 117 w 358"/>
                  <a:gd name="T15" fmla="*/ 11 h 46"/>
                  <a:gd name="T16" fmla="*/ 131 w 358"/>
                  <a:gd name="T17" fmla="*/ 32 h 46"/>
                  <a:gd name="T18" fmla="*/ 154 w 358"/>
                  <a:gd name="T19" fmla="*/ 46 h 46"/>
                  <a:gd name="T20" fmla="*/ 170 w 358"/>
                  <a:gd name="T21" fmla="*/ 39 h 46"/>
                  <a:gd name="T22" fmla="*/ 186 w 358"/>
                  <a:gd name="T23" fmla="*/ 17 h 46"/>
                  <a:gd name="T24" fmla="*/ 204 w 358"/>
                  <a:gd name="T25" fmla="*/ 5 h 46"/>
                  <a:gd name="T26" fmla="*/ 217 w 358"/>
                  <a:gd name="T27" fmla="*/ 11 h 46"/>
                  <a:gd name="T28" fmla="*/ 232 w 358"/>
                  <a:gd name="T29" fmla="*/ 32 h 46"/>
                  <a:gd name="T30" fmla="*/ 254 w 358"/>
                  <a:gd name="T31" fmla="*/ 46 h 46"/>
                  <a:gd name="T32" fmla="*/ 271 w 358"/>
                  <a:gd name="T33" fmla="*/ 39 h 46"/>
                  <a:gd name="T34" fmla="*/ 286 w 358"/>
                  <a:gd name="T35" fmla="*/ 17 h 46"/>
                  <a:gd name="T36" fmla="*/ 305 w 358"/>
                  <a:gd name="T37" fmla="*/ 5 h 46"/>
                  <a:gd name="T38" fmla="*/ 318 w 358"/>
                  <a:gd name="T39" fmla="*/ 11 h 46"/>
                  <a:gd name="T40" fmla="*/ 333 w 358"/>
                  <a:gd name="T41" fmla="*/ 32 h 46"/>
                  <a:gd name="T42" fmla="*/ 355 w 358"/>
                  <a:gd name="T43" fmla="*/ 46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3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1"/>
                    </a:cubicBezTo>
                    <a:cubicBezTo>
                      <a:pt x="22" y="16"/>
                      <a:pt x="26" y="24"/>
                      <a:pt x="31" y="32"/>
                    </a:cubicBezTo>
                    <a:cubicBezTo>
                      <a:pt x="36" y="39"/>
                      <a:pt x="43" y="46"/>
                      <a:pt x="53" y="46"/>
                    </a:cubicBezTo>
                    <a:cubicBezTo>
                      <a:pt x="60" y="46"/>
                      <a:pt x="66" y="43"/>
                      <a:pt x="70" y="39"/>
                    </a:cubicBezTo>
                    <a:cubicBezTo>
                      <a:pt x="76" y="33"/>
                      <a:pt x="80" y="24"/>
                      <a:pt x="85" y="17"/>
                    </a:cubicBezTo>
                    <a:cubicBezTo>
                      <a:pt x="90" y="10"/>
                      <a:pt x="95" y="5"/>
                      <a:pt x="103" y="5"/>
                    </a:cubicBezTo>
                    <a:cubicBezTo>
                      <a:pt x="109" y="5"/>
                      <a:pt x="113" y="7"/>
                      <a:pt x="117" y="11"/>
                    </a:cubicBezTo>
                    <a:cubicBezTo>
                      <a:pt x="122" y="16"/>
                      <a:pt x="126" y="24"/>
                      <a:pt x="131" y="32"/>
                    </a:cubicBezTo>
                    <a:cubicBezTo>
                      <a:pt x="137" y="39"/>
                      <a:pt x="143" y="46"/>
                      <a:pt x="154" y="46"/>
                    </a:cubicBezTo>
                    <a:cubicBezTo>
                      <a:pt x="161" y="46"/>
                      <a:pt x="166" y="43"/>
                      <a:pt x="170" y="39"/>
                    </a:cubicBezTo>
                    <a:cubicBezTo>
                      <a:pt x="177" y="33"/>
                      <a:pt x="181" y="24"/>
                      <a:pt x="186" y="17"/>
                    </a:cubicBezTo>
                    <a:cubicBezTo>
                      <a:pt x="191" y="10"/>
                      <a:pt x="196" y="5"/>
                      <a:pt x="204" y="5"/>
                    </a:cubicBezTo>
                    <a:cubicBezTo>
                      <a:pt x="210" y="5"/>
                      <a:pt x="214" y="7"/>
                      <a:pt x="217" y="11"/>
                    </a:cubicBezTo>
                    <a:cubicBezTo>
                      <a:pt x="223" y="16"/>
                      <a:pt x="227" y="24"/>
                      <a:pt x="232" y="32"/>
                    </a:cubicBezTo>
                    <a:cubicBezTo>
                      <a:pt x="237" y="39"/>
                      <a:pt x="244" y="46"/>
                      <a:pt x="254" y="46"/>
                    </a:cubicBezTo>
                    <a:cubicBezTo>
                      <a:pt x="261" y="46"/>
                      <a:pt x="267" y="43"/>
                      <a:pt x="271" y="39"/>
                    </a:cubicBezTo>
                    <a:cubicBezTo>
                      <a:pt x="277" y="33"/>
                      <a:pt x="281" y="24"/>
                      <a:pt x="286" y="17"/>
                    </a:cubicBezTo>
                    <a:cubicBezTo>
                      <a:pt x="291" y="10"/>
                      <a:pt x="296" y="5"/>
                      <a:pt x="305" y="5"/>
                    </a:cubicBezTo>
                    <a:cubicBezTo>
                      <a:pt x="310" y="5"/>
                      <a:pt x="314" y="7"/>
                      <a:pt x="318" y="11"/>
                    </a:cubicBezTo>
                    <a:cubicBezTo>
                      <a:pt x="324" y="16"/>
                      <a:pt x="328" y="24"/>
                      <a:pt x="333" y="32"/>
                    </a:cubicBezTo>
                    <a:cubicBezTo>
                      <a:pt x="338" y="39"/>
                      <a:pt x="345" y="46"/>
                      <a:pt x="355" y="46"/>
                    </a:cubicBezTo>
                    <a:cubicBezTo>
                      <a:pt x="356" y="46"/>
                      <a:pt x="358" y="45"/>
                      <a:pt x="358" y="43"/>
                    </a:cubicBezTo>
                    <a:cubicBezTo>
                      <a:pt x="358" y="42"/>
                      <a:pt x="356" y="41"/>
                      <a:pt x="355" y="41"/>
                    </a:cubicBezTo>
                    <a:cubicBezTo>
                      <a:pt x="350" y="41"/>
                      <a:pt x="346" y="39"/>
                      <a:pt x="342" y="35"/>
                    </a:cubicBezTo>
                    <a:cubicBezTo>
                      <a:pt x="336" y="30"/>
                      <a:pt x="332" y="22"/>
                      <a:pt x="327" y="14"/>
                    </a:cubicBezTo>
                    <a:cubicBezTo>
                      <a:pt x="322" y="7"/>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2"/>
                      <a:pt x="226" y="14"/>
                    </a:cubicBezTo>
                    <a:cubicBezTo>
                      <a:pt x="221" y="7"/>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2"/>
                      <a:pt x="126" y="14"/>
                    </a:cubicBezTo>
                    <a:cubicBezTo>
                      <a:pt x="121" y="7"/>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2"/>
                      <a:pt x="25" y="14"/>
                    </a:cubicBezTo>
                    <a:cubicBezTo>
                      <a:pt x="20" y="7"/>
                      <a:pt x="13" y="0"/>
                      <a:pt x="3" y="0"/>
                    </a:cubicBezTo>
                    <a:cubicBezTo>
                      <a:pt x="2" y="0"/>
                      <a:pt x="0" y="1"/>
                      <a:pt x="0" y="3"/>
                    </a:cubicBezTo>
                    <a:cubicBezTo>
                      <a:pt x="0" y="4"/>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1638" name="Freeform 86">
                <a:extLst>
                  <a:ext uri="{FF2B5EF4-FFF2-40B4-BE49-F238E27FC236}">
                    <a16:creationId xmlns:a16="http://schemas.microsoft.com/office/drawing/2014/main" id="{62C6384D-FD3C-F94B-A9BD-53A73F535D92}"/>
                  </a:ext>
                </a:extLst>
              </p:cNvPr>
              <p:cNvSpPr>
                <a:spLocks/>
              </p:cNvSpPr>
              <p:nvPr/>
            </p:nvSpPr>
            <p:spPr bwMode="auto">
              <a:xfrm>
                <a:off x="3440113" y="5853113"/>
                <a:ext cx="769938" cy="101600"/>
              </a:xfrm>
              <a:custGeom>
                <a:avLst/>
                <a:gdLst>
                  <a:gd name="T0" fmla="*/ 3 w 358"/>
                  <a:gd name="T1" fmla="*/ 5 h 46"/>
                  <a:gd name="T2" fmla="*/ 16 w 358"/>
                  <a:gd name="T3" fmla="*/ 10 h 46"/>
                  <a:gd name="T4" fmla="*/ 31 w 358"/>
                  <a:gd name="T5" fmla="*/ 32 h 46"/>
                  <a:gd name="T6" fmla="*/ 53 w 358"/>
                  <a:gd name="T7" fmla="*/ 45 h 46"/>
                  <a:gd name="T8" fmla="*/ 70 w 358"/>
                  <a:gd name="T9" fmla="*/ 38 h 46"/>
                  <a:gd name="T10" fmla="*/ 85 w 358"/>
                  <a:gd name="T11" fmla="*/ 16 h 46"/>
                  <a:gd name="T12" fmla="*/ 103 w 358"/>
                  <a:gd name="T13" fmla="*/ 5 h 46"/>
                  <a:gd name="T14" fmla="*/ 117 w 358"/>
                  <a:gd name="T15" fmla="*/ 10 h 46"/>
                  <a:gd name="T16" fmla="*/ 131 w 358"/>
                  <a:gd name="T17" fmla="*/ 32 h 46"/>
                  <a:gd name="T18" fmla="*/ 154 w 358"/>
                  <a:gd name="T19" fmla="*/ 45 h 46"/>
                  <a:gd name="T20" fmla="*/ 170 w 358"/>
                  <a:gd name="T21" fmla="*/ 38 h 46"/>
                  <a:gd name="T22" fmla="*/ 186 w 358"/>
                  <a:gd name="T23" fmla="*/ 16 h 46"/>
                  <a:gd name="T24" fmla="*/ 204 w 358"/>
                  <a:gd name="T25" fmla="*/ 5 h 46"/>
                  <a:gd name="T26" fmla="*/ 217 w 358"/>
                  <a:gd name="T27" fmla="*/ 10 h 46"/>
                  <a:gd name="T28" fmla="*/ 232 w 358"/>
                  <a:gd name="T29" fmla="*/ 32 h 46"/>
                  <a:gd name="T30" fmla="*/ 254 w 358"/>
                  <a:gd name="T31" fmla="*/ 45 h 46"/>
                  <a:gd name="T32" fmla="*/ 271 w 358"/>
                  <a:gd name="T33" fmla="*/ 38 h 46"/>
                  <a:gd name="T34" fmla="*/ 286 w 358"/>
                  <a:gd name="T35" fmla="*/ 16 h 46"/>
                  <a:gd name="T36" fmla="*/ 305 w 358"/>
                  <a:gd name="T37" fmla="*/ 5 h 46"/>
                  <a:gd name="T38" fmla="*/ 318 w 358"/>
                  <a:gd name="T39" fmla="*/ 10 h 46"/>
                  <a:gd name="T40" fmla="*/ 333 w 358"/>
                  <a:gd name="T41" fmla="*/ 32 h 46"/>
                  <a:gd name="T42" fmla="*/ 355 w 358"/>
                  <a:gd name="T43" fmla="*/ 45 h 46"/>
                  <a:gd name="T44" fmla="*/ 358 w 358"/>
                  <a:gd name="T45" fmla="*/ 43 h 46"/>
                  <a:gd name="T46" fmla="*/ 355 w 358"/>
                  <a:gd name="T47" fmla="*/ 41 h 46"/>
                  <a:gd name="T48" fmla="*/ 342 w 358"/>
                  <a:gd name="T49" fmla="*/ 35 h 46"/>
                  <a:gd name="T50" fmla="*/ 327 w 358"/>
                  <a:gd name="T51" fmla="*/ 14 h 46"/>
                  <a:gd name="T52" fmla="*/ 305 w 358"/>
                  <a:gd name="T53" fmla="*/ 0 h 46"/>
                  <a:gd name="T54" fmla="*/ 288 w 358"/>
                  <a:gd name="T55" fmla="*/ 7 h 46"/>
                  <a:gd name="T56" fmla="*/ 273 w 358"/>
                  <a:gd name="T57" fmla="*/ 29 h 46"/>
                  <a:gd name="T58" fmla="*/ 254 w 358"/>
                  <a:gd name="T59" fmla="*/ 41 h 46"/>
                  <a:gd name="T60" fmla="*/ 241 w 358"/>
                  <a:gd name="T61" fmla="*/ 35 h 46"/>
                  <a:gd name="T62" fmla="*/ 226 w 358"/>
                  <a:gd name="T63" fmla="*/ 14 h 46"/>
                  <a:gd name="T64" fmla="*/ 204 w 358"/>
                  <a:gd name="T65" fmla="*/ 0 h 46"/>
                  <a:gd name="T66" fmla="*/ 187 w 358"/>
                  <a:gd name="T67" fmla="*/ 7 h 46"/>
                  <a:gd name="T68" fmla="*/ 172 w 358"/>
                  <a:gd name="T69" fmla="*/ 29 h 46"/>
                  <a:gd name="T70" fmla="*/ 154 w 358"/>
                  <a:gd name="T71" fmla="*/ 41 h 46"/>
                  <a:gd name="T72" fmla="*/ 140 w 358"/>
                  <a:gd name="T73" fmla="*/ 35 h 46"/>
                  <a:gd name="T74" fmla="*/ 126 w 358"/>
                  <a:gd name="T75" fmla="*/ 14 h 46"/>
                  <a:gd name="T76" fmla="*/ 103 w 358"/>
                  <a:gd name="T77" fmla="*/ 0 h 46"/>
                  <a:gd name="T78" fmla="*/ 87 w 358"/>
                  <a:gd name="T79" fmla="*/ 7 h 46"/>
                  <a:gd name="T80" fmla="*/ 72 w 358"/>
                  <a:gd name="T81" fmla="*/ 29 h 46"/>
                  <a:gd name="T82" fmla="*/ 53 w 358"/>
                  <a:gd name="T83" fmla="*/ 41 h 46"/>
                  <a:gd name="T84" fmla="*/ 40 w 358"/>
                  <a:gd name="T85" fmla="*/ 35 h 46"/>
                  <a:gd name="T86" fmla="*/ 25 w 358"/>
                  <a:gd name="T87" fmla="*/ 14 h 46"/>
                  <a:gd name="T88" fmla="*/ 3 w 358"/>
                  <a:gd name="T89" fmla="*/ 0 h 46"/>
                  <a:gd name="T90" fmla="*/ 0 w 358"/>
                  <a:gd name="T91" fmla="*/ 2 h 46"/>
                  <a:gd name="T92" fmla="*/ 3 w 358"/>
                  <a:gd name="T93" fmla="*/ 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8" h="46">
                    <a:moveTo>
                      <a:pt x="3" y="5"/>
                    </a:moveTo>
                    <a:cubicBezTo>
                      <a:pt x="8" y="5"/>
                      <a:pt x="12" y="7"/>
                      <a:pt x="16" y="10"/>
                    </a:cubicBezTo>
                    <a:cubicBezTo>
                      <a:pt x="22" y="16"/>
                      <a:pt x="26" y="24"/>
                      <a:pt x="31" y="32"/>
                    </a:cubicBezTo>
                    <a:cubicBezTo>
                      <a:pt x="36" y="39"/>
                      <a:pt x="43" y="46"/>
                      <a:pt x="53" y="45"/>
                    </a:cubicBezTo>
                    <a:cubicBezTo>
                      <a:pt x="60" y="46"/>
                      <a:pt x="66" y="43"/>
                      <a:pt x="70" y="38"/>
                    </a:cubicBezTo>
                    <a:cubicBezTo>
                      <a:pt x="76" y="32"/>
                      <a:pt x="80" y="23"/>
                      <a:pt x="85" y="16"/>
                    </a:cubicBezTo>
                    <a:cubicBezTo>
                      <a:pt x="90" y="9"/>
                      <a:pt x="95" y="5"/>
                      <a:pt x="103" y="5"/>
                    </a:cubicBezTo>
                    <a:cubicBezTo>
                      <a:pt x="109" y="5"/>
                      <a:pt x="113" y="7"/>
                      <a:pt x="117" y="10"/>
                    </a:cubicBezTo>
                    <a:cubicBezTo>
                      <a:pt x="122" y="16"/>
                      <a:pt x="126" y="24"/>
                      <a:pt x="131" y="32"/>
                    </a:cubicBezTo>
                    <a:cubicBezTo>
                      <a:pt x="137" y="39"/>
                      <a:pt x="143" y="46"/>
                      <a:pt x="154" y="45"/>
                    </a:cubicBezTo>
                    <a:cubicBezTo>
                      <a:pt x="161" y="46"/>
                      <a:pt x="166" y="43"/>
                      <a:pt x="170" y="38"/>
                    </a:cubicBezTo>
                    <a:cubicBezTo>
                      <a:pt x="177" y="32"/>
                      <a:pt x="181" y="23"/>
                      <a:pt x="186" y="16"/>
                    </a:cubicBezTo>
                    <a:cubicBezTo>
                      <a:pt x="191" y="9"/>
                      <a:pt x="196" y="5"/>
                      <a:pt x="204" y="5"/>
                    </a:cubicBezTo>
                    <a:cubicBezTo>
                      <a:pt x="210" y="5"/>
                      <a:pt x="214" y="7"/>
                      <a:pt x="217" y="10"/>
                    </a:cubicBezTo>
                    <a:cubicBezTo>
                      <a:pt x="223" y="16"/>
                      <a:pt x="227" y="24"/>
                      <a:pt x="232" y="32"/>
                    </a:cubicBezTo>
                    <a:cubicBezTo>
                      <a:pt x="237" y="39"/>
                      <a:pt x="244" y="46"/>
                      <a:pt x="254" y="45"/>
                    </a:cubicBezTo>
                    <a:cubicBezTo>
                      <a:pt x="261" y="46"/>
                      <a:pt x="267" y="43"/>
                      <a:pt x="271" y="38"/>
                    </a:cubicBezTo>
                    <a:cubicBezTo>
                      <a:pt x="277" y="32"/>
                      <a:pt x="281" y="23"/>
                      <a:pt x="286" y="16"/>
                    </a:cubicBezTo>
                    <a:cubicBezTo>
                      <a:pt x="291" y="9"/>
                      <a:pt x="296" y="5"/>
                      <a:pt x="305" y="5"/>
                    </a:cubicBezTo>
                    <a:cubicBezTo>
                      <a:pt x="310" y="5"/>
                      <a:pt x="314" y="7"/>
                      <a:pt x="318" y="10"/>
                    </a:cubicBezTo>
                    <a:cubicBezTo>
                      <a:pt x="324" y="16"/>
                      <a:pt x="328" y="24"/>
                      <a:pt x="333" y="32"/>
                    </a:cubicBezTo>
                    <a:cubicBezTo>
                      <a:pt x="338" y="39"/>
                      <a:pt x="345" y="46"/>
                      <a:pt x="355" y="45"/>
                    </a:cubicBezTo>
                    <a:cubicBezTo>
                      <a:pt x="356" y="45"/>
                      <a:pt x="358" y="44"/>
                      <a:pt x="358" y="43"/>
                    </a:cubicBezTo>
                    <a:cubicBezTo>
                      <a:pt x="358" y="42"/>
                      <a:pt x="356" y="41"/>
                      <a:pt x="355" y="41"/>
                    </a:cubicBezTo>
                    <a:cubicBezTo>
                      <a:pt x="350" y="41"/>
                      <a:pt x="346" y="39"/>
                      <a:pt x="342" y="35"/>
                    </a:cubicBezTo>
                    <a:cubicBezTo>
                      <a:pt x="336" y="30"/>
                      <a:pt x="332" y="21"/>
                      <a:pt x="327" y="14"/>
                    </a:cubicBezTo>
                    <a:cubicBezTo>
                      <a:pt x="322" y="6"/>
                      <a:pt x="315" y="0"/>
                      <a:pt x="305" y="0"/>
                    </a:cubicBezTo>
                    <a:cubicBezTo>
                      <a:pt x="298" y="0"/>
                      <a:pt x="292" y="3"/>
                      <a:pt x="288" y="7"/>
                    </a:cubicBezTo>
                    <a:cubicBezTo>
                      <a:pt x="282" y="13"/>
                      <a:pt x="278" y="22"/>
                      <a:pt x="273" y="29"/>
                    </a:cubicBezTo>
                    <a:cubicBezTo>
                      <a:pt x="268" y="36"/>
                      <a:pt x="263" y="41"/>
                      <a:pt x="254" y="41"/>
                    </a:cubicBezTo>
                    <a:cubicBezTo>
                      <a:pt x="249" y="41"/>
                      <a:pt x="245" y="39"/>
                      <a:pt x="241" y="35"/>
                    </a:cubicBezTo>
                    <a:cubicBezTo>
                      <a:pt x="236" y="30"/>
                      <a:pt x="232" y="21"/>
                      <a:pt x="226" y="14"/>
                    </a:cubicBezTo>
                    <a:cubicBezTo>
                      <a:pt x="221" y="6"/>
                      <a:pt x="215" y="0"/>
                      <a:pt x="204" y="0"/>
                    </a:cubicBezTo>
                    <a:cubicBezTo>
                      <a:pt x="197" y="0"/>
                      <a:pt x="192" y="3"/>
                      <a:pt x="187" y="7"/>
                    </a:cubicBezTo>
                    <a:cubicBezTo>
                      <a:pt x="181" y="13"/>
                      <a:pt x="177" y="22"/>
                      <a:pt x="172" y="29"/>
                    </a:cubicBezTo>
                    <a:cubicBezTo>
                      <a:pt x="167" y="36"/>
                      <a:pt x="162" y="41"/>
                      <a:pt x="154" y="41"/>
                    </a:cubicBezTo>
                    <a:cubicBezTo>
                      <a:pt x="148" y="41"/>
                      <a:pt x="144" y="39"/>
                      <a:pt x="140" y="35"/>
                    </a:cubicBezTo>
                    <a:cubicBezTo>
                      <a:pt x="135" y="30"/>
                      <a:pt x="131" y="21"/>
                      <a:pt x="126" y="14"/>
                    </a:cubicBezTo>
                    <a:cubicBezTo>
                      <a:pt x="121" y="6"/>
                      <a:pt x="114" y="0"/>
                      <a:pt x="103" y="0"/>
                    </a:cubicBezTo>
                    <a:cubicBezTo>
                      <a:pt x="96" y="0"/>
                      <a:pt x="91" y="3"/>
                      <a:pt x="87" y="7"/>
                    </a:cubicBezTo>
                    <a:cubicBezTo>
                      <a:pt x="81" y="13"/>
                      <a:pt x="76" y="22"/>
                      <a:pt x="72" y="29"/>
                    </a:cubicBezTo>
                    <a:cubicBezTo>
                      <a:pt x="67" y="36"/>
                      <a:pt x="61" y="41"/>
                      <a:pt x="53" y="41"/>
                    </a:cubicBezTo>
                    <a:cubicBezTo>
                      <a:pt x="48" y="41"/>
                      <a:pt x="44" y="39"/>
                      <a:pt x="40" y="35"/>
                    </a:cubicBezTo>
                    <a:cubicBezTo>
                      <a:pt x="34" y="30"/>
                      <a:pt x="30" y="21"/>
                      <a:pt x="25" y="14"/>
                    </a:cubicBezTo>
                    <a:cubicBezTo>
                      <a:pt x="20" y="6"/>
                      <a:pt x="13" y="0"/>
                      <a:pt x="3" y="0"/>
                    </a:cubicBezTo>
                    <a:cubicBezTo>
                      <a:pt x="2" y="0"/>
                      <a:pt x="0" y="1"/>
                      <a:pt x="0" y="2"/>
                    </a:cubicBezTo>
                    <a:cubicBezTo>
                      <a:pt x="0" y="3"/>
                      <a:pt x="2" y="5"/>
                      <a:pt x="3" y="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282828"/>
                  </a:solidFill>
                  <a:effectLst/>
                  <a:uLnTx/>
                  <a:uFillTx/>
                  <a:latin typeface="CiscoSansTT ExtraLight"/>
                  <a:ea typeface="+mn-ea"/>
                  <a:cs typeface="+mn-cs"/>
                </a:endParaRPr>
              </a:p>
            </p:txBody>
          </p:sp>
        </p:grpSp>
        <p:sp>
          <p:nvSpPr>
            <p:cNvPr id="2013" name="Rectangle 2012">
              <a:extLst>
                <a:ext uri="{FF2B5EF4-FFF2-40B4-BE49-F238E27FC236}">
                  <a16:creationId xmlns:a16="http://schemas.microsoft.com/office/drawing/2014/main" id="{A6C470E7-20ED-3D45-9B23-68734AC92027}"/>
                </a:ext>
              </a:extLst>
            </p:cNvPr>
            <p:cNvSpPr/>
            <p:nvPr/>
          </p:nvSpPr>
          <p:spPr>
            <a:xfrm>
              <a:off x="6023843" y="2537582"/>
              <a:ext cx="1323726" cy="646331"/>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t>“We have never communicated faster: Our approvals are automated”</a:t>
              </a:r>
              <a:endParaRPr kumimoji="0" lang="en-US" sz="900" b="0" i="0" u="none" strike="noStrike" kern="0" cap="none" spc="0" normalizeH="0" baseline="0" noProof="0">
                <a:ln>
                  <a:noFill/>
                </a:ln>
                <a:solidFill>
                  <a:srgbClr val="0D274D"/>
                </a:solidFill>
                <a:effectLst/>
                <a:uLnTx/>
                <a:uFillTx/>
                <a:ea typeface="+mn-ea"/>
                <a:cs typeface="+mn-cs"/>
              </a:endParaRPr>
            </a:p>
          </p:txBody>
        </p:sp>
        <p:sp>
          <p:nvSpPr>
            <p:cNvPr id="2014" name="Rectangle 2013">
              <a:extLst>
                <a:ext uri="{FF2B5EF4-FFF2-40B4-BE49-F238E27FC236}">
                  <a16:creationId xmlns:a16="http://schemas.microsoft.com/office/drawing/2014/main" id="{1F4265F9-0834-4743-BAA3-7BC510C368FC}"/>
                </a:ext>
              </a:extLst>
            </p:cNvPr>
            <p:cNvSpPr/>
            <p:nvPr/>
          </p:nvSpPr>
          <p:spPr>
            <a:xfrm>
              <a:off x="7769390" y="3077355"/>
              <a:ext cx="924727" cy="646331"/>
            </a:xfrm>
            <a:prstGeom prst="rect">
              <a:avLst/>
            </a:prstGeom>
          </p:spPr>
          <p:txBody>
            <a:bodyPr wrap="square" lIns="0" r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t>“My top 5 most frustrating tasks have all be automated”</a:t>
              </a:r>
              <a:endParaRPr kumimoji="0" lang="en-US" sz="900" b="0" i="0" u="none" strike="noStrike" kern="0" cap="none" spc="0" normalizeH="0" baseline="0" noProof="0">
                <a:ln>
                  <a:noFill/>
                </a:ln>
                <a:solidFill>
                  <a:srgbClr val="0D274D"/>
                </a:solidFill>
                <a:effectLst/>
                <a:uLnTx/>
                <a:uFillTx/>
                <a:ea typeface="+mn-ea"/>
                <a:cs typeface="+mn-cs"/>
              </a:endParaRPr>
            </a:p>
          </p:txBody>
        </p:sp>
        <p:sp>
          <p:nvSpPr>
            <p:cNvPr id="2015" name="Rectangle 2014">
              <a:extLst>
                <a:ext uri="{FF2B5EF4-FFF2-40B4-BE49-F238E27FC236}">
                  <a16:creationId xmlns:a16="http://schemas.microsoft.com/office/drawing/2014/main" id="{3649B213-D04F-1E4E-BEAC-325E3F13C401}"/>
                </a:ext>
              </a:extLst>
            </p:cNvPr>
            <p:cNvSpPr/>
            <p:nvPr/>
          </p:nvSpPr>
          <p:spPr>
            <a:xfrm>
              <a:off x="5041168" y="3025550"/>
              <a:ext cx="129865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t>“I make automated playbook changes</a:t>
              </a:r>
              <a:b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br>
              <a: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t>in minutes with a </a:t>
              </a:r>
              <a:b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br>
              <a:r>
                <a:rPr kumimoji="0" lang="en-US" sz="900" b="0" i="0" u="none" strike="noStrike" kern="0" cap="none" spc="0" normalizeH="0" baseline="0" noProof="0">
                  <a:ln>
                    <a:noFill/>
                  </a:ln>
                  <a:solidFill>
                    <a:srgbClr val="0D274D"/>
                  </a:solidFill>
                  <a:effectLst/>
                  <a:uLnTx/>
                  <a:uFillTx/>
                  <a:ea typeface="+mn-ea"/>
                  <a:cs typeface="CiscoSansTT" panose="020B0503020201020303" pitchFamily="34" charset="0"/>
                </a:rPr>
                <a:t>drag-drop interface”</a:t>
              </a:r>
            </a:p>
          </p:txBody>
        </p:sp>
        <p:sp>
          <p:nvSpPr>
            <p:cNvPr id="449" name="Text Placeholder 2">
              <a:extLst>
                <a:ext uri="{FF2B5EF4-FFF2-40B4-BE49-F238E27FC236}">
                  <a16:creationId xmlns:a16="http://schemas.microsoft.com/office/drawing/2014/main" id="{53DE4A68-A048-420F-999E-12E02D04E8CF}"/>
                </a:ext>
              </a:extLst>
            </p:cNvPr>
            <p:cNvSpPr txBox="1">
              <a:spLocks/>
            </p:cNvSpPr>
            <p:nvPr/>
          </p:nvSpPr>
          <p:spPr>
            <a:xfrm>
              <a:off x="6233647" y="1356325"/>
              <a:ext cx="2426904" cy="876498"/>
            </a:xfrm>
            <a:prstGeom prst="rect">
              <a:avLst/>
            </a:prstGeom>
          </p:spPr>
          <p:txBody>
            <a:bodyPr lIns="0" tIns="45710" rIns="0" bIns="45710" anchor="t"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0" indent="0">
                <a:lnSpc>
                  <a:spcPct val="100000"/>
                </a:lnSpc>
                <a:spcBef>
                  <a:spcPts val="0"/>
                </a:spcBef>
                <a:spcAft>
                  <a:spcPts val="600"/>
                </a:spcAft>
                <a:buClr>
                  <a:srgbClr val="282828"/>
                </a:buClr>
                <a:buNone/>
                <a:defRPr/>
              </a:pPr>
              <a:r>
                <a:rPr kumimoji="0" lang="en-US" sz="1400" u="none" strike="noStrike" kern="1200" cap="none" spc="0" normalizeH="0" baseline="0" noProof="0">
                  <a:ln>
                    <a:noFill/>
                  </a:ln>
                  <a:effectLst/>
                  <a:uLnTx/>
                  <a:uFillTx/>
                  <a:latin typeface="CiscoSansTT Medium" panose="020B0903020201020303" pitchFamily="34" charset="0"/>
                  <a:cs typeface="CiscoSansTT Medium" panose="020B0903020201020303" pitchFamily="34" charset="0"/>
                </a:rPr>
                <a:t>AFTER</a:t>
              </a:r>
              <a:r>
                <a:rPr lang="en-US" sz="1400">
                  <a:latin typeface="CiscoSansTT Medium" panose="020B0903020201020303" pitchFamily="34" charset="0"/>
                  <a:cs typeface="CiscoSansTT Medium" panose="020B0903020201020303" pitchFamily="34" charset="0"/>
                </a:rPr>
                <a:t>:</a:t>
              </a:r>
              <a:r>
                <a:rPr lang="en-US" sz="1400">
                  <a:latin typeface="+mj-lt"/>
                  <a:cs typeface="CiscoSansTT" panose="020B0503020201020303" pitchFamily="34" charset="0"/>
                </a:rPr>
                <a:t> “I combined </a:t>
              </a:r>
              <a:r>
                <a:rPr lang="en-US" sz="1400">
                  <a:solidFill>
                    <a:schemeClr val="tx2"/>
                  </a:solidFill>
                  <a:latin typeface="+mj-lt"/>
                  <a:cs typeface="CiscoSansTT" panose="020B0503020201020303" pitchFamily="34" charset="0"/>
                </a:rPr>
                <a:t>9 tasks </a:t>
              </a:r>
              <a:r>
                <a:rPr lang="en-US" sz="1400">
                  <a:latin typeface="+mj-lt"/>
                  <a:cs typeface="CiscoSansTT" panose="020B0503020201020303" pitchFamily="34" charset="0"/>
                </a:rPr>
                <a:t>across 3 security tools, </a:t>
              </a:r>
              <a:br>
                <a:rPr lang="en-US" sz="1400">
                  <a:latin typeface="+mj-lt"/>
                  <a:cs typeface="CiscoSansTT" panose="020B0503020201020303" pitchFamily="34" charset="0"/>
                </a:rPr>
              </a:br>
              <a:r>
                <a:rPr lang="en-US" sz="1400">
                  <a:latin typeface="+mj-lt"/>
                  <a:cs typeface="CiscoSansTT" panose="020B0503020201020303" pitchFamily="34" charset="0"/>
                </a:rPr>
                <a:t>2 infrastructure systems, and 3 teams in </a:t>
              </a:r>
              <a:r>
                <a:rPr lang="en-US" sz="1400">
                  <a:solidFill>
                    <a:schemeClr val="tx2"/>
                  </a:solidFill>
                  <a:latin typeface="+mj-lt"/>
                  <a:cs typeface="CiscoSansTT" panose="020B0503020201020303" pitchFamily="34" charset="0"/>
                </a:rPr>
                <a:t>one keystroke!</a:t>
              </a:r>
              <a:r>
                <a:rPr lang="en-US" sz="1400">
                  <a:latin typeface="+mj-lt"/>
                  <a:cs typeface="CiscoSansTT" panose="020B0503020201020303" pitchFamily="34" charset="0"/>
                </a:rPr>
                <a:t>”</a:t>
              </a:r>
              <a:endParaRPr kumimoji="0" lang="en-US" sz="1400" u="none" strike="noStrike" kern="1200" cap="none" spc="0" normalizeH="0" baseline="0" noProof="0">
                <a:ln>
                  <a:noFill/>
                </a:ln>
                <a:effectLst/>
                <a:uLnTx/>
                <a:uFillTx/>
                <a:latin typeface="+mj-lt"/>
                <a:cs typeface="CiscoSansTT" panose="020B0503020201020303" pitchFamily="34" charset="0"/>
              </a:endParaRPr>
            </a:p>
          </p:txBody>
        </p:sp>
        <p:sp>
          <p:nvSpPr>
            <p:cNvPr id="450" name="Text Placeholder 2">
              <a:extLst>
                <a:ext uri="{FF2B5EF4-FFF2-40B4-BE49-F238E27FC236}">
                  <a16:creationId xmlns:a16="http://schemas.microsoft.com/office/drawing/2014/main" id="{C6911159-F3EC-4F94-A945-F92779AB4B8F}"/>
                </a:ext>
              </a:extLst>
            </p:cNvPr>
            <p:cNvSpPr txBox="1">
              <a:spLocks/>
            </p:cNvSpPr>
            <p:nvPr/>
          </p:nvSpPr>
          <p:spPr>
            <a:xfrm>
              <a:off x="3357415" y="1356325"/>
              <a:ext cx="1958781" cy="527330"/>
            </a:xfrm>
            <a:prstGeom prst="rect">
              <a:avLst/>
            </a:prstGeom>
          </p:spPr>
          <p:txBody>
            <a:bodyPr lIns="0" tIns="45710" rIns="0" bIns="45710" anchor="t" anchorCtr="0">
              <a:noAutofit/>
            </a:bodyPr>
            <a:lstStyle>
              <a:lvl1pPr marL="174625" indent="-117475" algn="l" defTabSz="684213" rtl="0" eaLnBrk="1" fontAlgn="base" hangingPunct="1">
                <a:lnSpc>
                  <a:spcPct val="95000"/>
                </a:lnSpc>
                <a:spcBef>
                  <a:spcPts val="1110"/>
                </a:spcBef>
                <a:spcAft>
                  <a:spcPct val="0"/>
                </a:spcAft>
                <a:buClr>
                  <a:schemeClr val="tx1"/>
                </a:buClr>
                <a:buSzPct val="60000"/>
                <a:buFont typeface="Arial"/>
                <a:buChar char="•"/>
                <a:defRPr lang="en-US" sz="2000" b="0" i="0" kern="1200">
                  <a:solidFill>
                    <a:schemeClr val="tx1"/>
                  </a:solidFill>
                  <a:latin typeface="+mn-lt"/>
                  <a:ea typeface="ＭＳ Ｐゴシック" charset="0"/>
                  <a:cs typeface="CiscoSans ExtraLight"/>
                </a:defRPr>
              </a:lvl1pPr>
              <a:lvl2pPr marL="288925" indent="-114300" algn="l" defTabSz="684213" rtl="0" eaLnBrk="1" fontAlgn="base" hangingPunct="1">
                <a:lnSpc>
                  <a:spcPct val="95000"/>
                </a:lnSpc>
                <a:spcBef>
                  <a:spcPts val="450"/>
                </a:spcBef>
                <a:spcAft>
                  <a:spcPct val="0"/>
                </a:spcAft>
                <a:buClr>
                  <a:schemeClr val="tx1"/>
                </a:buClr>
                <a:buSzPct val="60000"/>
                <a:buFont typeface="Arial"/>
                <a:buChar char="•"/>
                <a:defRPr lang="en-US" sz="1800" b="0" i="0" kern="1200">
                  <a:solidFill>
                    <a:schemeClr val="tx1"/>
                  </a:solidFill>
                  <a:latin typeface="+mn-lt"/>
                  <a:ea typeface="ＭＳ Ｐゴシック" charset="0"/>
                  <a:cs typeface="CiscoSans ExtraLight"/>
                </a:defRPr>
              </a:lvl2pPr>
              <a:lvl3pPr marL="403225" indent="-114300" algn="l" defTabSz="684213" rtl="0" eaLnBrk="1" fontAlgn="base" hangingPunct="1">
                <a:lnSpc>
                  <a:spcPct val="95000"/>
                </a:lnSpc>
                <a:spcBef>
                  <a:spcPts val="625"/>
                </a:spcBef>
                <a:spcAft>
                  <a:spcPct val="0"/>
                </a:spcAft>
                <a:buClr>
                  <a:schemeClr val="tx1"/>
                </a:buClr>
                <a:buSzPct val="60000"/>
                <a:buFont typeface="Arial"/>
                <a:buChar char="•"/>
                <a:defRPr lang="en-US" sz="1600" b="0" i="0" kern="1200">
                  <a:solidFill>
                    <a:schemeClr val="tx1"/>
                  </a:solidFill>
                  <a:latin typeface="+mn-lt"/>
                  <a:ea typeface="ＭＳ Ｐゴシック" charset="0"/>
                  <a:cs typeface="CiscoSans ExtraLight"/>
                </a:defRPr>
              </a:lvl3pPr>
              <a:lvl4pPr marL="517525" indent="-114300" algn="l" defTabSz="684213" rtl="0" eaLnBrk="1" fontAlgn="base" hangingPunct="1">
                <a:lnSpc>
                  <a:spcPct val="95000"/>
                </a:lnSpc>
                <a:spcBef>
                  <a:spcPts val="625"/>
                </a:spcBef>
                <a:spcAft>
                  <a:spcPct val="0"/>
                </a:spcAft>
                <a:buClr>
                  <a:schemeClr val="tx1"/>
                </a:buClr>
                <a:buSzPct val="60000"/>
                <a:buFont typeface="Arial"/>
                <a:buChar char="•"/>
                <a:defRPr lang="en-US" sz="1400" b="0" i="0" kern="1200">
                  <a:solidFill>
                    <a:schemeClr val="tx1"/>
                  </a:solidFill>
                  <a:latin typeface="+mn-lt"/>
                  <a:ea typeface="ＭＳ Ｐゴシック" charset="0"/>
                  <a:cs typeface="CiscoSans ExtraLight"/>
                </a:defRPr>
              </a:lvl4pPr>
              <a:lvl5pPr marL="631825" indent="-114300" algn="l" defTabSz="684213" rtl="0" eaLnBrk="1" fontAlgn="base" hangingPunct="1">
                <a:lnSpc>
                  <a:spcPct val="95000"/>
                </a:lnSpc>
                <a:spcBef>
                  <a:spcPts val="625"/>
                </a:spcBef>
                <a:spcAft>
                  <a:spcPct val="0"/>
                </a:spcAft>
                <a:buClr>
                  <a:schemeClr val="tx1"/>
                </a:buClr>
                <a:buSzPct val="60000"/>
                <a:buFont typeface="Arial"/>
                <a:buChar char="•"/>
                <a:defRPr lang="en-US" sz="1200" b="0" i="0" kern="1200">
                  <a:solidFill>
                    <a:schemeClr val="tx1"/>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6350" lvl="0" indent="0">
                <a:lnSpc>
                  <a:spcPct val="100000"/>
                </a:lnSpc>
                <a:spcBef>
                  <a:spcPts val="0"/>
                </a:spcBef>
                <a:spcAft>
                  <a:spcPts val="600"/>
                </a:spcAft>
                <a:buClr>
                  <a:srgbClr val="282828"/>
                </a:buClr>
                <a:buNone/>
                <a:defRPr/>
              </a:pPr>
              <a:r>
                <a:rPr kumimoji="0" lang="en-US" sz="1400" u="none" strike="noStrike" kern="1200" cap="none" spc="0" normalizeH="0" baseline="0" noProof="0">
                  <a:ln>
                    <a:noFill/>
                  </a:ln>
                  <a:solidFill>
                    <a:schemeClr val="accent3"/>
                  </a:solidFill>
                  <a:effectLst/>
                  <a:uLnTx/>
                  <a:uFillTx/>
                  <a:latin typeface="CiscoSansTT Medium" panose="020B0903020201020303" pitchFamily="34" charset="0"/>
                  <a:cs typeface="CiscoSansTT Medium" panose="020B0903020201020303" pitchFamily="34" charset="0"/>
                </a:rPr>
                <a:t>SOLUTION</a:t>
              </a:r>
              <a:r>
                <a:rPr lang="en-US" sz="1400">
                  <a:solidFill>
                    <a:schemeClr val="accent3"/>
                  </a:solidFill>
                  <a:latin typeface="CiscoSansTT Medium" panose="020B0903020201020303" pitchFamily="34" charset="0"/>
                  <a:cs typeface="CiscoSansTT Medium" panose="020B0903020201020303" pitchFamily="34" charset="0"/>
                </a:rPr>
                <a:t>:</a:t>
              </a:r>
              <a:r>
                <a:rPr lang="en-US" sz="1400">
                  <a:solidFill>
                    <a:schemeClr val="accent3"/>
                  </a:solidFill>
                  <a:latin typeface="+mj-lt"/>
                  <a:cs typeface="CiscoSansTT" panose="020B0503020201020303" pitchFamily="34" charset="0"/>
                </a:rPr>
                <a:t> Orchestrating security across the full lifecycle</a:t>
              </a:r>
              <a:endParaRPr kumimoji="0" lang="en-US" sz="1400" u="none" strike="noStrike" kern="1200" cap="none" spc="0" normalizeH="0" baseline="0" noProof="0">
                <a:ln>
                  <a:noFill/>
                </a:ln>
                <a:solidFill>
                  <a:schemeClr val="accent3"/>
                </a:solidFill>
                <a:effectLst/>
                <a:uLnTx/>
                <a:uFillTx/>
                <a:latin typeface="+mj-lt"/>
                <a:cs typeface="CiscoSansTT" panose="020B0503020201020303" pitchFamily="34" charset="0"/>
              </a:endParaRPr>
            </a:p>
          </p:txBody>
        </p:sp>
        <p:grpSp>
          <p:nvGrpSpPr>
            <p:cNvPr id="9" name="Group 8">
              <a:extLst>
                <a:ext uri="{FF2B5EF4-FFF2-40B4-BE49-F238E27FC236}">
                  <a16:creationId xmlns:a16="http://schemas.microsoft.com/office/drawing/2014/main" id="{2EBE32E4-5BDB-9445-A092-A37156F46E26}"/>
                </a:ext>
              </a:extLst>
            </p:cNvPr>
            <p:cNvGrpSpPr/>
            <p:nvPr/>
          </p:nvGrpSpPr>
          <p:grpSpPr>
            <a:xfrm>
              <a:off x="3456321" y="2238330"/>
              <a:ext cx="1992200" cy="2411538"/>
              <a:chOff x="3456321" y="2238330"/>
              <a:chExt cx="1992200" cy="2411538"/>
            </a:xfrm>
          </p:grpSpPr>
          <p:sp>
            <p:nvSpPr>
              <p:cNvPr id="1978" name="Rounded Rectangle 1977">
                <a:extLst>
                  <a:ext uri="{FF2B5EF4-FFF2-40B4-BE49-F238E27FC236}">
                    <a16:creationId xmlns:a16="http://schemas.microsoft.com/office/drawing/2014/main" id="{0DB936E8-2FDE-D443-9FB9-A4D977AAE04E}"/>
                  </a:ext>
                </a:extLst>
              </p:cNvPr>
              <p:cNvSpPr/>
              <p:nvPr/>
            </p:nvSpPr>
            <p:spPr>
              <a:xfrm>
                <a:off x="3475833" y="2437027"/>
                <a:ext cx="1591982" cy="2004863"/>
              </a:xfrm>
              <a:prstGeom prst="roundRect">
                <a:avLst>
                  <a:gd name="adj" fmla="val 3683"/>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99" name="Group 1998">
                <a:extLst>
                  <a:ext uri="{FF2B5EF4-FFF2-40B4-BE49-F238E27FC236}">
                    <a16:creationId xmlns:a16="http://schemas.microsoft.com/office/drawing/2014/main" id="{C1199846-1C96-F545-84C7-F5C23B2C403C}"/>
                  </a:ext>
                </a:extLst>
              </p:cNvPr>
              <p:cNvGrpSpPr>
                <a:grpSpLocks noChangeAspect="1"/>
              </p:cNvGrpSpPr>
              <p:nvPr/>
            </p:nvGrpSpPr>
            <p:grpSpPr>
              <a:xfrm>
                <a:off x="4905179" y="3719530"/>
                <a:ext cx="543342" cy="428101"/>
                <a:chOff x="5463117" y="2413299"/>
                <a:chExt cx="441125" cy="347565"/>
              </a:xfrm>
            </p:grpSpPr>
            <p:sp>
              <p:nvSpPr>
                <p:cNvPr id="2000" name="Rectangle 1999">
                  <a:extLst>
                    <a:ext uri="{FF2B5EF4-FFF2-40B4-BE49-F238E27FC236}">
                      <a16:creationId xmlns:a16="http://schemas.microsoft.com/office/drawing/2014/main" id="{B472720B-23E9-BC4F-8548-EDDE330C2A63}"/>
                    </a:ext>
                  </a:extLst>
                </p:cNvPr>
                <p:cNvSpPr/>
                <p:nvPr/>
              </p:nvSpPr>
              <p:spPr>
                <a:xfrm>
                  <a:off x="5470997" y="2451250"/>
                  <a:ext cx="237126" cy="2444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en-US" sz="1200"/>
                </a:p>
              </p:txBody>
            </p:sp>
            <p:grpSp>
              <p:nvGrpSpPr>
                <p:cNvPr id="2001" name="Group 2000">
                  <a:extLst>
                    <a:ext uri="{FF2B5EF4-FFF2-40B4-BE49-F238E27FC236}">
                      <a16:creationId xmlns:a16="http://schemas.microsoft.com/office/drawing/2014/main" id="{1FBD770E-DA5C-574D-9AAF-60D04B0973C1}"/>
                    </a:ext>
                  </a:extLst>
                </p:cNvPr>
                <p:cNvGrpSpPr>
                  <a:grpSpLocks noChangeAspect="1"/>
                </p:cNvGrpSpPr>
                <p:nvPr/>
              </p:nvGrpSpPr>
              <p:grpSpPr>
                <a:xfrm flipH="1">
                  <a:off x="5463117" y="2413299"/>
                  <a:ext cx="441125" cy="347565"/>
                  <a:chOff x="5096494" y="3674844"/>
                  <a:chExt cx="441125" cy="347565"/>
                </a:xfrm>
              </p:grpSpPr>
              <p:sp>
                <p:nvSpPr>
                  <p:cNvPr id="2002" name="Freeform 2001">
                    <a:extLst>
                      <a:ext uri="{FF2B5EF4-FFF2-40B4-BE49-F238E27FC236}">
                        <a16:creationId xmlns:a16="http://schemas.microsoft.com/office/drawing/2014/main" id="{EFEA9596-97DD-654C-AECC-1ACE1E0C475C}"/>
                      </a:ext>
                    </a:extLst>
                  </p:cNvPr>
                  <p:cNvSpPr>
                    <a:spLocks noChangeAspect="1" noChangeArrowheads="1"/>
                  </p:cNvSpPr>
                  <p:nvPr/>
                </p:nvSpPr>
                <p:spPr bwMode="auto">
                  <a:xfrm>
                    <a:off x="5096494" y="3795281"/>
                    <a:ext cx="187896" cy="227128"/>
                  </a:xfrm>
                  <a:custGeom>
                    <a:avLst/>
                    <a:gdLst/>
                    <a:ahLst/>
                    <a:cxnLst/>
                    <a:rect l="0" t="0" r="r" b="b"/>
                    <a:pathLst>
                      <a:path w="144101" h="174264">
                        <a:moveTo>
                          <a:pt x="72231" y="9064"/>
                        </a:moveTo>
                        <a:cubicBezTo>
                          <a:pt x="67849" y="9064"/>
                          <a:pt x="63103" y="13415"/>
                          <a:pt x="63103" y="17766"/>
                        </a:cubicBezTo>
                        <a:lnTo>
                          <a:pt x="63103" y="25535"/>
                        </a:lnTo>
                        <a:lnTo>
                          <a:pt x="63138" y="25617"/>
                        </a:lnTo>
                        <a:lnTo>
                          <a:pt x="63138" y="70716"/>
                        </a:lnTo>
                        <a:cubicBezTo>
                          <a:pt x="63138" y="73242"/>
                          <a:pt x="61331" y="75046"/>
                          <a:pt x="58439" y="75046"/>
                        </a:cubicBezTo>
                        <a:cubicBezTo>
                          <a:pt x="55908" y="75046"/>
                          <a:pt x="54100" y="73242"/>
                          <a:pt x="54100" y="70716"/>
                        </a:cubicBezTo>
                        <a:lnTo>
                          <a:pt x="54100" y="54149"/>
                        </a:lnTo>
                        <a:lnTo>
                          <a:pt x="53975" y="54025"/>
                        </a:lnTo>
                        <a:lnTo>
                          <a:pt x="53975" y="25492"/>
                        </a:lnTo>
                        <a:lnTo>
                          <a:pt x="45062" y="16597"/>
                        </a:lnTo>
                        <a:cubicBezTo>
                          <a:pt x="40724" y="16597"/>
                          <a:pt x="36025" y="21287"/>
                          <a:pt x="36025" y="25617"/>
                        </a:cubicBezTo>
                        <a:lnTo>
                          <a:pt x="36025" y="106435"/>
                        </a:lnTo>
                        <a:cubicBezTo>
                          <a:pt x="36025" y="108960"/>
                          <a:pt x="34217" y="110764"/>
                          <a:pt x="31686" y="110764"/>
                        </a:cubicBezTo>
                        <a:cubicBezTo>
                          <a:pt x="28794" y="110764"/>
                          <a:pt x="26987" y="108960"/>
                          <a:pt x="26987" y="106435"/>
                        </a:cubicBezTo>
                        <a:lnTo>
                          <a:pt x="26987" y="70945"/>
                        </a:lnTo>
                        <a:lnTo>
                          <a:pt x="17904" y="70945"/>
                        </a:lnTo>
                        <a:cubicBezTo>
                          <a:pt x="13249" y="70945"/>
                          <a:pt x="8952" y="75280"/>
                          <a:pt x="8952" y="79615"/>
                        </a:cubicBezTo>
                        <a:lnTo>
                          <a:pt x="8952" y="115740"/>
                        </a:lnTo>
                        <a:cubicBezTo>
                          <a:pt x="8952" y="131997"/>
                          <a:pt x="34734" y="165233"/>
                          <a:pt x="64097" y="165233"/>
                        </a:cubicBezTo>
                        <a:lnTo>
                          <a:pt x="93459" y="165233"/>
                        </a:lnTo>
                        <a:cubicBezTo>
                          <a:pt x="115661" y="165233"/>
                          <a:pt x="133565" y="147170"/>
                          <a:pt x="133565" y="124772"/>
                        </a:cubicBezTo>
                        <a:lnTo>
                          <a:pt x="133565" y="75280"/>
                        </a:lnTo>
                        <a:lnTo>
                          <a:pt x="135063" y="73769"/>
                        </a:lnTo>
                        <a:lnTo>
                          <a:pt x="135063" y="43288"/>
                        </a:lnTo>
                        <a:cubicBezTo>
                          <a:pt x="135063" y="38995"/>
                          <a:pt x="130725" y="34344"/>
                          <a:pt x="126025" y="34344"/>
                        </a:cubicBezTo>
                        <a:lnTo>
                          <a:pt x="117110" y="43167"/>
                        </a:lnTo>
                        <a:lnTo>
                          <a:pt x="117110" y="69978"/>
                        </a:lnTo>
                        <a:lnTo>
                          <a:pt x="116988" y="70098"/>
                        </a:lnTo>
                        <a:lnTo>
                          <a:pt x="116988" y="78704"/>
                        </a:lnTo>
                        <a:cubicBezTo>
                          <a:pt x="116988" y="81566"/>
                          <a:pt x="115542" y="83355"/>
                          <a:pt x="112650" y="83355"/>
                        </a:cubicBezTo>
                        <a:cubicBezTo>
                          <a:pt x="110119" y="83355"/>
                          <a:pt x="107950" y="81566"/>
                          <a:pt x="107950" y="78704"/>
                        </a:cubicBezTo>
                        <a:lnTo>
                          <a:pt x="107950" y="43288"/>
                        </a:lnTo>
                        <a:lnTo>
                          <a:pt x="107982" y="43214"/>
                        </a:lnTo>
                        <a:lnTo>
                          <a:pt x="107982" y="25409"/>
                        </a:lnTo>
                        <a:cubicBezTo>
                          <a:pt x="107982" y="21130"/>
                          <a:pt x="103600" y="16495"/>
                          <a:pt x="98853" y="16495"/>
                        </a:cubicBezTo>
                        <a:lnTo>
                          <a:pt x="90122" y="25021"/>
                        </a:lnTo>
                        <a:lnTo>
                          <a:pt x="90122" y="54025"/>
                        </a:lnTo>
                        <a:lnTo>
                          <a:pt x="89725" y="54419"/>
                        </a:lnTo>
                        <a:lnTo>
                          <a:pt x="89725" y="69978"/>
                        </a:lnTo>
                        <a:cubicBezTo>
                          <a:pt x="89725" y="72474"/>
                          <a:pt x="87899" y="74257"/>
                          <a:pt x="85343" y="74257"/>
                        </a:cubicBezTo>
                        <a:cubicBezTo>
                          <a:pt x="82787" y="74257"/>
                          <a:pt x="80962" y="72474"/>
                          <a:pt x="80962" y="69978"/>
                        </a:cubicBezTo>
                        <a:lnTo>
                          <a:pt x="80962" y="25409"/>
                        </a:lnTo>
                        <a:lnTo>
                          <a:pt x="81359" y="24475"/>
                        </a:lnTo>
                        <a:lnTo>
                          <a:pt x="81359" y="17766"/>
                        </a:lnTo>
                        <a:cubicBezTo>
                          <a:pt x="81359" y="13415"/>
                          <a:pt x="76977" y="9064"/>
                          <a:pt x="72231" y="9064"/>
                        </a:cubicBezTo>
                        <a:close/>
                        <a:moveTo>
                          <a:pt x="72231" y="0"/>
                        </a:moveTo>
                        <a:cubicBezTo>
                          <a:pt x="77343" y="0"/>
                          <a:pt x="81815" y="1994"/>
                          <a:pt x="85010" y="5212"/>
                        </a:cubicBezTo>
                        <a:lnTo>
                          <a:pt x="87924" y="12369"/>
                        </a:lnTo>
                        <a:lnTo>
                          <a:pt x="98853" y="7938"/>
                        </a:lnTo>
                        <a:cubicBezTo>
                          <a:pt x="109077" y="7938"/>
                          <a:pt x="117110" y="15782"/>
                          <a:pt x="117110" y="25409"/>
                        </a:cubicBezTo>
                        <a:lnTo>
                          <a:pt x="117110" y="29136"/>
                        </a:lnTo>
                        <a:lnTo>
                          <a:pt x="126025" y="25400"/>
                        </a:lnTo>
                        <a:cubicBezTo>
                          <a:pt x="135786" y="25400"/>
                          <a:pt x="144101" y="33628"/>
                          <a:pt x="144101" y="43288"/>
                        </a:cubicBezTo>
                        <a:lnTo>
                          <a:pt x="144101" y="96592"/>
                        </a:lnTo>
                        <a:lnTo>
                          <a:pt x="142517" y="98159"/>
                        </a:lnTo>
                        <a:lnTo>
                          <a:pt x="142517" y="124772"/>
                        </a:lnTo>
                        <a:cubicBezTo>
                          <a:pt x="142517" y="152589"/>
                          <a:pt x="121032" y="174264"/>
                          <a:pt x="93459" y="174264"/>
                        </a:cubicBezTo>
                        <a:lnTo>
                          <a:pt x="64097" y="174264"/>
                        </a:lnTo>
                        <a:cubicBezTo>
                          <a:pt x="27572" y="174264"/>
                          <a:pt x="0" y="135610"/>
                          <a:pt x="0" y="115740"/>
                        </a:cubicBezTo>
                        <a:lnTo>
                          <a:pt x="0" y="79615"/>
                        </a:lnTo>
                        <a:cubicBezTo>
                          <a:pt x="0" y="69861"/>
                          <a:pt x="7878" y="61913"/>
                          <a:pt x="17904" y="61913"/>
                        </a:cubicBezTo>
                        <a:lnTo>
                          <a:pt x="26987" y="61913"/>
                        </a:lnTo>
                        <a:lnTo>
                          <a:pt x="26987" y="25617"/>
                        </a:lnTo>
                        <a:cubicBezTo>
                          <a:pt x="26987" y="15875"/>
                          <a:pt x="35302" y="7938"/>
                          <a:pt x="45062" y="7938"/>
                        </a:cubicBezTo>
                        <a:lnTo>
                          <a:pt x="56250" y="12507"/>
                        </a:lnTo>
                        <a:lnTo>
                          <a:pt x="59406" y="5212"/>
                        </a:lnTo>
                        <a:cubicBezTo>
                          <a:pt x="62738" y="1994"/>
                          <a:pt x="67302" y="0"/>
                          <a:pt x="72231" y="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rIns="0" anchor="ctr"/>
                  <a:lstStyle/>
                  <a:p>
                    <a:endParaRPr lang="en-US" sz="1200"/>
                  </a:p>
                </p:txBody>
              </p:sp>
              <p:sp>
                <p:nvSpPr>
                  <p:cNvPr id="2003" name="Freeform 2002">
                    <a:extLst>
                      <a:ext uri="{FF2B5EF4-FFF2-40B4-BE49-F238E27FC236}">
                        <a16:creationId xmlns:a16="http://schemas.microsoft.com/office/drawing/2014/main" id="{9E8F1A4C-F566-E541-BFFB-D959DE8CFCC9}"/>
                      </a:ext>
                    </a:extLst>
                  </p:cNvPr>
                  <p:cNvSpPr>
                    <a:spLocks noChangeAspect="1" noChangeArrowheads="1"/>
                  </p:cNvSpPr>
                  <p:nvPr/>
                </p:nvSpPr>
                <p:spPr bwMode="auto">
                  <a:xfrm rot="5400000">
                    <a:off x="5257838" y="3673812"/>
                    <a:ext cx="278749" cy="280813"/>
                  </a:xfrm>
                  <a:custGeom>
                    <a:avLst/>
                    <a:gdLst/>
                    <a:ahLst/>
                    <a:cxnLst/>
                    <a:rect l="0" t="0" r="r" b="b"/>
                    <a:pathLst>
                      <a:path w="213952" h="215527">
                        <a:moveTo>
                          <a:pt x="56870" y="204788"/>
                        </a:moveTo>
                        <a:lnTo>
                          <a:pt x="66209" y="204788"/>
                        </a:lnTo>
                        <a:cubicBezTo>
                          <a:pt x="69197" y="204788"/>
                          <a:pt x="71064" y="206254"/>
                          <a:pt x="71064" y="209184"/>
                        </a:cubicBezTo>
                        <a:cubicBezTo>
                          <a:pt x="71064" y="211749"/>
                          <a:pt x="69197" y="213947"/>
                          <a:pt x="66209" y="213947"/>
                        </a:cubicBezTo>
                        <a:lnTo>
                          <a:pt x="56870" y="213947"/>
                        </a:lnTo>
                        <a:cubicBezTo>
                          <a:pt x="54256" y="213947"/>
                          <a:pt x="52388" y="211749"/>
                          <a:pt x="52388" y="209184"/>
                        </a:cubicBezTo>
                        <a:cubicBezTo>
                          <a:pt x="52388" y="206254"/>
                          <a:pt x="54256" y="204788"/>
                          <a:pt x="56870" y="204788"/>
                        </a:cubicBezTo>
                        <a:close/>
                        <a:moveTo>
                          <a:pt x="30256" y="204788"/>
                        </a:moveTo>
                        <a:lnTo>
                          <a:pt x="39594" y="204788"/>
                        </a:lnTo>
                        <a:cubicBezTo>
                          <a:pt x="42209" y="204788"/>
                          <a:pt x="44076" y="206254"/>
                          <a:pt x="44076" y="209184"/>
                        </a:cubicBezTo>
                        <a:cubicBezTo>
                          <a:pt x="44076" y="211749"/>
                          <a:pt x="42209" y="213947"/>
                          <a:pt x="39594" y="213947"/>
                        </a:cubicBezTo>
                        <a:lnTo>
                          <a:pt x="30256" y="213947"/>
                        </a:lnTo>
                        <a:cubicBezTo>
                          <a:pt x="27268" y="213947"/>
                          <a:pt x="25400" y="211749"/>
                          <a:pt x="25400" y="209184"/>
                        </a:cubicBezTo>
                        <a:cubicBezTo>
                          <a:pt x="25400" y="206254"/>
                          <a:pt x="27268" y="204788"/>
                          <a:pt x="30256" y="204788"/>
                        </a:cubicBezTo>
                        <a:close/>
                        <a:moveTo>
                          <a:pt x="93569" y="196850"/>
                        </a:moveTo>
                        <a:cubicBezTo>
                          <a:pt x="96184" y="196850"/>
                          <a:pt x="98052" y="198718"/>
                          <a:pt x="98052" y="201706"/>
                        </a:cubicBezTo>
                        <a:lnTo>
                          <a:pt x="98052" y="210671"/>
                        </a:lnTo>
                        <a:cubicBezTo>
                          <a:pt x="98052" y="213659"/>
                          <a:pt x="96184" y="215527"/>
                          <a:pt x="93569" y="215527"/>
                        </a:cubicBezTo>
                        <a:lnTo>
                          <a:pt x="84231" y="215527"/>
                        </a:lnTo>
                        <a:cubicBezTo>
                          <a:pt x="81243" y="215527"/>
                          <a:pt x="79375" y="213286"/>
                          <a:pt x="79375" y="210671"/>
                        </a:cubicBezTo>
                        <a:cubicBezTo>
                          <a:pt x="79375" y="207683"/>
                          <a:pt x="81243" y="206188"/>
                          <a:pt x="84231" y="206188"/>
                        </a:cubicBezTo>
                        <a:lnTo>
                          <a:pt x="88713" y="206188"/>
                        </a:lnTo>
                        <a:lnTo>
                          <a:pt x="88713" y="201706"/>
                        </a:lnTo>
                        <a:cubicBezTo>
                          <a:pt x="88713" y="198718"/>
                          <a:pt x="90581" y="196850"/>
                          <a:pt x="93569" y="196850"/>
                        </a:cubicBezTo>
                        <a:close/>
                        <a:moveTo>
                          <a:pt x="4191" y="196850"/>
                        </a:moveTo>
                        <a:cubicBezTo>
                          <a:pt x="6636" y="196850"/>
                          <a:pt x="8731" y="198718"/>
                          <a:pt x="8731" y="201706"/>
                        </a:cubicBezTo>
                        <a:lnTo>
                          <a:pt x="8731" y="206188"/>
                        </a:lnTo>
                        <a:lnTo>
                          <a:pt x="12923" y="206188"/>
                        </a:lnTo>
                        <a:cubicBezTo>
                          <a:pt x="15367" y="206188"/>
                          <a:pt x="17114" y="207683"/>
                          <a:pt x="17114" y="210671"/>
                        </a:cubicBezTo>
                        <a:cubicBezTo>
                          <a:pt x="17114" y="213286"/>
                          <a:pt x="15367" y="215527"/>
                          <a:pt x="12923" y="215527"/>
                        </a:cubicBezTo>
                        <a:lnTo>
                          <a:pt x="4191" y="215527"/>
                        </a:lnTo>
                        <a:cubicBezTo>
                          <a:pt x="1746" y="215527"/>
                          <a:pt x="0" y="213659"/>
                          <a:pt x="0" y="210671"/>
                        </a:cubicBezTo>
                        <a:lnTo>
                          <a:pt x="0" y="201706"/>
                        </a:lnTo>
                        <a:cubicBezTo>
                          <a:pt x="0" y="198718"/>
                          <a:pt x="1397" y="196850"/>
                          <a:pt x="4191" y="196850"/>
                        </a:cubicBezTo>
                        <a:close/>
                        <a:moveTo>
                          <a:pt x="4396" y="169863"/>
                        </a:moveTo>
                        <a:cubicBezTo>
                          <a:pt x="6961" y="169863"/>
                          <a:pt x="9159" y="171609"/>
                          <a:pt x="9159" y="174054"/>
                        </a:cubicBezTo>
                        <a:lnTo>
                          <a:pt x="9159" y="182785"/>
                        </a:lnTo>
                        <a:cubicBezTo>
                          <a:pt x="9159" y="185230"/>
                          <a:pt x="7327" y="186976"/>
                          <a:pt x="4396" y="186976"/>
                        </a:cubicBezTo>
                        <a:cubicBezTo>
                          <a:pt x="1832" y="186976"/>
                          <a:pt x="0" y="185230"/>
                          <a:pt x="0" y="182785"/>
                        </a:cubicBezTo>
                        <a:lnTo>
                          <a:pt x="0" y="174054"/>
                        </a:lnTo>
                        <a:cubicBezTo>
                          <a:pt x="0" y="171609"/>
                          <a:pt x="1465" y="169863"/>
                          <a:pt x="4396" y="169863"/>
                        </a:cubicBezTo>
                        <a:close/>
                        <a:moveTo>
                          <a:pt x="93663" y="142875"/>
                        </a:moveTo>
                        <a:cubicBezTo>
                          <a:pt x="96227" y="142875"/>
                          <a:pt x="98059" y="144742"/>
                          <a:pt x="98059" y="147357"/>
                        </a:cubicBezTo>
                        <a:lnTo>
                          <a:pt x="98059" y="156695"/>
                        </a:lnTo>
                        <a:cubicBezTo>
                          <a:pt x="98059" y="159684"/>
                          <a:pt x="96227" y="161551"/>
                          <a:pt x="93663" y="161551"/>
                        </a:cubicBezTo>
                        <a:cubicBezTo>
                          <a:pt x="90732" y="161551"/>
                          <a:pt x="88900" y="159684"/>
                          <a:pt x="88900" y="156695"/>
                        </a:cubicBezTo>
                        <a:lnTo>
                          <a:pt x="88900" y="147357"/>
                        </a:lnTo>
                        <a:cubicBezTo>
                          <a:pt x="88900" y="144742"/>
                          <a:pt x="90732" y="142875"/>
                          <a:pt x="93663" y="142875"/>
                        </a:cubicBezTo>
                        <a:close/>
                        <a:moveTo>
                          <a:pt x="4396" y="142875"/>
                        </a:moveTo>
                        <a:cubicBezTo>
                          <a:pt x="6961" y="142875"/>
                          <a:pt x="9159" y="144742"/>
                          <a:pt x="9159" y="147357"/>
                        </a:cubicBezTo>
                        <a:lnTo>
                          <a:pt x="9159" y="156695"/>
                        </a:lnTo>
                        <a:cubicBezTo>
                          <a:pt x="9159" y="159684"/>
                          <a:pt x="7327" y="161551"/>
                          <a:pt x="4396" y="161551"/>
                        </a:cubicBezTo>
                        <a:cubicBezTo>
                          <a:pt x="1832" y="161551"/>
                          <a:pt x="0" y="159684"/>
                          <a:pt x="0" y="156695"/>
                        </a:cubicBezTo>
                        <a:lnTo>
                          <a:pt x="0" y="147357"/>
                        </a:lnTo>
                        <a:cubicBezTo>
                          <a:pt x="0" y="144742"/>
                          <a:pt x="1465" y="142875"/>
                          <a:pt x="4396" y="142875"/>
                        </a:cubicBezTo>
                        <a:close/>
                        <a:moveTo>
                          <a:pt x="84231" y="115888"/>
                        </a:moveTo>
                        <a:lnTo>
                          <a:pt x="93569" y="115888"/>
                        </a:lnTo>
                        <a:cubicBezTo>
                          <a:pt x="96184" y="115888"/>
                          <a:pt x="98052" y="117755"/>
                          <a:pt x="98052" y="120744"/>
                        </a:cubicBezTo>
                        <a:lnTo>
                          <a:pt x="98052" y="130082"/>
                        </a:lnTo>
                        <a:cubicBezTo>
                          <a:pt x="98052" y="132697"/>
                          <a:pt x="96184" y="134564"/>
                          <a:pt x="93569" y="134564"/>
                        </a:cubicBezTo>
                        <a:cubicBezTo>
                          <a:pt x="90581" y="134564"/>
                          <a:pt x="88713" y="132697"/>
                          <a:pt x="88713" y="130082"/>
                        </a:cubicBezTo>
                        <a:lnTo>
                          <a:pt x="88713" y="125226"/>
                        </a:lnTo>
                        <a:lnTo>
                          <a:pt x="84231" y="125226"/>
                        </a:lnTo>
                        <a:cubicBezTo>
                          <a:pt x="81243" y="125226"/>
                          <a:pt x="79375" y="123358"/>
                          <a:pt x="79375" y="120744"/>
                        </a:cubicBezTo>
                        <a:cubicBezTo>
                          <a:pt x="79375" y="117755"/>
                          <a:pt x="81243" y="115888"/>
                          <a:pt x="84231" y="115888"/>
                        </a:cubicBezTo>
                        <a:close/>
                        <a:moveTo>
                          <a:pt x="56870" y="115888"/>
                        </a:moveTo>
                        <a:lnTo>
                          <a:pt x="66209" y="115888"/>
                        </a:lnTo>
                        <a:cubicBezTo>
                          <a:pt x="69197" y="115888"/>
                          <a:pt x="71064" y="117719"/>
                          <a:pt x="71064" y="120650"/>
                        </a:cubicBezTo>
                        <a:cubicBezTo>
                          <a:pt x="71064" y="123215"/>
                          <a:pt x="69197" y="125046"/>
                          <a:pt x="66209" y="125046"/>
                        </a:cubicBezTo>
                        <a:lnTo>
                          <a:pt x="56870" y="125046"/>
                        </a:lnTo>
                        <a:cubicBezTo>
                          <a:pt x="54256" y="125046"/>
                          <a:pt x="52388" y="123215"/>
                          <a:pt x="52388" y="120650"/>
                        </a:cubicBezTo>
                        <a:cubicBezTo>
                          <a:pt x="52388" y="117719"/>
                          <a:pt x="54256" y="115888"/>
                          <a:pt x="56870" y="115888"/>
                        </a:cubicBezTo>
                        <a:close/>
                        <a:moveTo>
                          <a:pt x="4191" y="115888"/>
                        </a:moveTo>
                        <a:lnTo>
                          <a:pt x="12923" y="115888"/>
                        </a:lnTo>
                        <a:cubicBezTo>
                          <a:pt x="15367" y="115888"/>
                          <a:pt x="17114" y="117755"/>
                          <a:pt x="17114" y="120744"/>
                        </a:cubicBezTo>
                        <a:cubicBezTo>
                          <a:pt x="17114" y="123358"/>
                          <a:pt x="15367" y="125226"/>
                          <a:pt x="12923" y="125226"/>
                        </a:cubicBezTo>
                        <a:lnTo>
                          <a:pt x="8731" y="125226"/>
                        </a:lnTo>
                        <a:lnTo>
                          <a:pt x="8731" y="130082"/>
                        </a:lnTo>
                        <a:cubicBezTo>
                          <a:pt x="8731" y="132697"/>
                          <a:pt x="6985" y="134564"/>
                          <a:pt x="4191" y="134564"/>
                        </a:cubicBezTo>
                        <a:cubicBezTo>
                          <a:pt x="1746" y="134564"/>
                          <a:pt x="0" y="132697"/>
                          <a:pt x="0" y="130082"/>
                        </a:cubicBezTo>
                        <a:lnTo>
                          <a:pt x="0" y="120744"/>
                        </a:lnTo>
                        <a:cubicBezTo>
                          <a:pt x="0" y="117755"/>
                          <a:pt x="1746" y="115888"/>
                          <a:pt x="4191" y="115888"/>
                        </a:cubicBezTo>
                        <a:close/>
                        <a:moveTo>
                          <a:pt x="137668" y="26988"/>
                        </a:moveTo>
                        <a:lnTo>
                          <a:pt x="182287" y="26988"/>
                        </a:lnTo>
                        <a:lnTo>
                          <a:pt x="184245" y="28795"/>
                        </a:lnTo>
                        <a:lnTo>
                          <a:pt x="185185" y="28795"/>
                        </a:lnTo>
                        <a:lnTo>
                          <a:pt x="185185" y="29663"/>
                        </a:lnTo>
                        <a:lnTo>
                          <a:pt x="186965" y="31306"/>
                        </a:lnTo>
                        <a:lnTo>
                          <a:pt x="186965" y="75925"/>
                        </a:lnTo>
                        <a:cubicBezTo>
                          <a:pt x="186965" y="78804"/>
                          <a:pt x="185166" y="80603"/>
                          <a:pt x="182287" y="80603"/>
                        </a:cubicBezTo>
                        <a:cubicBezTo>
                          <a:pt x="179769" y="80603"/>
                          <a:pt x="177969" y="78804"/>
                          <a:pt x="177969" y="75925"/>
                        </a:cubicBezTo>
                        <a:lnTo>
                          <a:pt x="177969" y="42252"/>
                        </a:lnTo>
                        <a:lnTo>
                          <a:pt x="114210" y="106865"/>
                        </a:lnTo>
                        <a:cubicBezTo>
                          <a:pt x="114210" y="107588"/>
                          <a:pt x="112426" y="107588"/>
                          <a:pt x="111356" y="107588"/>
                        </a:cubicBezTo>
                        <a:cubicBezTo>
                          <a:pt x="110643" y="107588"/>
                          <a:pt x="108860" y="107588"/>
                          <a:pt x="108146" y="106865"/>
                        </a:cubicBezTo>
                        <a:cubicBezTo>
                          <a:pt x="106363" y="105058"/>
                          <a:pt x="106363" y="102528"/>
                          <a:pt x="108146" y="100721"/>
                        </a:cubicBezTo>
                        <a:lnTo>
                          <a:pt x="171707" y="35984"/>
                        </a:lnTo>
                        <a:lnTo>
                          <a:pt x="137668" y="35984"/>
                        </a:lnTo>
                        <a:cubicBezTo>
                          <a:pt x="135149" y="35984"/>
                          <a:pt x="133350" y="33825"/>
                          <a:pt x="133350" y="31306"/>
                        </a:cubicBezTo>
                        <a:cubicBezTo>
                          <a:pt x="133350" y="28427"/>
                          <a:pt x="135149" y="26988"/>
                          <a:pt x="137668" y="26988"/>
                        </a:cubicBezTo>
                        <a:close/>
                        <a:moveTo>
                          <a:pt x="34430" y="9030"/>
                        </a:moveTo>
                        <a:lnTo>
                          <a:pt x="34430" y="115888"/>
                        </a:lnTo>
                        <a:lnTo>
                          <a:pt x="39594" y="115888"/>
                        </a:lnTo>
                        <a:cubicBezTo>
                          <a:pt x="42209" y="115888"/>
                          <a:pt x="44076" y="117719"/>
                          <a:pt x="44076" y="120650"/>
                        </a:cubicBezTo>
                        <a:cubicBezTo>
                          <a:pt x="44076" y="123215"/>
                          <a:pt x="42209" y="125046"/>
                          <a:pt x="39594" y="125046"/>
                        </a:cubicBezTo>
                        <a:lnTo>
                          <a:pt x="34430" y="125046"/>
                        </a:lnTo>
                        <a:lnTo>
                          <a:pt x="34430" y="179522"/>
                        </a:lnTo>
                        <a:lnTo>
                          <a:pt x="88900" y="179522"/>
                        </a:lnTo>
                        <a:lnTo>
                          <a:pt x="88900" y="174054"/>
                        </a:lnTo>
                        <a:cubicBezTo>
                          <a:pt x="88900" y="171609"/>
                          <a:pt x="90732" y="169863"/>
                          <a:pt x="93663" y="169863"/>
                        </a:cubicBezTo>
                        <a:cubicBezTo>
                          <a:pt x="96227" y="169863"/>
                          <a:pt x="98059" y="171609"/>
                          <a:pt x="98059" y="174054"/>
                        </a:cubicBezTo>
                        <a:lnTo>
                          <a:pt x="98059" y="179522"/>
                        </a:lnTo>
                        <a:lnTo>
                          <a:pt x="205283" y="179522"/>
                        </a:lnTo>
                        <a:lnTo>
                          <a:pt x="205283" y="9030"/>
                        </a:lnTo>
                        <a:lnTo>
                          <a:pt x="34430" y="9030"/>
                        </a:lnTo>
                        <a:close/>
                        <a:moveTo>
                          <a:pt x="30096" y="0"/>
                        </a:moveTo>
                        <a:lnTo>
                          <a:pt x="209617" y="0"/>
                        </a:lnTo>
                        <a:cubicBezTo>
                          <a:pt x="212146" y="0"/>
                          <a:pt x="213952" y="1806"/>
                          <a:pt x="213952" y="4695"/>
                        </a:cubicBezTo>
                        <a:lnTo>
                          <a:pt x="213952" y="184218"/>
                        </a:lnTo>
                        <a:cubicBezTo>
                          <a:pt x="213952" y="186746"/>
                          <a:pt x="212146" y="188552"/>
                          <a:pt x="209617" y="188552"/>
                        </a:cubicBezTo>
                        <a:lnTo>
                          <a:pt x="30096" y="188552"/>
                        </a:lnTo>
                        <a:cubicBezTo>
                          <a:pt x="27206" y="188552"/>
                          <a:pt x="25400" y="186746"/>
                          <a:pt x="25400" y="184218"/>
                        </a:cubicBezTo>
                        <a:lnTo>
                          <a:pt x="25400" y="120650"/>
                        </a:lnTo>
                        <a:lnTo>
                          <a:pt x="25400" y="4695"/>
                        </a:lnTo>
                        <a:cubicBezTo>
                          <a:pt x="25400" y="1806"/>
                          <a:pt x="27206" y="0"/>
                          <a:pt x="30096" y="0"/>
                        </a:cubicBezTo>
                        <a:close/>
                      </a:path>
                    </a:pathLst>
                  </a:cu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txBody>
                  <a:bodyPr lIns="0" rIns="0" anchor="ctr"/>
                  <a:lstStyle/>
                  <a:p>
                    <a:endParaRPr lang="en-US" sz="1200"/>
                  </a:p>
                </p:txBody>
              </p:sp>
            </p:grpSp>
          </p:grpSp>
          <p:sp>
            <p:nvSpPr>
              <p:cNvPr id="2008" name="Rectangle 2007">
                <a:extLst>
                  <a:ext uri="{FF2B5EF4-FFF2-40B4-BE49-F238E27FC236}">
                    <a16:creationId xmlns:a16="http://schemas.microsoft.com/office/drawing/2014/main" id="{28948138-AE63-BC41-97AD-05C108DBC2AB}"/>
                  </a:ext>
                </a:extLst>
              </p:cNvPr>
              <p:cNvSpPr/>
              <p:nvPr/>
            </p:nvSpPr>
            <p:spPr>
              <a:xfrm>
                <a:off x="3456321" y="2238330"/>
                <a:ext cx="1670004" cy="215444"/>
              </a:xfrm>
              <a:prstGeom prst="rect">
                <a:avLst/>
              </a:prstGeom>
            </p:spPr>
            <p:txBody>
              <a:bodyPr wrap="square" lIns="0" rIns="0">
                <a:spAutoFit/>
              </a:bodyPr>
              <a:lstStyle/>
              <a:p>
                <a:pPr algn="ctr"/>
                <a:r>
                  <a:rPr lang="en-US" sz="800" kern="0">
                    <a:solidFill>
                      <a:schemeClr val="bg1">
                        <a:lumMod val="50000"/>
                      </a:schemeClr>
                    </a:solidFill>
                    <a:cs typeface="CiscoSansTT" panose="020B0503020201020303" pitchFamily="34" charset="0"/>
                  </a:rPr>
                  <a:t>Pre-built or customizable workflows</a:t>
                </a:r>
                <a:endParaRPr lang="en-US" sz="800">
                  <a:solidFill>
                    <a:schemeClr val="bg1">
                      <a:lumMod val="50000"/>
                    </a:schemeClr>
                  </a:solidFill>
                  <a:cs typeface="CiscoSansTT" panose="020B0503020201020303" pitchFamily="34" charset="0"/>
                </a:endParaRPr>
              </a:p>
            </p:txBody>
          </p:sp>
          <p:grpSp>
            <p:nvGrpSpPr>
              <p:cNvPr id="8" name="Group 7">
                <a:extLst>
                  <a:ext uri="{FF2B5EF4-FFF2-40B4-BE49-F238E27FC236}">
                    <a16:creationId xmlns:a16="http://schemas.microsoft.com/office/drawing/2014/main" id="{9E3EB53B-0AE4-5341-954C-3814C74C531B}"/>
                  </a:ext>
                </a:extLst>
              </p:cNvPr>
              <p:cNvGrpSpPr/>
              <p:nvPr/>
            </p:nvGrpSpPr>
            <p:grpSpPr>
              <a:xfrm>
                <a:off x="3716273" y="2495726"/>
                <a:ext cx="1178882" cy="1876761"/>
                <a:chOff x="3655757" y="2495726"/>
                <a:chExt cx="1178882" cy="1876761"/>
              </a:xfrm>
            </p:grpSpPr>
            <p:sp>
              <p:nvSpPr>
                <p:cNvPr id="1979" name="Oval 1978">
                  <a:extLst>
                    <a:ext uri="{FF2B5EF4-FFF2-40B4-BE49-F238E27FC236}">
                      <a16:creationId xmlns:a16="http://schemas.microsoft.com/office/drawing/2014/main" id="{398718ED-4719-8E4F-BDFF-1B0D5BE6A85A}"/>
                    </a:ext>
                  </a:extLst>
                </p:cNvPr>
                <p:cNvSpPr>
                  <a:spLocks noChangeAspect="1"/>
                </p:cNvSpPr>
                <p:nvPr/>
              </p:nvSpPr>
              <p:spPr>
                <a:xfrm>
                  <a:off x="3770354" y="2495726"/>
                  <a:ext cx="595785" cy="24561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700">
                      <a:solidFill>
                        <a:schemeClr val="bg1"/>
                      </a:solidFill>
                      <a:latin typeface="CiscoSansTT" panose="020B0503020201020303" pitchFamily="34" charset="0"/>
                      <a:cs typeface="CiscoSansTT" panose="020B0503020201020303" pitchFamily="34" charset="0"/>
                    </a:rPr>
                    <a:t>ALERT</a:t>
                  </a:r>
                  <a:endParaRPr lang="en-US" sz="1200">
                    <a:solidFill>
                      <a:schemeClr val="bg1"/>
                    </a:solidFill>
                  </a:endParaRPr>
                </a:p>
              </p:txBody>
            </p:sp>
            <p:sp>
              <p:nvSpPr>
                <p:cNvPr id="1980" name="Rounded Rectangle 1979">
                  <a:extLst>
                    <a:ext uri="{FF2B5EF4-FFF2-40B4-BE49-F238E27FC236}">
                      <a16:creationId xmlns:a16="http://schemas.microsoft.com/office/drawing/2014/main" id="{FA4AC51E-2667-FF43-84C4-C755DF643F4A}"/>
                    </a:ext>
                  </a:extLst>
                </p:cNvPr>
                <p:cNvSpPr/>
                <p:nvPr/>
              </p:nvSpPr>
              <p:spPr>
                <a:xfrm>
                  <a:off x="3887554" y="2825516"/>
                  <a:ext cx="364819" cy="14114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bg1"/>
                      </a:solidFill>
                      <a:latin typeface="CiscoSansTT" panose="020B0503020201020303" pitchFamily="34" charset="0"/>
                      <a:cs typeface="CiscoSansTT" panose="020B0503020201020303" pitchFamily="34" charset="0"/>
                    </a:rPr>
                    <a:t>task</a:t>
                  </a:r>
                </a:p>
              </p:txBody>
            </p:sp>
            <p:sp>
              <p:nvSpPr>
                <p:cNvPr id="1981" name="Decision 1980">
                  <a:extLst>
                    <a:ext uri="{FF2B5EF4-FFF2-40B4-BE49-F238E27FC236}">
                      <a16:creationId xmlns:a16="http://schemas.microsoft.com/office/drawing/2014/main" id="{3CF7C64A-9925-A447-835D-DC34270B2CA8}"/>
                    </a:ext>
                  </a:extLst>
                </p:cNvPr>
                <p:cNvSpPr/>
                <p:nvPr/>
              </p:nvSpPr>
              <p:spPr>
                <a:xfrm>
                  <a:off x="3864108" y="3093373"/>
                  <a:ext cx="414870" cy="243624"/>
                </a:xfrm>
                <a:prstGeom prst="flowChartDecision">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700">
                      <a:solidFill>
                        <a:schemeClr val="bg1"/>
                      </a:solidFill>
                      <a:latin typeface="CiscoSansTT" panose="020B0503020201020303" pitchFamily="34" charset="0"/>
                      <a:cs typeface="CiscoSansTT" panose="020B0503020201020303" pitchFamily="34" charset="0"/>
                    </a:rPr>
                    <a:t>condition</a:t>
                  </a:r>
                </a:p>
              </p:txBody>
            </p:sp>
            <p:sp>
              <p:nvSpPr>
                <p:cNvPr id="1982" name="Decision 1981">
                  <a:extLst>
                    <a:ext uri="{FF2B5EF4-FFF2-40B4-BE49-F238E27FC236}">
                      <a16:creationId xmlns:a16="http://schemas.microsoft.com/office/drawing/2014/main" id="{A13871B0-845C-D540-A21F-0A84750ED94A}"/>
                    </a:ext>
                  </a:extLst>
                </p:cNvPr>
                <p:cNvSpPr/>
                <p:nvPr/>
              </p:nvSpPr>
              <p:spPr>
                <a:xfrm>
                  <a:off x="3858619" y="3740738"/>
                  <a:ext cx="414870" cy="243624"/>
                </a:xfrm>
                <a:prstGeom prst="flowChartDecision">
                  <a:avLst/>
                </a:prstGeom>
                <a:solidFill>
                  <a:schemeClr val="bg1">
                    <a:lumMod val="65000"/>
                  </a:schemeClr>
                </a:solidFill>
                <a:ln>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7432" rIns="0" bIns="0" rtlCol="0" anchor="ctr"/>
                <a:lstStyle/>
                <a:p>
                  <a:pPr algn="ctr">
                    <a:lnSpc>
                      <a:spcPct val="80000"/>
                    </a:lnSpc>
                  </a:pPr>
                  <a:r>
                    <a:rPr lang="en-US" sz="700">
                      <a:solidFill>
                        <a:schemeClr val="bg1"/>
                      </a:solidFill>
                      <a:latin typeface="CiscoSansTT" panose="020B0503020201020303" pitchFamily="34" charset="0"/>
                      <a:cs typeface="CiscoSansTT" panose="020B0503020201020303" pitchFamily="34" charset="0"/>
                    </a:rPr>
                    <a:t>while</a:t>
                  </a:r>
                </a:p>
                <a:p>
                  <a:pPr algn="ctr">
                    <a:lnSpc>
                      <a:spcPct val="80000"/>
                    </a:lnSpc>
                  </a:pPr>
                  <a:r>
                    <a:rPr lang="en-US" sz="700">
                      <a:solidFill>
                        <a:schemeClr val="bg1"/>
                      </a:solidFill>
                      <a:latin typeface="CiscoSansTT" panose="020B0503020201020303" pitchFamily="34" charset="0"/>
                      <a:cs typeface="CiscoSansTT" panose="020B0503020201020303" pitchFamily="34" charset="0"/>
                    </a:rPr>
                    <a:t>loop</a:t>
                  </a:r>
                </a:p>
              </p:txBody>
            </p:sp>
            <p:sp>
              <p:nvSpPr>
                <p:cNvPr id="1983" name="Oval 1982">
                  <a:extLst>
                    <a:ext uri="{FF2B5EF4-FFF2-40B4-BE49-F238E27FC236}">
                      <a16:creationId xmlns:a16="http://schemas.microsoft.com/office/drawing/2014/main" id="{A05C4DAA-DABD-FD4A-AD00-0C418EDFB2D0}"/>
                    </a:ext>
                  </a:extLst>
                </p:cNvPr>
                <p:cNvSpPr>
                  <a:spLocks noChangeAspect="1"/>
                </p:cNvSpPr>
                <p:nvPr/>
              </p:nvSpPr>
              <p:spPr>
                <a:xfrm>
                  <a:off x="3770353" y="4070528"/>
                  <a:ext cx="595786" cy="30195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lnSpc>
                      <a:spcPct val="90000"/>
                    </a:lnSpc>
                  </a:pPr>
                  <a:r>
                    <a:rPr lang="en-US" sz="700">
                      <a:solidFill>
                        <a:schemeClr val="bg1"/>
                      </a:solidFill>
                      <a:latin typeface="CiscoSansTT" panose="020B0503020201020303" pitchFamily="34" charset="0"/>
                      <a:cs typeface="CiscoSansTT" panose="020B0503020201020303" pitchFamily="34" charset="0"/>
                    </a:rPr>
                    <a:t>task:</a:t>
                  </a:r>
                </a:p>
                <a:p>
                  <a:pPr algn="ctr">
                    <a:lnSpc>
                      <a:spcPct val="90000"/>
                    </a:lnSpc>
                  </a:pPr>
                  <a:r>
                    <a:rPr lang="en-US" sz="700">
                      <a:solidFill>
                        <a:schemeClr val="bg1"/>
                      </a:solidFill>
                      <a:latin typeface="CiscoSansTT" panose="020B0503020201020303" pitchFamily="34" charset="0"/>
                      <a:cs typeface="CiscoSansTT" panose="020B0503020201020303" pitchFamily="34" charset="0"/>
                    </a:rPr>
                    <a:t>REMEDIATE</a:t>
                  </a:r>
                  <a:endParaRPr lang="en-US" sz="1200">
                    <a:solidFill>
                      <a:schemeClr val="bg1"/>
                    </a:solidFill>
                  </a:endParaRPr>
                </a:p>
              </p:txBody>
            </p:sp>
            <p:sp>
              <p:nvSpPr>
                <p:cNvPr id="1984" name="Rounded Rectangle 1983">
                  <a:extLst>
                    <a:ext uri="{FF2B5EF4-FFF2-40B4-BE49-F238E27FC236}">
                      <a16:creationId xmlns:a16="http://schemas.microsoft.com/office/drawing/2014/main" id="{5E8BE0EB-83C3-294E-89A9-C0088B9211BE}"/>
                    </a:ext>
                  </a:extLst>
                </p:cNvPr>
                <p:cNvSpPr/>
                <p:nvPr/>
              </p:nvSpPr>
              <p:spPr>
                <a:xfrm>
                  <a:off x="4469820" y="3146236"/>
                  <a:ext cx="364819" cy="14114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bg1"/>
                      </a:solidFill>
                      <a:latin typeface="CiscoSansTT" panose="020B0503020201020303" pitchFamily="34" charset="0"/>
                      <a:cs typeface="CiscoSansTT" panose="020B0503020201020303" pitchFamily="34" charset="0"/>
                    </a:rPr>
                    <a:t>task</a:t>
                  </a:r>
                </a:p>
              </p:txBody>
            </p:sp>
            <p:cxnSp>
              <p:nvCxnSpPr>
                <p:cNvPr id="1985" name="Straight Arrow Connector 1984">
                  <a:extLst>
                    <a:ext uri="{FF2B5EF4-FFF2-40B4-BE49-F238E27FC236}">
                      <a16:creationId xmlns:a16="http://schemas.microsoft.com/office/drawing/2014/main" id="{E6435201-D21B-2849-A752-B303C089E995}"/>
                    </a:ext>
                  </a:extLst>
                </p:cNvPr>
                <p:cNvCxnSpPr>
                  <a:cxnSpLocks/>
                  <a:stCxn id="1979" idx="4"/>
                  <a:endCxn id="1980" idx="0"/>
                </p:cNvCxnSpPr>
                <p:nvPr/>
              </p:nvCxnSpPr>
              <p:spPr>
                <a:xfrm>
                  <a:off x="4068246" y="2741337"/>
                  <a:ext cx="1717" cy="84179"/>
                </a:xfrm>
                <a:prstGeom prst="straightConnector1">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86" name="Straight Arrow Connector 1985">
                  <a:extLst>
                    <a:ext uri="{FF2B5EF4-FFF2-40B4-BE49-F238E27FC236}">
                      <a16:creationId xmlns:a16="http://schemas.microsoft.com/office/drawing/2014/main" id="{684F613C-0944-5A43-A6D6-49F43525C14F}"/>
                    </a:ext>
                  </a:extLst>
                </p:cNvPr>
                <p:cNvCxnSpPr>
                  <a:cxnSpLocks/>
                  <a:stCxn id="1980" idx="2"/>
                  <a:endCxn id="1981" idx="0"/>
                </p:cNvCxnSpPr>
                <p:nvPr/>
              </p:nvCxnSpPr>
              <p:spPr>
                <a:xfrm>
                  <a:off x="4069963" y="2966656"/>
                  <a:ext cx="1579" cy="126717"/>
                </a:xfrm>
                <a:prstGeom prst="straightConnector1">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87" name="Straight Arrow Connector 1084">
                  <a:extLst>
                    <a:ext uri="{FF2B5EF4-FFF2-40B4-BE49-F238E27FC236}">
                      <a16:creationId xmlns:a16="http://schemas.microsoft.com/office/drawing/2014/main" id="{20F4E01B-4CD5-974A-BC85-A9EDDB323593}"/>
                    </a:ext>
                  </a:extLst>
                </p:cNvPr>
                <p:cNvCxnSpPr>
                  <a:cxnSpLocks/>
                  <a:stCxn id="1984" idx="0"/>
                  <a:endCxn id="1980" idx="3"/>
                </p:cNvCxnSpPr>
                <p:nvPr/>
              </p:nvCxnSpPr>
              <p:spPr>
                <a:xfrm rot="16200000" flipV="1">
                  <a:off x="4327226" y="2821232"/>
                  <a:ext cx="250150" cy="399858"/>
                </a:xfrm>
                <a:prstGeom prst="bentConnector2">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88" name="Straight Arrow Connector 1084">
                  <a:extLst>
                    <a:ext uri="{FF2B5EF4-FFF2-40B4-BE49-F238E27FC236}">
                      <a16:creationId xmlns:a16="http://schemas.microsoft.com/office/drawing/2014/main" id="{D9CA524B-F5BE-E148-9EB2-93E9C7D28C8D}"/>
                    </a:ext>
                  </a:extLst>
                </p:cNvPr>
                <p:cNvCxnSpPr>
                  <a:cxnSpLocks/>
                  <a:stCxn id="1984" idx="1"/>
                  <a:endCxn id="1981" idx="3"/>
                </p:cNvCxnSpPr>
                <p:nvPr/>
              </p:nvCxnSpPr>
              <p:spPr>
                <a:xfrm rot="10800000">
                  <a:off x="4278978" y="3215186"/>
                  <a:ext cx="190842" cy="1620"/>
                </a:xfrm>
                <a:prstGeom prst="bentConnector3">
                  <a:avLst>
                    <a:gd name="adj1" fmla="val 50000"/>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89" name="Straight Arrow Connector 1084">
                  <a:extLst>
                    <a:ext uri="{FF2B5EF4-FFF2-40B4-BE49-F238E27FC236}">
                      <a16:creationId xmlns:a16="http://schemas.microsoft.com/office/drawing/2014/main" id="{04C4D61D-4CA2-304D-9627-94490A3B10EA}"/>
                    </a:ext>
                  </a:extLst>
                </p:cNvPr>
                <p:cNvCxnSpPr>
                  <a:cxnSpLocks/>
                  <a:stCxn id="1983" idx="0"/>
                  <a:endCxn id="1982" idx="2"/>
                </p:cNvCxnSpPr>
                <p:nvPr/>
              </p:nvCxnSpPr>
              <p:spPr>
                <a:xfrm flipH="1" flipV="1">
                  <a:off x="4066054" y="3984362"/>
                  <a:ext cx="2193" cy="86167"/>
                </a:xfrm>
                <a:prstGeom prst="straightConnector1">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sp>
              <p:nvSpPr>
                <p:cNvPr id="1990" name="Rounded Rectangle 1989">
                  <a:extLst>
                    <a:ext uri="{FF2B5EF4-FFF2-40B4-BE49-F238E27FC236}">
                      <a16:creationId xmlns:a16="http://schemas.microsoft.com/office/drawing/2014/main" id="{C76D47C7-9765-9C4C-BE29-6FC5F9F0D48A}"/>
                    </a:ext>
                  </a:extLst>
                </p:cNvPr>
                <p:cNvSpPr/>
                <p:nvPr/>
              </p:nvSpPr>
              <p:spPr>
                <a:xfrm>
                  <a:off x="3655757" y="3413711"/>
                  <a:ext cx="849723" cy="215189"/>
                </a:xfrm>
                <a:prstGeom prst="roundRect">
                  <a:avLst>
                    <a:gd name="adj" fmla="val 10026"/>
                  </a:avLst>
                </a:prstGeom>
                <a:solidFill>
                  <a:schemeClr val="bg1">
                    <a:lumMod val="85000"/>
                  </a:schemeClr>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US" sz="700">
                    <a:solidFill>
                      <a:schemeClr val="bg1">
                        <a:lumMod val="65000"/>
                      </a:schemeClr>
                    </a:solidFill>
                    <a:latin typeface="CiscoSansTT" panose="020B0503020201020303" pitchFamily="34" charset="0"/>
                    <a:cs typeface="CiscoSansTT" panose="020B0503020201020303" pitchFamily="34" charset="0"/>
                  </a:endParaRPr>
                </a:p>
              </p:txBody>
            </p:sp>
            <p:cxnSp>
              <p:nvCxnSpPr>
                <p:cNvPr id="1991" name="Straight Arrow Connector 1084">
                  <a:extLst>
                    <a:ext uri="{FF2B5EF4-FFF2-40B4-BE49-F238E27FC236}">
                      <a16:creationId xmlns:a16="http://schemas.microsoft.com/office/drawing/2014/main" id="{FBF1FD75-6505-B54F-8691-8F76BD2BB687}"/>
                    </a:ext>
                  </a:extLst>
                </p:cNvPr>
                <p:cNvCxnSpPr>
                  <a:cxnSpLocks/>
                  <a:stCxn id="1981" idx="2"/>
                  <a:endCxn id="2009" idx="0"/>
                </p:cNvCxnSpPr>
                <p:nvPr/>
              </p:nvCxnSpPr>
              <p:spPr>
                <a:xfrm rot="5400000">
                  <a:off x="3907208" y="3295273"/>
                  <a:ext cx="122612" cy="206060"/>
                </a:xfrm>
                <a:prstGeom prst="bentConnector3">
                  <a:avLst>
                    <a:gd name="adj1" fmla="val 36240"/>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92" name="Straight Arrow Connector 1084">
                  <a:extLst>
                    <a:ext uri="{FF2B5EF4-FFF2-40B4-BE49-F238E27FC236}">
                      <a16:creationId xmlns:a16="http://schemas.microsoft.com/office/drawing/2014/main" id="{BF413C16-0C46-6D41-B2E6-650FD481AFD5}"/>
                    </a:ext>
                  </a:extLst>
                </p:cNvPr>
                <p:cNvCxnSpPr>
                  <a:cxnSpLocks/>
                  <a:stCxn id="1981" idx="2"/>
                  <a:endCxn id="2010" idx="0"/>
                </p:cNvCxnSpPr>
                <p:nvPr/>
              </p:nvCxnSpPr>
              <p:spPr>
                <a:xfrm rot="16200000" flipH="1">
                  <a:off x="4119541" y="3288997"/>
                  <a:ext cx="119871" cy="215868"/>
                </a:xfrm>
                <a:prstGeom prst="bentConnector3">
                  <a:avLst>
                    <a:gd name="adj1" fmla="val 35924"/>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93" name="Straight Arrow Connector 1084">
                  <a:extLst>
                    <a:ext uri="{FF2B5EF4-FFF2-40B4-BE49-F238E27FC236}">
                      <a16:creationId xmlns:a16="http://schemas.microsoft.com/office/drawing/2014/main" id="{3F5EA1C8-D664-6347-A937-F93ABE2026D1}"/>
                    </a:ext>
                  </a:extLst>
                </p:cNvPr>
                <p:cNvCxnSpPr>
                  <a:cxnSpLocks/>
                  <a:stCxn id="2009" idx="2"/>
                  <a:endCxn id="1982" idx="0"/>
                </p:cNvCxnSpPr>
                <p:nvPr/>
              </p:nvCxnSpPr>
              <p:spPr>
                <a:xfrm rot="16200000" flipH="1">
                  <a:off x="3895774" y="3570458"/>
                  <a:ext cx="139989" cy="200571"/>
                </a:xfrm>
                <a:prstGeom prst="bentConnector3">
                  <a:avLst>
                    <a:gd name="adj1" fmla="val 46283"/>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94" name="Straight Arrow Connector 1084">
                  <a:extLst>
                    <a:ext uri="{FF2B5EF4-FFF2-40B4-BE49-F238E27FC236}">
                      <a16:creationId xmlns:a16="http://schemas.microsoft.com/office/drawing/2014/main" id="{B2699E32-679A-D74C-A2E0-432833A8E1AB}"/>
                    </a:ext>
                  </a:extLst>
                </p:cNvPr>
                <p:cNvCxnSpPr>
                  <a:cxnSpLocks/>
                  <a:stCxn id="1984" idx="2"/>
                  <a:endCxn id="1982" idx="3"/>
                </p:cNvCxnSpPr>
                <p:nvPr/>
              </p:nvCxnSpPr>
              <p:spPr>
                <a:xfrm rot="5400000">
                  <a:off x="4175273" y="3385593"/>
                  <a:ext cx="575174" cy="378740"/>
                </a:xfrm>
                <a:prstGeom prst="bentConnector2">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sp>
              <p:nvSpPr>
                <p:cNvPr id="1995" name="Isosceles Triangle 49">
                  <a:extLst>
                    <a:ext uri="{FF2B5EF4-FFF2-40B4-BE49-F238E27FC236}">
                      <a16:creationId xmlns:a16="http://schemas.microsoft.com/office/drawing/2014/main" id="{A53504C4-FAB7-7045-A711-176C6662319E}"/>
                    </a:ext>
                  </a:extLst>
                </p:cNvPr>
                <p:cNvSpPr>
                  <a:spLocks noChangeAspect="1"/>
                </p:cNvSpPr>
                <p:nvPr/>
              </p:nvSpPr>
              <p:spPr>
                <a:xfrm rot="5400000">
                  <a:off x="4452301" y="3185272"/>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96" name="Isosceles Triangle 49">
                  <a:extLst>
                    <a:ext uri="{FF2B5EF4-FFF2-40B4-BE49-F238E27FC236}">
                      <a16:creationId xmlns:a16="http://schemas.microsoft.com/office/drawing/2014/main" id="{2FE72EB4-F577-6144-B0F3-51FCC5CF4434}"/>
                    </a:ext>
                  </a:extLst>
                </p:cNvPr>
                <p:cNvSpPr>
                  <a:spLocks noChangeAspect="1"/>
                </p:cNvSpPr>
                <p:nvPr/>
              </p:nvSpPr>
              <p:spPr>
                <a:xfrm>
                  <a:off x="4620963" y="3259482"/>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97" name="Isosceles Triangle 49">
                  <a:extLst>
                    <a:ext uri="{FF2B5EF4-FFF2-40B4-BE49-F238E27FC236}">
                      <a16:creationId xmlns:a16="http://schemas.microsoft.com/office/drawing/2014/main" id="{8F7DBADE-3FC7-C644-8D51-96ED8E18A790}"/>
                    </a:ext>
                  </a:extLst>
                </p:cNvPr>
                <p:cNvSpPr>
                  <a:spLocks noChangeAspect="1"/>
                </p:cNvSpPr>
                <p:nvPr/>
              </p:nvSpPr>
              <p:spPr>
                <a:xfrm rot="10800000">
                  <a:off x="4034788" y="2802364"/>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998" name="Isosceles Triangle 49">
                  <a:extLst>
                    <a:ext uri="{FF2B5EF4-FFF2-40B4-BE49-F238E27FC236}">
                      <a16:creationId xmlns:a16="http://schemas.microsoft.com/office/drawing/2014/main" id="{A68A727C-8BFE-5A45-AC0D-6CF44B3A5404}"/>
                    </a:ext>
                  </a:extLst>
                </p:cNvPr>
                <p:cNvSpPr>
                  <a:spLocks noChangeAspect="1"/>
                </p:cNvSpPr>
                <p:nvPr/>
              </p:nvSpPr>
              <p:spPr>
                <a:xfrm rot="16200000">
                  <a:off x="4207027" y="2867452"/>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cxnSp>
              <p:nvCxnSpPr>
                <p:cNvPr id="2004" name="Straight Arrow Connector 1084">
                  <a:extLst>
                    <a:ext uri="{FF2B5EF4-FFF2-40B4-BE49-F238E27FC236}">
                      <a16:creationId xmlns:a16="http://schemas.microsoft.com/office/drawing/2014/main" id="{77FF5BC4-2914-5944-91D3-681E6E9BDE55}"/>
                    </a:ext>
                  </a:extLst>
                </p:cNvPr>
                <p:cNvCxnSpPr>
                  <a:cxnSpLocks/>
                  <a:stCxn id="2010" idx="2"/>
                  <a:endCxn id="1982" idx="0"/>
                </p:cNvCxnSpPr>
                <p:nvPr/>
              </p:nvCxnSpPr>
              <p:spPr>
                <a:xfrm rot="5400000">
                  <a:off x="4105368" y="3558696"/>
                  <a:ext cx="142730" cy="221356"/>
                </a:xfrm>
                <a:prstGeom prst="bentConnector3">
                  <a:avLst>
                    <a:gd name="adj1" fmla="val 48999"/>
                  </a:avLst>
                </a:prstGeom>
                <a:ln>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sp>
              <p:nvSpPr>
                <p:cNvPr id="2005" name="Isosceles Triangle 49">
                  <a:extLst>
                    <a:ext uri="{FF2B5EF4-FFF2-40B4-BE49-F238E27FC236}">
                      <a16:creationId xmlns:a16="http://schemas.microsoft.com/office/drawing/2014/main" id="{9ABA4D08-3133-4849-9D6E-BC860A1E96C7}"/>
                    </a:ext>
                  </a:extLst>
                </p:cNvPr>
                <p:cNvSpPr>
                  <a:spLocks noChangeAspect="1"/>
                </p:cNvSpPr>
                <p:nvPr/>
              </p:nvSpPr>
              <p:spPr>
                <a:xfrm rot="10800000">
                  <a:off x="4035970" y="3059956"/>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06" name="Isosceles Triangle 49">
                  <a:extLst>
                    <a:ext uri="{FF2B5EF4-FFF2-40B4-BE49-F238E27FC236}">
                      <a16:creationId xmlns:a16="http://schemas.microsoft.com/office/drawing/2014/main" id="{B5CF0545-65F6-084A-9981-B56045B43E08}"/>
                    </a:ext>
                  </a:extLst>
                </p:cNvPr>
                <p:cNvSpPr>
                  <a:spLocks noChangeAspect="1"/>
                </p:cNvSpPr>
                <p:nvPr/>
              </p:nvSpPr>
              <p:spPr>
                <a:xfrm rot="10800000">
                  <a:off x="4034787" y="3720907"/>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07" name="Isosceles Triangle 49">
                  <a:extLst>
                    <a:ext uri="{FF2B5EF4-FFF2-40B4-BE49-F238E27FC236}">
                      <a16:creationId xmlns:a16="http://schemas.microsoft.com/office/drawing/2014/main" id="{3421FDA7-EBBC-EE4E-B6CA-7B7BC7AA569C}"/>
                    </a:ext>
                  </a:extLst>
                </p:cNvPr>
                <p:cNvSpPr>
                  <a:spLocks noChangeAspect="1"/>
                </p:cNvSpPr>
                <p:nvPr/>
              </p:nvSpPr>
              <p:spPr>
                <a:xfrm rot="10800000">
                  <a:off x="4037216" y="4050261"/>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09" name="Rounded Rectangle 2008">
                  <a:extLst>
                    <a:ext uri="{FF2B5EF4-FFF2-40B4-BE49-F238E27FC236}">
                      <a16:creationId xmlns:a16="http://schemas.microsoft.com/office/drawing/2014/main" id="{B5C9B2B5-C9E6-7645-B1C5-2AC0DB675DBF}"/>
                    </a:ext>
                  </a:extLst>
                </p:cNvPr>
                <p:cNvSpPr/>
                <p:nvPr/>
              </p:nvSpPr>
              <p:spPr>
                <a:xfrm>
                  <a:off x="3683074" y="3459609"/>
                  <a:ext cx="364819" cy="14114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bg1"/>
                      </a:solidFill>
                      <a:latin typeface="CiscoSansTT" panose="020B0503020201020303" pitchFamily="34" charset="0"/>
                      <a:cs typeface="CiscoSansTT" panose="020B0503020201020303" pitchFamily="34" charset="0"/>
                    </a:rPr>
                    <a:t>task</a:t>
                  </a:r>
                </a:p>
              </p:txBody>
            </p:sp>
            <p:sp>
              <p:nvSpPr>
                <p:cNvPr id="2010" name="Rounded Rectangle 2009">
                  <a:extLst>
                    <a:ext uri="{FF2B5EF4-FFF2-40B4-BE49-F238E27FC236}">
                      <a16:creationId xmlns:a16="http://schemas.microsoft.com/office/drawing/2014/main" id="{329E1544-0630-1F4A-86C1-46A40955020D}"/>
                    </a:ext>
                  </a:extLst>
                </p:cNvPr>
                <p:cNvSpPr/>
                <p:nvPr/>
              </p:nvSpPr>
              <p:spPr>
                <a:xfrm>
                  <a:off x="4105001" y="3456868"/>
                  <a:ext cx="364819" cy="141140"/>
                </a:xfrm>
                <a:prstGeom prst="round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a:solidFill>
                        <a:schemeClr val="bg1"/>
                      </a:solidFill>
                      <a:latin typeface="CiscoSansTT" panose="020B0503020201020303" pitchFamily="34" charset="0"/>
                      <a:cs typeface="CiscoSansTT" panose="020B0503020201020303" pitchFamily="34" charset="0"/>
                    </a:rPr>
                    <a:t>task</a:t>
                  </a:r>
                </a:p>
              </p:txBody>
            </p:sp>
            <p:sp>
              <p:nvSpPr>
                <p:cNvPr id="2011" name="Isosceles Triangle 49">
                  <a:extLst>
                    <a:ext uri="{FF2B5EF4-FFF2-40B4-BE49-F238E27FC236}">
                      <a16:creationId xmlns:a16="http://schemas.microsoft.com/office/drawing/2014/main" id="{0685AD94-30B5-BB49-99A2-6FCFEB021655}"/>
                    </a:ext>
                  </a:extLst>
                </p:cNvPr>
                <p:cNvSpPr>
                  <a:spLocks noChangeAspect="1"/>
                </p:cNvSpPr>
                <p:nvPr/>
              </p:nvSpPr>
              <p:spPr>
                <a:xfrm rot="10800000">
                  <a:off x="4256610" y="3445468"/>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2012" name="Isosceles Triangle 49">
                  <a:extLst>
                    <a:ext uri="{FF2B5EF4-FFF2-40B4-BE49-F238E27FC236}">
                      <a16:creationId xmlns:a16="http://schemas.microsoft.com/office/drawing/2014/main" id="{E7E6A973-4D27-7A44-9190-D53751BF6828}"/>
                    </a:ext>
                  </a:extLst>
                </p:cNvPr>
                <p:cNvSpPr>
                  <a:spLocks noChangeAspect="1"/>
                </p:cNvSpPr>
                <p:nvPr/>
              </p:nvSpPr>
              <p:spPr>
                <a:xfrm rot="10800000">
                  <a:off x="3838331" y="3442589"/>
                  <a:ext cx="62531" cy="5178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6350" cap="flat" cmpd="sng" algn="ctr">
                  <a:solidFill>
                    <a:schemeClr val="bg1">
                      <a:lumMod val="65000"/>
                    </a:schemeClr>
                  </a:solidFill>
                  <a:prstDash val="solid"/>
                  <a:miter lim="800000"/>
                  <a:headEnd type="triangle" w="med" len="med"/>
                  <a:tailEnd type="none" w="med" len="med"/>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sp>
            <p:nvSpPr>
              <p:cNvPr id="421" name="Rectangle 420">
                <a:extLst>
                  <a:ext uri="{FF2B5EF4-FFF2-40B4-BE49-F238E27FC236}">
                    <a16:creationId xmlns:a16="http://schemas.microsoft.com/office/drawing/2014/main" id="{95AF1A0B-3F93-024B-8AE7-131F658D39B7}"/>
                  </a:ext>
                </a:extLst>
              </p:cNvPr>
              <p:cNvSpPr/>
              <p:nvPr/>
            </p:nvSpPr>
            <p:spPr>
              <a:xfrm>
                <a:off x="3507004" y="4434424"/>
                <a:ext cx="1560811" cy="215444"/>
              </a:xfrm>
              <a:prstGeom prst="rect">
                <a:avLst/>
              </a:prstGeom>
            </p:spPr>
            <p:txBody>
              <a:bodyPr wrap="square" lIns="0" rIns="0">
                <a:spAutoFit/>
              </a:bodyPr>
              <a:lstStyle/>
              <a:p>
                <a:pPr algn="ctr"/>
                <a:r>
                  <a:rPr lang="en-US" sz="800" kern="0">
                    <a:solidFill>
                      <a:schemeClr val="bg1">
                        <a:lumMod val="50000"/>
                      </a:schemeClr>
                    </a:solidFill>
                    <a:cs typeface="CiscoSansTT" panose="020B0503020201020303" pitchFamily="34" charset="0"/>
                  </a:rPr>
                  <a:t>Cisco or non-Cisco infrastructure</a:t>
                </a:r>
                <a:endParaRPr lang="en-US" sz="800">
                  <a:solidFill>
                    <a:schemeClr val="bg1">
                      <a:lumMod val="50000"/>
                    </a:schemeClr>
                  </a:solidFill>
                  <a:cs typeface="CiscoSansTT" panose="020B0503020201020303" pitchFamily="34" charset="0"/>
                </a:endParaRPr>
              </a:p>
            </p:txBody>
          </p:sp>
        </p:grpSp>
      </p:grpSp>
    </p:spTree>
    <p:extLst>
      <p:ext uri="{BB962C8B-B14F-4D97-AF65-F5344CB8AC3E}">
        <p14:creationId xmlns:p14="http://schemas.microsoft.com/office/powerpoint/2010/main" val="531020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3F7C1-5A2B-9942-A762-3CFD1231120B}"/>
              </a:ext>
            </a:extLst>
          </p:cNvPr>
          <p:cNvSpPr>
            <a:spLocks noGrp="1"/>
          </p:cNvSpPr>
          <p:nvPr>
            <p:ph type="title"/>
          </p:nvPr>
        </p:nvSpPr>
        <p:spPr/>
        <p:txBody>
          <a:bodyPr/>
          <a:lstStyle/>
          <a:p>
            <a:r>
              <a:rPr lang="en-US">
                <a:solidFill>
                  <a:schemeClr val="tx2"/>
                </a:solidFill>
                <a:latin typeface="CiscoSansTT" panose="020B0503020201020303" pitchFamily="34" charset="0"/>
                <a:cs typeface="CiscoSansTT" panose="020B0503020201020303" pitchFamily="34" charset="0"/>
              </a:rPr>
              <a:t>Meaningful</a:t>
            </a:r>
            <a:r>
              <a:rPr lang="en-US"/>
              <a:t> integrations with your investments </a:t>
            </a:r>
            <a:br>
              <a:rPr lang="en-US"/>
            </a:br>
            <a:r>
              <a:rPr lang="en-US" sz="2000"/>
              <a:t>Not just a simple syslog data dump</a:t>
            </a:r>
            <a:endParaRPr lang="en-US" sz="1600"/>
          </a:p>
        </p:txBody>
      </p:sp>
      <p:grpSp>
        <p:nvGrpSpPr>
          <p:cNvPr id="123" name="Group 122">
            <a:extLst>
              <a:ext uri="{FF2B5EF4-FFF2-40B4-BE49-F238E27FC236}">
                <a16:creationId xmlns:a16="http://schemas.microsoft.com/office/drawing/2014/main" id="{D5D614D2-FE64-3043-9EE2-3EADB5CFA54F}"/>
              </a:ext>
            </a:extLst>
          </p:cNvPr>
          <p:cNvGrpSpPr/>
          <p:nvPr/>
        </p:nvGrpSpPr>
        <p:grpSpPr>
          <a:xfrm>
            <a:off x="374005" y="1310820"/>
            <a:ext cx="8473009" cy="1243913"/>
            <a:chOff x="376086" y="1152548"/>
            <a:chExt cx="8473009" cy="1243913"/>
          </a:xfrm>
        </p:grpSpPr>
        <p:sp>
          <p:nvSpPr>
            <p:cNvPr id="124" name="TextBox 123">
              <a:extLst>
                <a:ext uri="{FF2B5EF4-FFF2-40B4-BE49-F238E27FC236}">
                  <a16:creationId xmlns:a16="http://schemas.microsoft.com/office/drawing/2014/main" id="{ED6E2892-B7B0-DD47-8326-9549C912F98C}"/>
                </a:ext>
              </a:extLst>
            </p:cNvPr>
            <p:cNvSpPr txBox="1"/>
            <p:nvPr/>
          </p:nvSpPr>
          <p:spPr>
            <a:xfrm>
              <a:off x="2483927" y="1152548"/>
              <a:ext cx="2124375" cy="1243913"/>
            </a:xfrm>
            <a:prstGeom prst="rect">
              <a:avLst/>
            </a:prstGeom>
            <a:solidFill>
              <a:schemeClr val="bg2"/>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iscoSansTT" panose="020B0503020201020303" pitchFamily="34" charset="0"/>
                  <a:ea typeface="+mn-ea"/>
                  <a:cs typeface="CiscoSansTT" panose="020B0503020201020303" pitchFamily="34" charset="0"/>
                </a:rPr>
                <a:t>Cisco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CiscoSansTT" panose="020B0503020201020303" pitchFamily="34" charset="0"/>
                  <a:ea typeface="+mn-ea"/>
                  <a:cs typeface="CiscoSansTT" panose="020B0503020201020303" pitchFamily="34" charset="0"/>
                </a:rPr>
                <a:t>infrastructure</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a:ln>
                  <a:noFill/>
                </a:ln>
                <a:solidFill>
                  <a:srgbClr val="005073"/>
                </a:solidFill>
                <a:effectLst/>
                <a:uLnTx/>
                <a:uFillTx/>
                <a:latin typeface="CiscoSansTT ExtraLigh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D274D"/>
                  </a:solidFill>
                  <a:effectLst/>
                  <a:uLnTx/>
                  <a:uFillTx/>
                  <a:latin typeface="CiscoSansTT ExtraLight"/>
                  <a:ea typeface="+mn-ea"/>
                  <a:cs typeface="+mn-cs"/>
                </a:rPr>
                <a:t>Networking, collaboration, server/app, and multicloud management platforms</a:t>
              </a:r>
            </a:p>
          </p:txBody>
        </p:sp>
        <p:sp>
          <p:nvSpPr>
            <p:cNvPr id="125" name="TextBox 124">
              <a:extLst>
                <a:ext uri="{FF2B5EF4-FFF2-40B4-BE49-F238E27FC236}">
                  <a16:creationId xmlns:a16="http://schemas.microsoft.com/office/drawing/2014/main" id="{2EC786F7-C043-8049-8F14-31E1EC9CAEE0}"/>
                </a:ext>
              </a:extLst>
            </p:cNvPr>
            <p:cNvSpPr txBox="1"/>
            <p:nvPr/>
          </p:nvSpPr>
          <p:spPr>
            <a:xfrm>
              <a:off x="4659730" y="1152548"/>
              <a:ext cx="2047024" cy="1243913"/>
            </a:xfrm>
            <a:prstGeom prst="rect">
              <a:avLst/>
            </a:prstGeom>
            <a:solidFill>
              <a:schemeClr val="bg2"/>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CiscoSansTT" panose="020B0503020201020303" pitchFamily="34" charset="0"/>
                  <a:ea typeface="+mn-ea"/>
                  <a:cs typeface="CiscoSansTT" panose="020B0503020201020303" pitchFamily="34" charset="0"/>
                </a:rPr>
                <a:t>Third-party infrastructure</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a:ln>
                  <a:noFill/>
                </a:ln>
                <a:solidFill>
                  <a:srgbClr val="005073"/>
                </a:solidFill>
                <a:effectLst/>
                <a:uLnTx/>
                <a:uFillTx/>
                <a:latin typeface="CiscoSansTT ExtraLigh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D274D"/>
                  </a:solidFill>
                  <a:effectLst/>
                  <a:uLnTx/>
                  <a:uFillTx/>
                  <a:latin typeface="CiscoSansTT ExtraLight"/>
                  <a:ea typeface="+mn-ea"/>
                  <a:cs typeface="+mn-cs"/>
                </a:rPr>
                <a:t>IT service management,</a:t>
              </a:r>
              <a:br>
                <a:rPr kumimoji="0" lang="en-US" sz="1100" b="0" i="0" u="none" strike="noStrike" kern="1200" cap="none" spc="0" normalizeH="0" baseline="0" noProof="0">
                  <a:ln>
                    <a:noFill/>
                  </a:ln>
                  <a:solidFill>
                    <a:srgbClr val="0D274D"/>
                  </a:solidFill>
                  <a:effectLst/>
                  <a:uLnTx/>
                  <a:uFillTx/>
                  <a:latin typeface="CiscoSansTT ExtraLight"/>
                  <a:ea typeface="+mn-ea"/>
                  <a:cs typeface="+mn-cs"/>
                </a:rPr>
              </a:br>
              <a:r>
                <a:rPr kumimoji="0" lang="en-US" sz="1100" b="0" i="0" u="none" strike="noStrike" kern="1200" cap="none" spc="0" normalizeH="0" baseline="0" noProof="0">
                  <a:ln>
                    <a:noFill/>
                  </a:ln>
                  <a:solidFill>
                    <a:srgbClr val="0D274D"/>
                  </a:solidFill>
                  <a:effectLst/>
                  <a:uLnTx/>
                  <a:uFillTx/>
                  <a:latin typeface="CiscoSansTT ExtraLight"/>
                  <a:ea typeface="+mn-ea"/>
                  <a:cs typeface="+mn-cs"/>
                </a:rPr>
                <a:t> and cloud/virtual and</a:t>
              </a:r>
              <a:br>
                <a:rPr kumimoji="0" lang="en-US" sz="1100" b="0" i="0" u="none" strike="noStrike" kern="1200" cap="none" spc="0" normalizeH="0" baseline="0" noProof="0">
                  <a:ln>
                    <a:noFill/>
                  </a:ln>
                  <a:solidFill>
                    <a:srgbClr val="0D274D"/>
                  </a:solidFill>
                  <a:effectLst/>
                  <a:uLnTx/>
                  <a:uFillTx/>
                  <a:latin typeface="CiscoSansTT ExtraLight"/>
                  <a:ea typeface="+mn-ea"/>
                  <a:cs typeface="+mn-cs"/>
                </a:rPr>
              </a:br>
              <a:r>
                <a:rPr kumimoji="0" lang="en-US" sz="1100" b="0" i="0" u="none" strike="noStrike" kern="1200" cap="none" spc="0" normalizeH="0" baseline="0" noProof="0" err="1">
                  <a:ln>
                    <a:noFill/>
                  </a:ln>
                  <a:solidFill>
                    <a:srgbClr val="0D274D"/>
                  </a:solidFill>
                  <a:effectLst/>
                  <a:uLnTx/>
                  <a:uFillTx/>
                  <a:latin typeface="CiscoSansTT ExtraLight"/>
                  <a:ea typeface="+mn-ea"/>
                  <a:cs typeface="+mn-cs"/>
                </a:rPr>
                <a:t>devop</a:t>
              </a:r>
              <a:r>
                <a:rPr kumimoji="0" lang="en-US" sz="1100" b="0" i="0" u="none" strike="noStrike" kern="1200" cap="none" spc="0" normalizeH="0" baseline="0" noProof="0">
                  <a:ln>
                    <a:noFill/>
                  </a:ln>
                  <a:solidFill>
                    <a:srgbClr val="0D274D"/>
                  </a:solidFill>
                  <a:effectLst/>
                  <a:uLnTx/>
                  <a:uFillTx/>
                  <a:latin typeface="CiscoSansTT ExtraLight"/>
                  <a:ea typeface="+mn-ea"/>
                  <a:cs typeface="+mn-cs"/>
                </a:rPr>
                <a:t> platforms</a:t>
              </a:r>
            </a:p>
          </p:txBody>
        </p:sp>
        <p:sp>
          <p:nvSpPr>
            <p:cNvPr id="126" name="TextBox 125">
              <a:extLst>
                <a:ext uri="{FF2B5EF4-FFF2-40B4-BE49-F238E27FC236}">
                  <a16:creationId xmlns:a16="http://schemas.microsoft.com/office/drawing/2014/main" id="{CAECEC66-12D3-2143-B41E-BFB025632FAC}"/>
                </a:ext>
              </a:extLst>
            </p:cNvPr>
            <p:cNvSpPr txBox="1"/>
            <p:nvPr/>
          </p:nvSpPr>
          <p:spPr>
            <a:xfrm>
              <a:off x="6643540" y="1152548"/>
              <a:ext cx="2205555" cy="1243913"/>
            </a:xfrm>
            <a:prstGeom prst="rect">
              <a:avLst/>
            </a:prstGeom>
            <a:solidFill>
              <a:schemeClr val="bg2"/>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effectLst/>
                  <a:uLnTx/>
                  <a:uFillTx/>
                  <a:latin typeface="CiscoSansTT" panose="020B0503020201020303" pitchFamily="34" charset="0"/>
                  <a:ea typeface="+mn-ea"/>
                  <a:cs typeface="CiscoSansTT" panose="020B0503020201020303" pitchFamily="34" charset="0"/>
                </a:rPr>
                <a:t>General infrastructure</a:t>
              </a:r>
            </a:p>
            <a:p>
              <a:pPr marL="0" marR="0" lvl="0" indent="0" algn="ctr" defTabSz="685800" rtl="0" eaLnBrk="1" fontAlgn="auto" latinLnBrk="0" hangingPunct="1">
                <a:lnSpc>
                  <a:spcPct val="100000"/>
                </a:lnSpc>
                <a:spcBef>
                  <a:spcPts val="600"/>
                </a:spcBef>
                <a:spcAft>
                  <a:spcPts val="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a:ea typeface="+mn-ea"/>
                  <a:cs typeface="+mn-cs"/>
                </a:rPr>
                <a:t>Scripting/dev tools, system interfaces, data exchanges, </a:t>
              </a:r>
              <a:br>
                <a:rPr kumimoji="0" lang="en-US" sz="1100" b="0" i="0" u="none" strike="noStrike" kern="1200" cap="none" spc="0" normalizeH="0" baseline="0" noProof="0" dirty="0">
                  <a:ln>
                    <a:noFill/>
                  </a:ln>
                  <a:solidFill>
                    <a:srgbClr val="0D274D"/>
                  </a:solidFill>
                  <a:effectLst/>
                  <a:uLnTx/>
                  <a:uFillTx/>
                  <a:latin typeface="CiscoSansTT ExtraLight"/>
                  <a:ea typeface="+mn-ea"/>
                  <a:cs typeface="+mn-cs"/>
                </a:rPr>
              </a:br>
              <a:r>
                <a:rPr kumimoji="0" lang="en-US" sz="1100" b="0" i="0" u="none" strike="noStrike" kern="1200" cap="none" spc="0" normalizeH="0" baseline="0" noProof="0" dirty="0">
                  <a:ln>
                    <a:noFill/>
                  </a:ln>
                  <a:solidFill>
                    <a:srgbClr val="0D274D"/>
                  </a:solidFill>
                  <a:effectLst/>
                  <a:uLnTx/>
                  <a:uFillTx/>
                  <a:latin typeface="CiscoSansTT ExtraLight"/>
                  <a:ea typeface="+mn-ea"/>
                  <a:cs typeface="+mn-cs"/>
                </a:rPr>
                <a:t>and messaging protocols</a:t>
              </a:r>
            </a:p>
          </p:txBody>
        </p:sp>
        <p:sp>
          <p:nvSpPr>
            <p:cNvPr id="127" name="TextBox 126">
              <a:extLst>
                <a:ext uri="{FF2B5EF4-FFF2-40B4-BE49-F238E27FC236}">
                  <a16:creationId xmlns:a16="http://schemas.microsoft.com/office/drawing/2014/main" id="{4951DB1E-43C4-4A43-8457-468A42D49DBD}"/>
                </a:ext>
              </a:extLst>
            </p:cNvPr>
            <p:cNvSpPr txBox="1"/>
            <p:nvPr/>
          </p:nvSpPr>
          <p:spPr>
            <a:xfrm>
              <a:off x="376086" y="1152548"/>
              <a:ext cx="2124375" cy="1243913"/>
            </a:xfrm>
            <a:prstGeom prst="rect">
              <a:avLst/>
            </a:prstGeom>
            <a:solidFill>
              <a:schemeClr val="bg2"/>
            </a:solid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CiscoSansTT" panose="020B0503020201020303" pitchFamily="34" charset="0"/>
                  <a:ea typeface="+mn-ea"/>
                  <a:cs typeface="CiscoSansTT" panose="020B0503020201020303" pitchFamily="34" charset="0"/>
                </a:rPr>
                <a:t>Third-party</a:t>
              </a:r>
              <a:br>
                <a:rPr kumimoji="0" lang="en-US" sz="1800" b="0" i="0" u="none" strike="noStrike" kern="1200" cap="none" spc="0" normalizeH="0" baseline="0" noProof="0">
                  <a:ln>
                    <a:noFill/>
                  </a:ln>
                  <a:solidFill>
                    <a:schemeClr val="tx2"/>
                  </a:solidFill>
                  <a:effectLst/>
                  <a:uLnTx/>
                  <a:uFillTx/>
                  <a:latin typeface="CiscoSansTT" panose="020B0503020201020303" pitchFamily="34" charset="0"/>
                  <a:ea typeface="+mn-ea"/>
                  <a:cs typeface="CiscoSansTT" panose="020B0503020201020303" pitchFamily="34" charset="0"/>
                </a:rPr>
              </a:br>
              <a:r>
                <a:rPr kumimoji="0" lang="en-US" sz="1800" b="0" i="0" u="none" strike="noStrike" kern="1200" cap="none" spc="0" normalizeH="0" baseline="0" noProof="0">
                  <a:ln>
                    <a:noFill/>
                  </a:ln>
                  <a:solidFill>
                    <a:schemeClr val="tx2"/>
                  </a:solidFill>
                  <a:effectLst/>
                  <a:uLnTx/>
                  <a:uFillTx/>
                  <a:latin typeface="CiscoSansTT" panose="020B0503020201020303" pitchFamily="34" charset="0"/>
                  <a:ea typeface="+mn-ea"/>
                  <a:cs typeface="CiscoSansTT" panose="020B0503020201020303" pitchFamily="34" charset="0"/>
                </a:rPr>
                <a:t>security</a:t>
              </a:r>
            </a:p>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375" b="0" i="0" u="none" strike="noStrike" kern="1200" cap="none" spc="0" normalizeH="0" baseline="0" noProof="0">
                <a:ln>
                  <a:noFill/>
                </a:ln>
                <a:solidFill>
                  <a:srgbClr val="005073"/>
                </a:solidFill>
                <a:effectLst/>
                <a:uLnTx/>
                <a:uFillTx/>
                <a:latin typeface="CiscoSansTT ExtraLight"/>
                <a:ea typeface="+mn-ea"/>
                <a:cs typeface="+mn-cs"/>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D274D"/>
                  </a:solidFill>
                  <a:effectLst/>
                  <a:uLnTx/>
                  <a:uFillTx/>
                  <a:latin typeface="CiscoSansTT ExtraLight"/>
                  <a:ea typeface="+mn-ea"/>
                  <a:cs typeface="+mn-cs"/>
                </a:rPr>
                <a:t>Operational tools, intelligence sources, infrastructure protections and visibility</a:t>
              </a:r>
            </a:p>
          </p:txBody>
        </p:sp>
        <p:grpSp>
          <p:nvGrpSpPr>
            <p:cNvPr id="128" name="Group 127">
              <a:extLst>
                <a:ext uri="{FF2B5EF4-FFF2-40B4-BE49-F238E27FC236}">
                  <a16:creationId xmlns:a16="http://schemas.microsoft.com/office/drawing/2014/main" id="{7946A790-E972-4C48-A989-8A3886B16B27}"/>
                </a:ext>
              </a:extLst>
            </p:cNvPr>
            <p:cNvGrpSpPr/>
            <p:nvPr/>
          </p:nvGrpSpPr>
          <p:grpSpPr>
            <a:xfrm>
              <a:off x="2515303" y="1448662"/>
              <a:ext cx="34819" cy="701298"/>
              <a:chOff x="3706065" y="1010459"/>
              <a:chExt cx="56431" cy="3338595"/>
            </a:xfrm>
          </p:grpSpPr>
          <p:cxnSp>
            <p:nvCxnSpPr>
              <p:cNvPr id="135" name="Straight Connector 134">
                <a:extLst>
                  <a:ext uri="{FF2B5EF4-FFF2-40B4-BE49-F238E27FC236}">
                    <a16:creationId xmlns:a16="http://schemas.microsoft.com/office/drawing/2014/main" id="{9C4D3E26-9615-DF41-9FED-1F26E3F5FF3E}"/>
                  </a:ext>
                </a:extLst>
              </p:cNvPr>
              <p:cNvCxnSpPr>
                <a:cxnSpLocks/>
              </p:cNvCxnSpPr>
              <p:nvPr/>
            </p:nvCxnSpPr>
            <p:spPr>
              <a:xfrm rot="16200000">
                <a:off x="2380868" y="3023857"/>
                <a:ext cx="2650394" cy="0"/>
              </a:xfrm>
              <a:prstGeom prst="line">
                <a:avLst/>
              </a:prstGeom>
              <a:ln w="12700">
                <a:solidFill>
                  <a:schemeClr val="accent4">
                    <a:alpha val="60000"/>
                  </a:scheme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84C0A39-5046-A745-9A02-E50A0F85986F}"/>
                  </a:ext>
                </a:extLst>
              </p:cNvPr>
              <p:cNvCxnSpPr>
                <a:cxnSpLocks/>
              </p:cNvCxnSpPr>
              <p:nvPr/>
            </p:nvCxnSpPr>
            <p:spPr>
              <a:xfrm flipV="1">
                <a:off x="3762496" y="1010459"/>
                <a:ext cx="0" cy="3059633"/>
              </a:xfrm>
              <a:prstGeom prst="line">
                <a:avLst/>
              </a:prstGeom>
              <a:ln w="12700">
                <a:solidFill>
                  <a:schemeClr val="accent2">
                    <a:alpha val="60000"/>
                  </a:schemeClr>
                </a:solidFill>
              </a:ln>
            </p:spPr>
            <p:style>
              <a:lnRef idx="1">
                <a:schemeClr val="accent1"/>
              </a:lnRef>
              <a:fillRef idx="0">
                <a:schemeClr val="accent1"/>
              </a:fillRef>
              <a:effectRef idx="0">
                <a:schemeClr val="accent1"/>
              </a:effectRef>
              <a:fontRef idx="minor">
                <a:schemeClr val="tx1"/>
              </a:fontRef>
            </p:style>
          </p:cxnSp>
        </p:grpSp>
        <p:grpSp>
          <p:nvGrpSpPr>
            <p:cNvPr id="129" name="Group 128">
              <a:extLst>
                <a:ext uri="{FF2B5EF4-FFF2-40B4-BE49-F238E27FC236}">
                  <a16:creationId xmlns:a16="http://schemas.microsoft.com/office/drawing/2014/main" id="{0E4B5B38-FBE7-0B4A-93A5-09F9B420A8A4}"/>
                </a:ext>
              </a:extLst>
            </p:cNvPr>
            <p:cNvGrpSpPr/>
            <p:nvPr/>
          </p:nvGrpSpPr>
          <p:grpSpPr>
            <a:xfrm>
              <a:off x="4575249" y="1448662"/>
              <a:ext cx="34819" cy="701298"/>
              <a:chOff x="3706065" y="1010459"/>
              <a:chExt cx="56431" cy="3338595"/>
            </a:xfrm>
          </p:grpSpPr>
          <p:cxnSp>
            <p:nvCxnSpPr>
              <p:cNvPr id="133" name="Straight Connector 132">
                <a:extLst>
                  <a:ext uri="{FF2B5EF4-FFF2-40B4-BE49-F238E27FC236}">
                    <a16:creationId xmlns:a16="http://schemas.microsoft.com/office/drawing/2014/main" id="{762F6EFC-89BF-F041-A1DE-F5D53A63FCE2}"/>
                  </a:ext>
                </a:extLst>
              </p:cNvPr>
              <p:cNvCxnSpPr>
                <a:cxnSpLocks/>
              </p:cNvCxnSpPr>
              <p:nvPr/>
            </p:nvCxnSpPr>
            <p:spPr>
              <a:xfrm rot="16200000">
                <a:off x="2380868" y="3023857"/>
                <a:ext cx="2650394" cy="0"/>
              </a:xfrm>
              <a:prstGeom prst="line">
                <a:avLst/>
              </a:prstGeom>
              <a:ln w="12700">
                <a:solidFill>
                  <a:schemeClr val="accent4">
                    <a:alpha val="60000"/>
                  </a:scheme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EF7D4EC-025E-874B-869D-26E496F220FF}"/>
                  </a:ext>
                </a:extLst>
              </p:cNvPr>
              <p:cNvCxnSpPr>
                <a:cxnSpLocks/>
              </p:cNvCxnSpPr>
              <p:nvPr/>
            </p:nvCxnSpPr>
            <p:spPr>
              <a:xfrm flipV="1">
                <a:off x="3762496" y="1010459"/>
                <a:ext cx="0" cy="3059633"/>
              </a:xfrm>
              <a:prstGeom prst="line">
                <a:avLst/>
              </a:prstGeom>
              <a:ln w="12700">
                <a:solidFill>
                  <a:schemeClr val="accent2">
                    <a:alpha val="60000"/>
                  </a:schemeClr>
                </a:solidFill>
              </a:ln>
            </p:spPr>
            <p:style>
              <a:lnRef idx="1">
                <a:schemeClr val="accent1"/>
              </a:lnRef>
              <a:fillRef idx="0">
                <a:schemeClr val="accent1"/>
              </a:fillRef>
              <a:effectRef idx="0">
                <a:schemeClr val="accent1"/>
              </a:effectRef>
              <a:fontRef idx="minor">
                <a:schemeClr val="tx1"/>
              </a:fontRef>
            </p:style>
          </p:cxnSp>
        </p:grpSp>
        <p:grpSp>
          <p:nvGrpSpPr>
            <p:cNvPr id="130" name="Group 129">
              <a:extLst>
                <a:ext uri="{FF2B5EF4-FFF2-40B4-BE49-F238E27FC236}">
                  <a16:creationId xmlns:a16="http://schemas.microsoft.com/office/drawing/2014/main" id="{F458F906-BF81-9547-A04B-218BAB6BBB6D}"/>
                </a:ext>
              </a:extLst>
            </p:cNvPr>
            <p:cNvGrpSpPr/>
            <p:nvPr/>
          </p:nvGrpSpPr>
          <p:grpSpPr>
            <a:xfrm>
              <a:off x="6617787" y="1419363"/>
              <a:ext cx="44344" cy="701298"/>
              <a:chOff x="3706065" y="1010459"/>
              <a:chExt cx="71868" cy="3338595"/>
            </a:xfrm>
          </p:grpSpPr>
          <p:cxnSp>
            <p:nvCxnSpPr>
              <p:cNvPr id="131" name="Straight Connector 130">
                <a:extLst>
                  <a:ext uri="{FF2B5EF4-FFF2-40B4-BE49-F238E27FC236}">
                    <a16:creationId xmlns:a16="http://schemas.microsoft.com/office/drawing/2014/main" id="{BE177A31-885A-4842-9EEE-77313909A0BF}"/>
                  </a:ext>
                </a:extLst>
              </p:cNvPr>
              <p:cNvCxnSpPr>
                <a:cxnSpLocks/>
              </p:cNvCxnSpPr>
              <p:nvPr/>
            </p:nvCxnSpPr>
            <p:spPr>
              <a:xfrm rot="16200000">
                <a:off x="2380868" y="3023857"/>
                <a:ext cx="2650394" cy="0"/>
              </a:xfrm>
              <a:prstGeom prst="line">
                <a:avLst/>
              </a:prstGeom>
              <a:ln w="12700">
                <a:solidFill>
                  <a:schemeClr val="accent4">
                    <a:alpha val="60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23D17E19-3114-C245-B081-850702B78A8E}"/>
                  </a:ext>
                </a:extLst>
              </p:cNvPr>
              <p:cNvCxnSpPr>
                <a:cxnSpLocks/>
              </p:cNvCxnSpPr>
              <p:nvPr/>
            </p:nvCxnSpPr>
            <p:spPr>
              <a:xfrm flipV="1">
                <a:off x="3777933" y="1010459"/>
                <a:ext cx="0" cy="3059634"/>
              </a:xfrm>
              <a:prstGeom prst="line">
                <a:avLst/>
              </a:prstGeom>
              <a:ln w="12700">
                <a:solidFill>
                  <a:schemeClr val="accent2">
                    <a:alpha val="60000"/>
                  </a:schemeClr>
                </a:solidFill>
              </a:ln>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81F0E440-45DF-1441-81F5-2367DEB435FD}"/>
              </a:ext>
            </a:extLst>
          </p:cNvPr>
          <p:cNvGrpSpPr/>
          <p:nvPr/>
        </p:nvGrpSpPr>
        <p:grpSpPr>
          <a:xfrm>
            <a:off x="544442" y="2675500"/>
            <a:ext cx="8087494" cy="1824889"/>
            <a:chOff x="544442" y="2675500"/>
            <a:chExt cx="8087494" cy="1824889"/>
          </a:xfrm>
        </p:grpSpPr>
        <p:sp>
          <p:nvSpPr>
            <p:cNvPr id="70" name="Rounded Rectangle 69">
              <a:extLst>
                <a:ext uri="{FF2B5EF4-FFF2-40B4-BE49-F238E27FC236}">
                  <a16:creationId xmlns:a16="http://schemas.microsoft.com/office/drawing/2014/main" id="{8949025B-542E-9E45-A575-6930ABC05715}"/>
                </a:ext>
              </a:extLst>
            </p:cNvPr>
            <p:cNvSpPr/>
            <p:nvPr/>
          </p:nvSpPr>
          <p:spPr>
            <a:xfrm>
              <a:off x="544442" y="2675500"/>
              <a:ext cx="8087494" cy="1824889"/>
            </a:xfrm>
            <a:prstGeom prst="roundRect">
              <a:avLst>
                <a:gd name="adj" fmla="val 10565"/>
              </a:avLst>
            </a:prstGeom>
            <a:noFill/>
            <a:ln>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71" name="Picture 70">
              <a:extLst>
                <a:ext uri="{FF2B5EF4-FFF2-40B4-BE49-F238E27FC236}">
                  <a16:creationId xmlns:a16="http://schemas.microsoft.com/office/drawing/2014/main" id="{7FD84E7E-5C6D-724E-82FB-6F5C7DDB4EF7}"/>
                </a:ext>
              </a:extLst>
            </p:cNvPr>
            <p:cNvPicPr>
              <a:picLocks noChangeAspect="1"/>
            </p:cNvPicPr>
            <p:nvPr/>
          </p:nvPicPr>
          <p:blipFill rotWithShape="1">
            <a:blip r:embed="rId2" cstate="email">
              <a:grayscl/>
              <a:extLst>
                <a:ext uri="{28A0092B-C50C-407E-A947-70E740481C1C}">
                  <a14:useLocalDpi xmlns:a14="http://schemas.microsoft.com/office/drawing/2010/main"/>
                </a:ext>
              </a:extLst>
            </a:blip>
            <a:srcRect/>
            <a:stretch/>
          </p:blipFill>
          <p:spPr>
            <a:xfrm>
              <a:off x="690469" y="2778000"/>
              <a:ext cx="1193555" cy="210322"/>
            </a:xfrm>
            <a:prstGeom prst="rect">
              <a:avLst/>
            </a:prstGeom>
          </p:spPr>
        </p:pic>
        <p:pic>
          <p:nvPicPr>
            <p:cNvPr id="72" name="Picture 71">
              <a:extLst>
                <a:ext uri="{FF2B5EF4-FFF2-40B4-BE49-F238E27FC236}">
                  <a16:creationId xmlns:a16="http://schemas.microsoft.com/office/drawing/2014/main" id="{BB1ADF20-A5F7-DD4B-9FAB-13985E49E8C9}"/>
                </a:ext>
              </a:extLst>
            </p:cNvPr>
            <p:cNvPicPr>
              <a:picLocks noChangeAspect="1"/>
            </p:cNvPicPr>
            <p:nvPr/>
          </p:nvPicPr>
          <p:blipFill>
            <a:blip r:embed="rId3" cstate="email">
              <a:grayscl/>
              <a:extLst>
                <a:ext uri="{28A0092B-C50C-407E-A947-70E740481C1C}">
                  <a14:useLocalDpi xmlns:a14="http://schemas.microsoft.com/office/drawing/2010/main"/>
                </a:ext>
              </a:extLst>
            </a:blip>
            <a:stretch>
              <a:fillRect/>
            </a:stretch>
          </p:blipFill>
          <p:spPr>
            <a:xfrm>
              <a:off x="1997691" y="2747533"/>
              <a:ext cx="709673" cy="269412"/>
            </a:xfrm>
            <a:prstGeom prst="rect">
              <a:avLst/>
            </a:prstGeom>
          </p:spPr>
        </p:pic>
        <p:pic>
          <p:nvPicPr>
            <p:cNvPr id="73" name="Picture 72">
              <a:extLst>
                <a:ext uri="{FF2B5EF4-FFF2-40B4-BE49-F238E27FC236}">
                  <a16:creationId xmlns:a16="http://schemas.microsoft.com/office/drawing/2014/main" id="{7232CFA2-1D65-4C40-97E6-D43A906058EB}"/>
                </a:ext>
              </a:extLst>
            </p:cNvPr>
            <p:cNvPicPr>
              <a:picLocks noChangeAspect="1"/>
            </p:cNvPicPr>
            <p:nvPr/>
          </p:nvPicPr>
          <p:blipFill>
            <a:blip r:embed="rId4" cstate="email">
              <a:grayscl/>
              <a:extLst>
                <a:ext uri="{28A0092B-C50C-407E-A947-70E740481C1C}">
                  <a14:useLocalDpi xmlns:a14="http://schemas.microsoft.com/office/drawing/2010/main"/>
                </a:ext>
              </a:extLst>
            </a:blip>
            <a:stretch>
              <a:fillRect/>
            </a:stretch>
          </p:blipFill>
          <p:spPr>
            <a:xfrm>
              <a:off x="2821031" y="2803887"/>
              <a:ext cx="922333" cy="206835"/>
            </a:xfrm>
            <a:prstGeom prst="rect">
              <a:avLst/>
            </a:prstGeom>
          </p:spPr>
        </p:pic>
        <p:pic>
          <p:nvPicPr>
            <p:cNvPr id="74" name="Picture 73">
              <a:extLst>
                <a:ext uri="{FF2B5EF4-FFF2-40B4-BE49-F238E27FC236}">
                  <a16:creationId xmlns:a16="http://schemas.microsoft.com/office/drawing/2014/main" id="{9AB575C6-E709-A641-B2D3-BFEE4BCEB839}"/>
                </a:ext>
              </a:extLst>
            </p:cNvPr>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a:off x="3857031" y="2866922"/>
              <a:ext cx="931603" cy="118539"/>
            </a:xfrm>
            <a:prstGeom prst="rect">
              <a:avLst/>
            </a:prstGeom>
          </p:spPr>
        </p:pic>
        <p:pic>
          <p:nvPicPr>
            <p:cNvPr id="75" name="Picture 74">
              <a:extLst>
                <a:ext uri="{FF2B5EF4-FFF2-40B4-BE49-F238E27FC236}">
                  <a16:creationId xmlns:a16="http://schemas.microsoft.com/office/drawing/2014/main" id="{0DAFC6B7-6891-DD47-A6D9-5B422E1C734C}"/>
                </a:ext>
              </a:extLst>
            </p:cNvPr>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4902301" y="2823287"/>
              <a:ext cx="361325" cy="216193"/>
            </a:xfrm>
            <a:prstGeom prst="rect">
              <a:avLst/>
            </a:prstGeom>
          </p:spPr>
        </p:pic>
        <p:pic>
          <p:nvPicPr>
            <p:cNvPr id="76" name="Picture 75">
              <a:extLst>
                <a:ext uri="{FF2B5EF4-FFF2-40B4-BE49-F238E27FC236}">
                  <a16:creationId xmlns:a16="http://schemas.microsoft.com/office/drawing/2014/main" id="{050010D9-7B8E-C745-BC13-EC13FF5C46AC}"/>
                </a:ext>
              </a:extLst>
            </p:cNvPr>
            <p:cNvPicPr>
              <a:picLocks noChangeAspect="1"/>
            </p:cNvPicPr>
            <p:nvPr/>
          </p:nvPicPr>
          <p:blipFill>
            <a:blip r:embed="rId7" cstate="email">
              <a:grayscl/>
              <a:extLst>
                <a:ext uri="{28A0092B-C50C-407E-A947-70E740481C1C}">
                  <a14:useLocalDpi xmlns:a14="http://schemas.microsoft.com/office/drawing/2010/main"/>
                </a:ext>
              </a:extLst>
            </a:blip>
            <a:stretch>
              <a:fillRect/>
            </a:stretch>
          </p:blipFill>
          <p:spPr>
            <a:xfrm>
              <a:off x="3680645" y="3043405"/>
              <a:ext cx="674824" cy="361671"/>
            </a:xfrm>
            <a:prstGeom prst="rect">
              <a:avLst/>
            </a:prstGeom>
          </p:spPr>
        </p:pic>
        <p:pic>
          <p:nvPicPr>
            <p:cNvPr id="77" name="Picture 76">
              <a:extLst>
                <a:ext uri="{FF2B5EF4-FFF2-40B4-BE49-F238E27FC236}">
                  <a16:creationId xmlns:a16="http://schemas.microsoft.com/office/drawing/2014/main" id="{1FCDBC3A-C2F7-E045-8260-B88C39EBC703}"/>
                </a:ext>
              </a:extLst>
            </p:cNvPr>
            <p:cNvPicPr>
              <a:picLocks noChangeAspect="1"/>
            </p:cNvPicPr>
            <p:nvPr/>
          </p:nvPicPr>
          <p:blipFill>
            <a:blip r:embed="rId8" cstate="email">
              <a:grayscl/>
              <a:extLst>
                <a:ext uri="{28A0092B-C50C-407E-A947-70E740481C1C}">
                  <a14:useLocalDpi xmlns:a14="http://schemas.microsoft.com/office/drawing/2010/main"/>
                </a:ext>
              </a:extLst>
            </a:blip>
            <a:stretch>
              <a:fillRect/>
            </a:stretch>
          </p:blipFill>
          <p:spPr>
            <a:xfrm>
              <a:off x="690469" y="3062999"/>
              <a:ext cx="926515" cy="200562"/>
            </a:xfrm>
            <a:prstGeom prst="rect">
              <a:avLst/>
            </a:prstGeom>
          </p:spPr>
        </p:pic>
        <p:pic>
          <p:nvPicPr>
            <p:cNvPr id="78" name="Graphic 77">
              <a:extLst>
                <a:ext uri="{FF2B5EF4-FFF2-40B4-BE49-F238E27FC236}">
                  <a16:creationId xmlns:a16="http://schemas.microsoft.com/office/drawing/2014/main" id="{3B0E8A91-4E12-9B4B-A8DC-318DDF91038B}"/>
                </a:ext>
              </a:extLst>
            </p:cNvPr>
            <p:cNvPicPr>
              <a:picLocks noChangeAspect="1"/>
            </p:cNvPicPr>
            <p:nvPr/>
          </p:nvPicPr>
          <p:blipFill>
            <a:blip r:embed="rId9" cstate="email">
              <a:graysc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580258" y="3090137"/>
              <a:ext cx="942732" cy="146286"/>
            </a:xfrm>
            <a:prstGeom prst="rect">
              <a:avLst/>
            </a:prstGeom>
          </p:spPr>
        </p:pic>
        <p:pic>
          <p:nvPicPr>
            <p:cNvPr id="79" name="Picture 78">
              <a:extLst>
                <a:ext uri="{FF2B5EF4-FFF2-40B4-BE49-F238E27FC236}">
                  <a16:creationId xmlns:a16="http://schemas.microsoft.com/office/drawing/2014/main" id="{B1230EAA-7E1E-0341-98A1-F10D185F1ACE}"/>
                </a:ext>
              </a:extLst>
            </p:cNvPr>
            <p:cNvPicPr>
              <a:picLocks noChangeAspect="1"/>
            </p:cNvPicPr>
            <p:nvPr/>
          </p:nvPicPr>
          <p:blipFill rotWithShape="1">
            <a:blip r:embed="rId11" cstate="emai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a:stretch/>
          </p:blipFill>
          <p:spPr>
            <a:xfrm>
              <a:off x="1774639" y="3041691"/>
              <a:ext cx="647964" cy="243178"/>
            </a:xfrm>
            <a:prstGeom prst="rect">
              <a:avLst/>
            </a:prstGeom>
          </p:spPr>
        </p:pic>
        <p:pic>
          <p:nvPicPr>
            <p:cNvPr id="80" name="Picture 79">
              <a:extLst>
                <a:ext uri="{FF2B5EF4-FFF2-40B4-BE49-F238E27FC236}">
                  <a16:creationId xmlns:a16="http://schemas.microsoft.com/office/drawing/2014/main" id="{52E176F2-3E4E-794D-BCCB-9768FF606CB7}"/>
                </a:ext>
              </a:extLst>
            </p:cNvPr>
            <p:cNvPicPr>
              <a:picLocks noChangeAspect="1"/>
            </p:cNvPicPr>
            <p:nvPr/>
          </p:nvPicPr>
          <p:blipFill rotWithShape="1">
            <a:blip r:embed="rId13" cstate="email">
              <a:grayscl/>
              <a:extLst>
                <a:ext uri="{28A0092B-C50C-407E-A947-70E740481C1C}">
                  <a14:useLocalDpi xmlns:a14="http://schemas.microsoft.com/office/drawing/2010/main"/>
                </a:ext>
              </a:extLst>
            </a:blip>
            <a:srcRect/>
            <a:stretch/>
          </p:blipFill>
          <p:spPr>
            <a:xfrm>
              <a:off x="4513124" y="3113904"/>
              <a:ext cx="706514" cy="205432"/>
            </a:xfrm>
            <a:prstGeom prst="rect">
              <a:avLst/>
            </a:prstGeom>
          </p:spPr>
        </p:pic>
        <p:pic>
          <p:nvPicPr>
            <p:cNvPr id="81" name="Picture 80">
              <a:extLst>
                <a:ext uri="{FF2B5EF4-FFF2-40B4-BE49-F238E27FC236}">
                  <a16:creationId xmlns:a16="http://schemas.microsoft.com/office/drawing/2014/main" id="{01B4FA29-04FF-B54E-9358-F59F930FD9C2}"/>
                </a:ext>
              </a:extLst>
            </p:cNvPr>
            <p:cNvPicPr>
              <a:picLocks noChangeAspect="1"/>
            </p:cNvPicPr>
            <p:nvPr/>
          </p:nvPicPr>
          <p:blipFill>
            <a:blip r:embed="rId14" cstate="email">
              <a:grayscl/>
              <a:extLst>
                <a:ext uri="{28A0092B-C50C-407E-A947-70E740481C1C}">
                  <a14:useLocalDpi xmlns:a14="http://schemas.microsoft.com/office/drawing/2010/main"/>
                </a:ext>
              </a:extLst>
            </a:blip>
            <a:stretch>
              <a:fillRect/>
            </a:stretch>
          </p:blipFill>
          <p:spPr>
            <a:xfrm>
              <a:off x="3239215" y="3416459"/>
              <a:ext cx="922333" cy="134057"/>
            </a:xfrm>
            <a:prstGeom prst="rect">
              <a:avLst/>
            </a:prstGeom>
          </p:spPr>
        </p:pic>
        <p:pic>
          <p:nvPicPr>
            <p:cNvPr id="82" name="Picture 81">
              <a:extLst>
                <a:ext uri="{FF2B5EF4-FFF2-40B4-BE49-F238E27FC236}">
                  <a16:creationId xmlns:a16="http://schemas.microsoft.com/office/drawing/2014/main" id="{EB9AC950-C0A0-224E-A293-C9C837C25757}"/>
                </a:ext>
              </a:extLst>
            </p:cNvPr>
            <p:cNvPicPr>
              <a:picLocks noChangeAspect="1"/>
            </p:cNvPicPr>
            <p:nvPr/>
          </p:nvPicPr>
          <p:blipFill rotWithShape="1">
            <a:blip r:embed="rId15" cstate="email">
              <a:grayscl/>
              <a:extLst>
                <a:ext uri="{28A0092B-C50C-407E-A947-70E740481C1C}">
                  <a14:useLocalDpi xmlns:a14="http://schemas.microsoft.com/office/drawing/2010/main"/>
                </a:ext>
              </a:extLst>
            </a:blip>
            <a:srcRect l="12339" t="5312" r="9468" b="21479"/>
            <a:stretch/>
          </p:blipFill>
          <p:spPr>
            <a:xfrm>
              <a:off x="1628378" y="3369187"/>
              <a:ext cx="717551" cy="228600"/>
            </a:xfrm>
            <a:prstGeom prst="rect">
              <a:avLst/>
            </a:prstGeom>
          </p:spPr>
        </p:pic>
        <p:pic>
          <p:nvPicPr>
            <p:cNvPr id="83" name="Picture 82">
              <a:extLst>
                <a:ext uri="{FF2B5EF4-FFF2-40B4-BE49-F238E27FC236}">
                  <a16:creationId xmlns:a16="http://schemas.microsoft.com/office/drawing/2014/main" id="{20A90CDE-E84C-2C46-AE59-3AB000F4DD26}"/>
                </a:ext>
              </a:extLst>
            </p:cNvPr>
            <p:cNvPicPr>
              <a:picLocks noChangeAspect="1"/>
            </p:cNvPicPr>
            <p:nvPr/>
          </p:nvPicPr>
          <p:blipFill rotWithShape="1">
            <a:blip r:embed="rId16" cstate="email">
              <a:grayscl/>
              <a:extLst>
                <a:ext uri="{28A0092B-C50C-407E-A947-70E740481C1C}">
                  <a14:useLocalDpi xmlns:a14="http://schemas.microsoft.com/office/drawing/2010/main"/>
                </a:ext>
              </a:extLst>
            </a:blip>
            <a:srcRect/>
            <a:stretch/>
          </p:blipFill>
          <p:spPr>
            <a:xfrm>
              <a:off x="2497297" y="3432687"/>
              <a:ext cx="590550" cy="101601"/>
            </a:xfrm>
            <a:prstGeom prst="rect">
              <a:avLst/>
            </a:prstGeom>
          </p:spPr>
        </p:pic>
        <p:pic>
          <p:nvPicPr>
            <p:cNvPr id="84" name="Picture 83">
              <a:extLst>
                <a:ext uri="{FF2B5EF4-FFF2-40B4-BE49-F238E27FC236}">
                  <a16:creationId xmlns:a16="http://schemas.microsoft.com/office/drawing/2014/main" id="{D8B1AE07-1CF0-FB46-A827-9CA752BFBE6A}"/>
                </a:ext>
              </a:extLst>
            </p:cNvPr>
            <p:cNvPicPr>
              <a:picLocks noChangeAspect="1"/>
            </p:cNvPicPr>
            <p:nvPr/>
          </p:nvPicPr>
          <p:blipFill rotWithShape="1">
            <a:blip r:embed="rId17" cstate="email">
              <a:grayscl/>
              <a:extLst>
                <a:ext uri="{28A0092B-C50C-407E-A947-70E740481C1C}">
                  <a14:useLocalDpi xmlns:a14="http://schemas.microsoft.com/office/drawing/2010/main"/>
                </a:ext>
              </a:extLst>
            </a:blip>
            <a:srcRect l="6417" t="21689" r="4802" b="26306"/>
            <a:stretch/>
          </p:blipFill>
          <p:spPr>
            <a:xfrm>
              <a:off x="715009" y="3413638"/>
              <a:ext cx="762001" cy="139699"/>
            </a:xfrm>
            <a:prstGeom prst="rect">
              <a:avLst/>
            </a:prstGeom>
          </p:spPr>
        </p:pic>
        <p:pic>
          <p:nvPicPr>
            <p:cNvPr id="86" name="Picture 85">
              <a:extLst>
                <a:ext uri="{FF2B5EF4-FFF2-40B4-BE49-F238E27FC236}">
                  <a16:creationId xmlns:a16="http://schemas.microsoft.com/office/drawing/2014/main" id="{810B79B6-BDD5-504D-A58E-69A9E1D9285C}"/>
                </a:ext>
              </a:extLst>
            </p:cNvPr>
            <p:cNvPicPr>
              <a:picLocks noChangeAspect="1"/>
            </p:cNvPicPr>
            <p:nvPr/>
          </p:nvPicPr>
          <p:blipFill rotWithShape="1">
            <a:blip r:embed="rId18" cstate="email">
              <a:grayscl/>
              <a:extLst>
                <a:ext uri="{28A0092B-C50C-407E-A947-70E740481C1C}">
                  <a14:useLocalDpi xmlns:a14="http://schemas.microsoft.com/office/drawing/2010/main"/>
                </a:ext>
              </a:extLst>
            </a:blip>
            <a:srcRect/>
            <a:stretch/>
          </p:blipFill>
          <p:spPr>
            <a:xfrm>
              <a:off x="4312916" y="3404112"/>
              <a:ext cx="927100" cy="158751"/>
            </a:xfrm>
            <a:prstGeom prst="rect">
              <a:avLst/>
            </a:prstGeom>
          </p:spPr>
        </p:pic>
        <p:pic>
          <p:nvPicPr>
            <p:cNvPr id="87" name="Picture 86">
              <a:extLst>
                <a:ext uri="{FF2B5EF4-FFF2-40B4-BE49-F238E27FC236}">
                  <a16:creationId xmlns:a16="http://schemas.microsoft.com/office/drawing/2014/main" id="{B9139FE6-7C20-DD4C-96CC-DAF7985E744D}"/>
                </a:ext>
              </a:extLst>
            </p:cNvPr>
            <p:cNvPicPr>
              <a:picLocks noChangeAspect="1"/>
            </p:cNvPicPr>
            <p:nvPr/>
          </p:nvPicPr>
          <p:blipFill>
            <a:blip r:embed="rId19" cstate="email">
              <a:grayscl/>
              <a:extLst>
                <a:ext uri="{28A0092B-C50C-407E-A947-70E740481C1C}">
                  <a14:useLocalDpi xmlns:a14="http://schemas.microsoft.com/office/drawing/2010/main"/>
                </a:ext>
              </a:extLst>
            </a:blip>
            <a:stretch>
              <a:fillRect/>
            </a:stretch>
          </p:blipFill>
          <p:spPr>
            <a:xfrm>
              <a:off x="690406" y="3622858"/>
              <a:ext cx="859647" cy="299428"/>
            </a:xfrm>
            <a:prstGeom prst="rect">
              <a:avLst/>
            </a:prstGeom>
          </p:spPr>
        </p:pic>
        <p:pic>
          <p:nvPicPr>
            <p:cNvPr id="88" name="Picture 87">
              <a:extLst>
                <a:ext uri="{FF2B5EF4-FFF2-40B4-BE49-F238E27FC236}">
                  <a16:creationId xmlns:a16="http://schemas.microsoft.com/office/drawing/2014/main" id="{19BA5F8E-784E-A041-8D0F-BF219F77C109}"/>
                </a:ext>
              </a:extLst>
            </p:cNvPr>
            <p:cNvPicPr>
              <a:picLocks noChangeAspect="1"/>
            </p:cNvPicPr>
            <p:nvPr/>
          </p:nvPicPr>
          <p:blipFill>
            <a:blip r:embed="rId20" cstate="email">
              <a:grayscl/>
              <a:extLst>
                <a:ext uri="{28A0092B-C50C-407E-A947-70E740481C1C}">
                  <a14:useLocalDpi xmlns:a14="http://schemas.microsoft.com/office/drawing/2010/main"/>
                </a:ext>
              </a:extLst>
            </a:blip>
            <a:stretch>
              <a:fillRect/>
            </a:stretch>
          </p:blipFill>
          <p:spPr>
            <a:xfrm>
              <a:off x="2674940" y="3699429"/>
              <a:ext cx="1055638" cy="146287"/>
            </a:xfrm>
            <a:prstGeom prst="rect">
              <a:avLst/>
            </a:prstGeom>
          </p:spPr>
        </p:pic>
        <p:pic>
          <p:nvPicPr>
            <p:cNvPr id="89" name="Picture 88">
              <a:extLst>
                <a:ext uri="{FF2B5EF4-FFF2-40B4-BE49-F238E27FC236}">
                  <a16:creationId xmlns:a16="http://schemas.microsoft.com/office/drawing/2014/main" id="{347A3A76-52BD-FA43-B0C6-AA6D62A70FD6}"/>
                </a:ext>
              </a:extLst>
            </p:cNvPr>
            <p:cNvPicPr>
              <a:picLocks noChangeAspect="1"/>
            </p:cNvPicPr>
            <p:nvPr/>
          </p:nvPicPr>
          <p:blipFill>
            <a:blip r:embed="rId21" cstate="email">
              <a:grayscl/>
              <a:extLst>
                <a:ext uri="{28A0092B-C50C-407E-A947-70E740481C1C}">
                  <a14:useLocalDpi xmlns:a14="http://schemas.microsoft.com/office/drawing/2010/main"/>
                </a:ext>
              </a:extLst>
            </a:blip>
            <a:stretch>
              <a:fillRect/>
            </a:stretch>
          </p:blipFill>
          <p:spPr>
            <a:xfrm>
              <a:off x="1682673" y="3642370"/>
              <a:ext cx="859647" cy="260404"/>
            </a:xfrm>
            <a:prstGeom prst="rect">
              <a:avLst/>
            </a:prstGeom>
          </p:spPr>
        </p:pic>
        <p:pic>
          <p:nvPicPr>
            <p:cNvPr id="90" name="Picture 89" descr="A picture containing drawing, mug&#10;&#10;Description automatically generated">
              <a:extLst>
                <a:ext uri="{FF2B5EF4-FFF2-40B4-BE49-F238E27FC236}">
                  <a16:creationId xmlns:a16="http://schemas.microsoft.com/office/drawing/2014/main" id="{44866AE9-CC37-2D41-A94D-C77BC4D7EE54}"/>
                </a:ext>
              </a:extLst>
            </p:cNvPr>
            <p:cNvPicPr>
              <a:picLocks noChangeAspect="1"/>
            </p:cNvPicPr>
            <p:nvPr/>
          </p:nvPicPr>
          <p:blipFill>
            <a:blip r:embed="rId22" cstate="email">
              <a:grayscl/>
              <a:extLst>
                <a:ext uri="{28A0092B-C50C-407E-A947-70E740481C1C}">
                  <a14:useLocalDpi xmlns:a14="http://schemas.microsoft.com/office/drawing/2010/main"/>
                </a:ext>
              </a:extLst>
            </a:blip>
            <a:stretch>
              <a:fillRect/>
            </a:stretch>
          </p:blipFill>
          <p:spPr>
            <a:xfrm>
              <a:off x="3863198" y="3684795"/>
              <a:ext cx="659153" cy="175554"/>
            </a:xfrm>
            <a:prstGeom prst="rect">
              <a:avLst/>
            </a:prstGeom>
          </p:spPr>
        </p:pic>
        <p:pic>
          <p:nvPicPr>
            <p:cNvPr id="91" name="Picture 90">
              <a:extLst>
                <a:ext uri="{FF2B5EF4-FFF2-40B4-BE49-F238E27FC236}">
                  <a16:creationId xmlns:a16="http://schemas.microsoft.com/office/drawing/2014/main" id="{AC94FA56-B74C-FD41-88E3-FE0B10C9D5A1}"/>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4654971" y="3706759"/>
              <a:ext cx="603792" cy="131626"/>
            </a:xfrm>
            <a:prstGeom prst="rect">
              <a:avLst/>
            </a:prstGeom>
          </p:spPr>
        </p:pic>
        <p:pic>
          <p:nvPicPr>
            <p:cNvPr id="92" name="Picture 91">
              <a:extLst>
                <a:ext uri="{FF2B5EF4-FFF2-40B4-BE49-F238E27FC236}">
                  <a16:creationId xmlns:a16="http://schemas.microsoft.com/office/drawing/2014/main" id="{1C02F749-5E71-6147-A0F1-D56971779F49}"/>
                </a:ext>
              </a:extLst>
            </p:cNvPr>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5391385" y="3473636"/>
              <a:ext cx="295742" cy="363764"/>
            </a:xfrm>
            <a:prstGeom prst="rect">
              <a:avLst/>
            </a:prstGeom>
          </p:spPr>
        </p:pic>
        <p:pic>
          <p:nvPicPr>
            <p:cNvPr id="93" name="Picture 92">
              <a:extLst>
                <a:ext uri="{FF2B5EF4-FFF2-40B4-BE49-F238E27FC236}">
                  <a16:creationId xmlns:a16="http://schemas.microsoft.com/office/drawing/2014/main" id="{55EF1D5B-ABB6-FC4D-A7A2-B943EBAC607D}"/>
                </a:ext>
              </a:extLst>
            </p:cNvPr>
            <p:cNvPicPr>
              <a:picLocks noChangeAspect="1"/>
            </p:cNvPicPr>
            <p:nvPr/>
          </p:nvPicPr>
          <p:blipFill>
            <a:blip r:embed="rId25" cstate="email">
              <a:grayscl/>
              <a:extLst>
                <a:ext uri="{28A0092B-C50C-407E-A947-70E740481C1C}">
                  <a14:useLocalDpi xmlns:a14="http://schemas.microsoft.com/office/drawing/2010/main"/>
                </a:ext>
              </a:extLst>
            </a:blip>
            <a:stretch>
              <a:fillRect/>
            </a:stretch>
          </p:blipFill>
          <p:spPr>
            <a:xfrm>
              <a:off x="5377293" y="2927681"/>
              <a:ext cx="327424" cy="350343"/>
            </a:xfrm>
            <a:prstGeom prst="rect">
              <a:avLst/>
            </a:prstGeom>
          </p:spPr>
        </p:pic>
        <p:pic>
          <p:nvPicPr>
            <p:cNvPr id="94" name="Picture 93">
              <a:extLst>
                <a:ext uri="{FF2B5EF4-FFF2-40B4-BE49-F238E27FC236}">
                  <a16:creationId xmlns:a16="http://schemas.microsoft.com/office/drawing/2014/main" id="{3EA4752E-4769-F444-AC15-00027E8C2D16}"/>
                </a:ext>
              </a:extLst>
            </p:cNvPr>
            <p:cNvPicPr>
              <a:picLocks noChangeAspect="1"/>
            </p:cNvPicPr>
            <p:nvPr/>
          </p:nvPicPr>
          <p:blipFill>
            <a:blip r:embed="rId26" cstate="email">
              <a:grayscl/>
              <a:extLst>
                <a:ext uri="{28A0092B-C50C-407E-A947-70E740481C1C}">
                  <a14:useLocalDpi xmlns:a14="http://schemas.microsoft.com/office/drawing/2010/main"/>
                </a:ext>
              </a:extLst>
            </a:blip>
            <a:stretch>
              <a:fillRect/>
            </a:stretch>
          </p:blipFill>
          <p:spPr>
            <a:xfrm>
              <a:off x="3507181" y="4220074"/>
              <a:ext cx="954764" cy="172298"/>
            </a:xfrm>
            <a:prstGeom prst="rect">
              <a:avLst/>
            </a:prstGeom>
          </p:spPr>
        </p:pic>
        <p:pic>
          <p:nvPicPr>
            <p:cNvPr id="95" name="Picture 94">
              <a:extLst>
                <a:ext uri="{FF2B5EF4-FFF2-40B4-BE49-F238E27FC236}">
                  <a16:creationId xmlns:a16="http://schemas.microsoft.com/office/drawing/2014/main" id="{79C4B9DF-B678-994F-855A-10D426C9F195}"/>
                </a:ext>
              </a:extLst>
            </p:cNvPr>
            <p:cNvPicPr>
              <a:picLocks noChangeAspect="1"/>
            </p:cNvPicPr>
            <p:nvPr/>
          </p:nvPicPr>
          <p:blipFill>
            <a:blip r:embed="rId27" cstate="email">
              <a:grayscl/>
              <a:extLst>
                <a:ext uri="{28A0092B-C50C-407E-A947-70E740481C1C}">
                  <a14:useLocalDpi xmlns:a14="http://schemas.microsoft.com/office/drawing/2010/main"/>
                </a:ext>
              </a:extLst>
            </a:blip>
            <a:stretch>
              <a:fillRect/>
            </a:stretch>
          </p:blipFill>
          <p:spPr>
            <a:xfrm>
              <a:off x="1659111" y="4225159"/>
              <a:ext cx="805478" cy="162129"/>
            </a:xfrm>
            <a:prstGeom prst="rect">
              <a:avLst/>
            </a:prstGeom>
          </p:spPr>
        </p:pic>
        <p:pic>
          <p:nvPicPr>
            <p:cNvPr id="96" name="Picture 95">
              <a:extLst>
                <a:ext uri="{FF2B5EF4-FFF2-40B4-BE49-F238E27FC236}">
                  <a16:creationId xmlns:a16="http://schemas.microsoft.com/office/drawing/2014/main" id="{CE555279-59CB-0C45-AFE9-B35D8F2388A6}"/>
                </a:ext>
              </a:extLst>
            </p:cNvPr>
            <p:cNvPicPr>
              <a:picLocks noChangeAspect="1"/>
            </p:cNvPicPr>
            <p:nvPr/>
          </p:nvPicPr>
          <p:blipFill>
            <a:blip r:embed="rId28" cstate="email">
              <a:grayscl/>
              <a:extLst>
                <a:ext uri="{28A0092B-C50C-407E-A947-70E740481C1C}">
                  <a14:useLocalDpi xmlns:a14="http://schemas.microsoft.com/office/drawing/2010/main"/>
                </a:ext>
              </a:extLst>
            </a:blip>
            <a:stretch>
              <a:fillRect/>
            </a:stretch>
          </p:blipFill>
          <p:spPr>
            <a:xfrm>
              <a:off x="713266" y="4216665"/>
              <a:ext cx="783636" cy="179116"/>
            </a:xfrm>
            <a:prstGeom prst="rect">
              <a:avLst/>
            </a:prstGeom>
          </p:spPr>
        </p:pic>
        <p:pic>
          <p:nvPicPr>
            <p:cNvPr id="97" name="Picture 96">
              <a:extLst>
                <a:ext uri="{FF2B5EF4-FFF2-40B4-BE49-F238E27FC236}">
                  <a16:creationId xmlns:a16="http://schemas.microsoft.com/office/drawing/2014/main" id="{6F8B5411-CA32-4C4D-9F02-959087A4069A}"/>
                </a:ext>
              </a:extLst>
            </p:cNvPr>
            <p:cNvPicPr>
              <a:picLocks noChangeAspect="1"/>
            </p:cNvPicPr>
            <p:nvPr/>
          </p:nvPicPr>
          <p:blipFill rotWithShape="1">
            <a:blip r:embed="rId29" cstate="email">
              <a:grayscl/>
              <a:extLst>
                <a:ext uri="{28A0092B-C50C-407E-A947-70E740481C1C}">
                  <a14:useLocalDpi xmlns:a14="http://schemas.microsoft.com/office/drawing/2010/main"/>
                </a:ext>
              </a:extLst>
            </a:blip>
            <a:srcRect/>
            <a:stretch/>
          </p:blipFill>
          <p:spPr>
            <a:xfrm>
              <a:off x="2626798" y="4193129"/>
              <a:ext cx="718174" cy="226189"/>
            </a:xfrm>
            <a:prstGeom prst="rect">
              <a:avLst/>
            </a:prstGeom>
          </p:spPr>
        </p:pic>
        <p:pic>
          <p:nvPicPr>
            <p:cNvPr id="98" name="Picture 97">
              <a:extLst>
                <a:ext uri="{FF2B5EF4-FFF2-40B4-BE49-F238E27FC236}">
                  <a16:creationId xmlns:a16="http://schemas.microsoft.com/office/drawing/2014/main" id="{A24866B8-0E15-3C43-86FC-0898948C10FC}"/>
                </a:ext>
              </a:extLst>
            </p:cNvPr>
            <p:cNvPicPr>
              <a:picLocks noChangeAspect="1"/>
            </p:cNvPicPr>
            <p:nvPr/>
          </p:nvPicPr>
          <p:blipFill>
            <a:blip r:embed="rId30" cstate="email">
              <a:grayscl/>
              <a:extLst>
                <a:ext uri="{28A0092B-C50C-407E-A947-70E740481C1C}">
                  <a14:useLocalDpi xmlns:a14="http://schemas.microsoft.com/office/drawing/2010/main"/>
                </a:ext>
              </a:extLst>
            </a:blip>
            <a:stretch>
              <a:fillRect/>
            </a:stretch>
          </p:blipFill>
          <p:spPr>
            <a:xfrm>
              <a:off x="4624154" y="4112572"/>
              <a:ext cx="691612" cy="387302"/>
            </a:xfrm>
            <a:prstGeom prst="rect">
              <a:avLst/>
            </a:prstGeom>
          </p:spPr>
        </p:pic>
        <p:sp>
          <p:nvSpPr>
            <p:cNvPr id="99" name="Rectangle 98">
              <a:extLst>
                <a:ext uri="{FF2B5EF4-FFF2-40B4-BE49-F238E27FC236}">
                  <a16:creationId xmlns:a16="http://schemas.microsoft.com/office/drawing/2014/main" id="{47FC080A-165C-E348-90C1-1967797E2248}"/>
                </a:ext>
              </a:extLst>
            </p:cNvPr>
            <p:cNvSpPr/>
            <p:nvPr/>
          </p:nvSpPr>
          <p:spPr>
            <a:xfrm>
              <a:off x="5477973" y="4172180"/>
              <a:ext cx="1341160" cy="23151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50000"/>
                    </a:srgbClr>
                  </a:solidFill>
                  <a:effectLst/>
                  <a:uLnTx/>
                  <a:uFillTx/>
                  <a:latin typeface="CiscoSansTT" panose="020B0503020201020303" pitchFamily="34" charset="0"/>
                  <a:ea typeface="+mn-ea"/>
                  <a:cs typeface="CiscoSansTT" panose="020B0503020201020303" pitchFamily="34" charset="0"/>
                </a:rPr>
                <a:t>HTTP   SMTP   SNMP</a:t>
              </a:r>
            </a:p>
          </p:txBody>
        </p:sp>
        <p:pic>
          <p:nvPicPr>
            <p:cNvPr id="100" name="Picture 99">
              <a:extLst>
                <a:ext uri="{FF2B5EF4-FFF2-40B4-BE49-F238E27FC236}">
                  <a16:creationId xmlns:a16="http://schemas.microsoft.com/office/drawing/2014/main" id="{D95BD5E3-33BE-FE4F-B80C-ED205D3049B6}"/>
                </a:ext>
              </a:extLst>
            </p:cNvPr>
            <p:cNvPicPr>
              <a:picLocks noChangeAspect="1"/>
            </p:cNvPicPr>
            <p:nvPr/>
          </p:nvPicPr>
          <p:blipFill>
            <a:blip r:embed="rId31" cstate="email">
              <a:grayscl/>
              <a:extLst>
                <a:ext uri="{28A0092B-C50C-407E-A947-70E740481C1C}">
                  <a14:useLocalDpi xmlns:a14="http://schemas.microsoft.com/office/drawing/2010/main"/>
                </a:ext>
              </a:extLst>
            </a:blip>
            <a:stretch>
              <a:fillRect/>
            </a:stretch>
          </p:blipFill>
          <p:spPr>
            <a:xfrm>
              <a:off x="1809823" y="3963917"/>
              <a:ext cx="707716" cy="152745"/>
            </a:xfrm>
            <a:prstGeom prst="rect">
              <a:avLst/>
            </a:prstGeom>
          </p:spPr>
        </p:pic>
        <p:pic>
          <p:nvPicPr>
            <p:cNvPr id="101" name="Picture 100">
              <a:extLst>
                <a:ext uri="{FF2B5EF4-FFF2-40B4-BE49-F238E27FC236}">
                  <a16:creationId xmlns:a16="http://schemas.microsoft.com/office/drawing/2014/main" id="{47BD2312-EAB0-154C-A31A-366447F7A2A6}"/>
                </a:ext>
              </a:extLst>
            </p:cNvPr>
            <p:cNvPicPr>
              <a:picLocks noChangeAspect="1"/>
            </p:cNvPicPr>
            <p:nvPr/>
          </p:nvPicPr>
          <p:blipFill>
            <a:blip r:embed="rId32" cstate="email">
              <a:grayscl/>
              <a:extLst>
                <a:ext uri="{28A0092B-C50C-407E-A947-70E740481C1C}">
                  <a14:useLocalDpi xmlns:a14="http://schemas.microsoft.com/office/drawing/2010/main"/>
                </a:ext>
              </a:extLst>
            </a:blip>
            <a:stretch>
              <a:fillRect/>
            </a:stretch>
          </p:blipFill>
          <p:spPr>
            <a:xfrm>
              <a:off x="2673568" y="3960209"/>
              <a:ext cx="801083" cy="175401"/>
            </a:xfrm>
            <a:prstGeom prst="rect">
              <a:avLst/>
            </a:prstGeom>
          </p:spPr>
        </p:pic>
        <p:pic>
          <p:nvPicPr>
            <p:cNvPr id="102" name="Picture 101">
              <a:extLst>
                <a:ext uri="{FF2B5EF4-FFF2-40B4-BE49-F238E27FC236}">
                  <a16:creationId xmlns:a16="http://schemas.microsoft.com/office/drawing/2014/main" id="{674DDE4F-8716-4E47-B29B-DF472D84518E}"/>
                </a:ext>
              </a:extLst>
            </p:cNvPr>
            <p:cNvPicPr>
              <a:picLocks noChangeAspect="1"/>
            </p:cNvPicPr>
            <p:nvPr/>
          </p:nvPicPr>
          <p:blipFill>
            <a:blip r:embed="rId33" cstate="email">
              <a:grayscl/>
              <a:extLst>
                <a:ext uri="{28A0092B-C50C-407E-A947-70E740481C1C}">
                  <a14:useLocalDpi xmlns:a14="http://schemas.microsoft.com/office/drawing/2010/main"/>
                </a:ext>
              </a:extLst>
            </a:blip>
            <a:stretch>
              <a:fillRect/>
            </a:stretch>
          </p:blipFill>
          <p:spPr>
            <a:xfrm>
              <a:off x="736126" y="4001976"/>
              <a:ext cx="917668" cy="98435"/>
            </a:xfrm>
            <a:prstGeom prst="rect">
              <a:avLst/>
            </a:prstGeom>
          </p:spPr>
        </p:pic>
        <p:pic>
          <p:nvPicPr>
            <p:cNvPr id="103" name="Picture 102" descr="A picture containing drawing&#10;&#10;Description automatically generated">
              <a:extLst>
                <a:ext uri="{FF2B5EF4-FFF2-40B4-BE49-F238E27FC236}">
                  <a16:creationId xmlns:a16="http://schemas.microsoft.com/office/drawing/2014/main" id="{21508FAF-B22D-4A4B-BBB5-67104A79E891}"/>
                </a:ext>
              </a:extLst>
            </p:cNvPr>
            <p:cNvPicPr>
              <a:picLocks noChangeAspect="1"/>
            </p:cNvPicPr>
            <p:nvPr/>
          </p:nvPicPr>
          <p:blipFill>
            <a:blip r:embed="rId34" cstate="email">
              <a:grayscl/>
              <a:extLst>
                <a:ext uri="{28A0092B-C50C-407E-A947-70E740481C1C}">
                  <a14:useLocalDpi xmlns:a14="http://schemas.microsoft.com/office/drawing/2010/main"/>
                </a:ext>
              </a:extLst>
            </a:blip>
            <a:stretch>
              <a:fillRect/>
            </a:stretch>
          </p:blipFill>
          <p:spPr>
            <a:xfrm>
              <a:off x="3630680" y="3945266"/>
              <a:ext cx="855209" cy="190047"/>
            </a:xfrm>
            <a:prstGeom prst="rect">
              <a:avLst/>
            </a:prstGeom>
          </p:spPr>
        </p:pic>
        <p:pic>
          <p:nvPicPr>
            <p:cNvPr id="104" name="Picture 103">
              <a:extLst>
                <a:ext uri="{FF2B5EF4-FFF2-40B4-BE49-F238E27FC236}">
                  <a16:creationId xmlns:a16="http://schemas.microsoft.com/office/drawing/2014/main" id="{6CB48F23-8E44-A74E-A3DE-42F047D0FA21}"/>
                </a:ext>
              </a:extLst>
            </p:cNvPr>
            <p:cNvPicPr>
              <a:picLocks noChangeAspect="1"/>
            </p:cNvPicPr>
            <p:nvPr/>
          </p:nvPicPr>
          <p:blipFill>
            <a:blip r:embed="rId35" cstate="email">
              <a:grayscl/>
              <a:extLst>
                <a:ext uri="{28A0092B-C50C-407E-A947-70E740481C1C}">
                  <a14:useLocalDpi xmlns:a14="http://schemas.microsoft.com/office/drawing/2010/main"/>
                </a:ext>
              </a:extLst>
            </a:blip>
            <a:stretch>
              <a:fillRect/>
            </a:stretch>
          </p:blipFill>
          <p:spPr>
            <a:xfrm>
              <a:off x="4641918" y="3863925"/>
              <a:ext cx="660532" cy="291768"/>
            </a:xfrm>
            <a:prstGeom prst="rect">
              <a:avLst/>
            </a:prstGeom>
          </p:spPr>
        </p:pic>
        <p:pic>
          <p:nvPicPr>
            <p:cNvPr id="105" name="Picture 104">
              <a:extLst>
                <a:ext uri="{FF2B5EF4-FFF2-40B4-BE49-F238E27FC236}">
                  <a16:creationId xmlns:a16="http://schemas.microsoft.com/office/drawing/2014/main" id="{250F7F20-E8B8-6D48-A4D1-A85F3D9E9DBA}"/>
                </a:ext>
              </a:extLst>
            </p:cNvPr>
            <p:cNvPicPr>
              <a:picLocks noChangeAspect="1"/>
            </p:cNvPicPr>
            <p:nvPr/>
          </p:nvPicPr>
          <p:blipFill>
            <a:blip r:embed="rId36" cstate="email">
              <a:grayscl/>
              <a:extLst>
                <a:ext uri="{28A0092B-C50C-407E-A947-70E740481C1C}">
                  <a14:useLocalDpi xmlns:a14="http://schemas.microsoft.com/office/drawing/2010/main"/>
                </a:ext>
              </a:extLst>
            </a:blip>
            <a:stretch>
              <a:fillRect/>
            </a:stretch>
          </p:blipFill>
          <p:spPr>
            <a:xfrm>
              <a:off x="5458479" y="3863537"/>
              <a:ext cx="627469" cy="353504"/>
            </a:xfrm>
            <a:prstGeom prst="rect">
              <a:avLst/>
            </a:prstGeom>
          </p:spPr>
        </p:pic>
        <p:pic>
          <p:nvPicPr>
            <p:cNvPr id="106" name="Picture 105">
              <a:extLst>
                <a:ext uri="{FF2B5EF4-FFF2-40B4-BE49-F238E27FC236}">
                  <a16:creationId xmlns:a16="http://schemas.microsoft.com/office/drawing/2014/main" id="{729C09F2-0120-8F44-A1DB-FC5BAE8E0403}"/>
                </a:ext>
              </a:extLst>
            </p:cNvPr>
            <p:cNvPicPr>
              <a:picLocks noChangeAspect="1"/>
            </p:cNvPicPr>
            <p:nvPr/>
          </p:nvPicPr>
          <p:blipFill>
            <a:blip r:embed="rId37" cstate="email">
              <a:grayscl/>
              <a:extLst>
                <a:ext uri="{28A0092B-C50C-407E-A947-70E740481C1C}">
                  <a14:useLocalDpi xmlns:a14="http://schemas.microsoft.com/office/drawing/2010/main"/>
                </a:ext>
              </a:extLst>
            </a:blip>
            <a:stretch>
              <a:fillRect/>
            </a:stretch>
          </p:blipFill>
          <p:spPr>
            <a:xfrm>
              <a:off x="6618027" y="3914090"/>
              <a:ext cx="828768" cy="298118"/>
            </a:xfrm>
            <a:prstGeom prst="rect">
              <a:avLst/>
            </a:prstGeom>
          </p:spPr>
        </p:pic>
        <p:pic>
          <p:nvPicPr>
            <p:cNvPr id="107" name="Picture 106">
              <a:extLst>
                <a:ext uri="{FF2B5EF4-FFF2-40B4-BE49-F238E27FC236}">
                  <a16:creationId xmlns:a16="http://schemas.microsoft.com/office/drawing/2014/main" id="{681A62C4-7F63-4D46-BBDC-8D9907B611BD}"/>
                </a:ext>
              </a:extLst>
            </p:cNvPr>
            <p:cNvPicPr>
              <a:picLocks noChangeAspect="1"/>
            </p:cNvPicPr>
            <p:nvPr/>
          </p:nvPicPr>
          <p:blipFill>
            <a:blip r:embed="rId38" cstate="email">
              <a:extLst>
                <a:ext uri="{28A0092B-C50C-407E-A947-70E740481C1C}">
                  <a14:useLocalDpi xmlns:a14="http://schemas.microsoft.com/office/drawing/2010/main"/>
                </a:ext>
              </a:extLst>
            </a:blip>
            <a:stretch>
              <a:fillRect/>
            </a:stretch>
          </p:blipFill>
          <p:spPr>
            <a:xfrm>
              <a:off x="6241977" y="3937409"/>
              <a:ext cx="220018" cy="251481"/>
            </a:xfrm>
            <a:prstGeom prst="rect">
              <a:avLst/>
            </a:prstGeom>
          </p:spPr>
        </p:pic>
        <p:sp>
          <p:nvSpPr>
            <p:cNvPr id="108" name="TextBox 107">
              <a:extLst>
                <a:ext uri="{FF2B5EF4-FFF2-40B4-BE49-F238E27FC236}">
                  <a16:creationId xmlns:a16="http://schemas.microsoft.com/office/drawing/2014/main" id="{F114EE56-1580-AB41-A5B2-3025BDA57D8C}"/>
                </a:ext>
              </a:extLst>
            </p:cNvPr>
            <p:cNvSpPr txBox="1"/>
            <p:nvPr/>
          </p:nvSpPr>
          <p:spPr>
            <a:xfrm>
              <a:off x="7623199" y="3134373"/>
              <a:ext cx="959926" cy="907142"/>
            </a:xfrm>
            <a:prstGeom prst="rect">
              <a:avLst/>
            </a:prstGeom>
            <a:noFill/>
          </p:spPr>
          <p:txBody>
            <a:bodyPr wrap="square" lIns="0" tIns="0" rIns="0" bIns="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2"/>
                  </a:solidFill>
                  <a:effectLst/>
                  <a:uLnTx/>
                  <a:uFillTx/>
                  <a:latin typeface="CiscoSansTT" panose="020B0503020201020303" pitchFamily="34" charset="0"/>
                  <a:ea typeface="+mn-ea"/>
                  <a:cs typeface="CiscoSansTT" panose="020B0503020201020303" pitchFamily="34" charset="0"/>
                </a:rPr>
                <a:t>…and more!</a:t>
              </a:r>
              <a:endParaRPr kumimoji="0" lang="en-US" sz="1100" b="0" i="0" u="none" strike="noStrike" kern="1200" cap="none" spc="0" normalizeH="0" baseline="0" noProof="0" dirty="0">
                <a:ln>
                  <a:noFill/>
                </a:ln>
                <a:solidFill>
                  <a:schemeClr val="tx2"/>
                </a:solidFill>
                <a:effectLst/>
                <a:uLnTx/>
                <a:uFillTx/>
                <a:latin typeface="CiscoSansTT ExtraLight"/>
                <a:ea typeface="+mn-ea"/>
              </a:endParaRPr>
            </a:p>
          </p:txBody>
        </p:sp>
        <p:grpSp>
          <p:nvGrpSpPr>
            <p:cNvPr id="109" name="Group 108">
              <a:extLst>
                <a:ext uri="{FF2B5EF4-FFF2-40B4-BE49-F238E27FC236}">
                  <a16:creationId xmlns:a16="http://schemas.microsoft.com/office/drawing/2014/main" id="{FFA09C2C-4FAA-524F-8A73-AB4AE0AAB067}"/>
                </a:ext>
              </a:extLst>
            </p:cNvPr>
            <p:cNvGrpSpPr/>
            <p:nvPr/>
          </p:nvGrpSpPr>
          <p:grpSpPr>
            <a:xfrm>
              <a:off x="5828046" y="2778638"/>
              <a:ext cx="1738726" cy="1088513"/>
              <a:chOff x="5828046" y="2826263"/>
              <a:chExt cx="1738726" cy="1088513"/>
            </a:xfrm>
          </p:grpSpPr>
          <p:sp>
            <p:nvSpPr>
              <p:cNvPr id="110" name="Rounded Rectangle 109">
                <a:extLst>
                  <a:ext uri="{FF2B5EF4-FFF2-40B4-BE49-F238E27FC236}">
                    <a16:creationId xmlns:a16="http://schemas.microsoft.com/office/drawing/2014/main" id="{3A566CF1-DE05-3A4C-B4E0-5939202C714E}"/>
                  </a:ext>
                </a:extLst>
              </p:cNvPr>
              <p:cNvSpPr/>
              <p:nvPr/>
            </p:nvSpPr>
            <p:spPr>
              <a:xfrm>
                <a:off x="5828046" y="2920552"/>
                <a:ext cx="1738726" cy="994224"/>
              </a:xfrm>
              <a:prstGeom prst="roundRect">
                <a:avLst>
                  <a:gd name="adj" fmla="val 14781"/>
                </a:avLst>
              </a:prstGeom>
              <a:no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1" name="Rounded Rectangle 181">
                <a:extLst>
                  <a:ext uri="{FF2B5EF4-FFF2-40B4-BE49-F238E27FC236}">
                    <a16:creationId xmlns:a16="http://schemas.microsoft.com/office/drawing/2014/main" id="{5225F6B9-E1D1-D84A-B6A8-9289CEA82733}"/>
                  </a:ext>
                </a:extLst>
              </p:cNvPr>
              <p:cNvSpPr/>
              <p:nvPr/>
            </p:nvSpPr>
            <p:spPr>
              <a:xfrm>
                <a:off x="6408802" y="2826263"/>
                <a:ext cx="577214" cy="212594"/>
              </a:xfrm>
              <a:prstGeom prst="roundRect">
                <a:avLst>
                  <a:gd name="adj" fmla="val 14781"/>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2" name="Rectangle 111">
                <a:extLst>
                  <a:ext uri="{FF2B5EF4-FFF2-40B4-BE49-F238E27FC236}">
                    <a16:creationId xmlns:a16="http://schemas.microsoft.com/office/drawing/2014/main" id="{7E8602C0-DFAF-704E-867A-7779B0A6C2B1}"/>
                  </a:ext>
                </a:extLst>
              </p:cNvPr>
              <p:cNvSpPr/>
              <p:nvPr/>
            </p:nvSpPr>
            <p:spPr>
              <a:xfrm>
                <a:off x="6507537" y="3298024"/>
                <a:ext cx="379745" cy="23151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50000"/>
                      </a:srgbClr>
                    </a:solidFill>
                    <a:effectLst/>
                    <a:uLnTx/>
                    <a:uFillTx/>
                    <a:latin typeface="CiscoSansTT" panose="020B0503020201020303" pitchFamily="34" charset="0"/>
                    <a:ea typeface="+mn-ea"/>
                    <a:cs typeface="CiscoSansTT" panose="020B0503020201020303" pitchFamily="34" charset="0"/>
                  </a:rPr>
                  <a:t>ACI</a:t>
                </a:r>
                <a:endParaRPr kumimoji="0" lang="en-US" sz="900" b="0" i="0" u="none" strike="noStrike" kern="1200" cap="none" spc="0" normalizeH="0" baseline="0" noProof="0" dirty="0">
                  <a:ln>
                    <a:noFill/>
                  </a:ln>
                  <a:solidFill>
                    <a:srgbClr val="FFFFFF">
                      <a:lumMod val="50000"/>
                    </a:srgbClr>
                  </a:solidFill>
                  <a:effectLst/>
                  <a:uLnTx/>
                  <a:uFillTx/>
                  <a:latin typeface="CiscoSansTT ExtraLight"/>
                  <a:ea typeface="+mn-ea"/>
                  <a:cs typeface="+mn-cs"/>
                </a:endParaRPr>
              </a:p>
            </p:txBody>
          </p:sp>
          <p:pic>
            <p:nvPicPr>
              <p:cNvPr id="113" name="Picture 112">
                <a:extLst>
                  <a:ext uri="{FF2B5EF4-FFF2-40B4-BE49-F238E27FC236}">
                    <a16:creationId xmlns:a16="http://schemas.microsoft.com/office/drawing/2014/main" id="{996AC59A-9F40-9D4F-91D9-C76E2B133D65}"/>
                  </a:ext>
                </a:extLst>
              </p:cNvPr>
              <p:cNvPicPr>
                <a:picLocks noChangeAspect="1"/>
              </p:cNvPicPr>
              <p:nvPr/>
            </p:nvPicPr>
            <p:blipFill>
              <a:blip r:embed="rId39" cstate="email">
                <a:grayscl/>
                <a:extLst>
                  <a:ext uri="{28A0092B-C50C-407E-A947-70E740481C1C}">
                    <a14:useLocalDpi xmlns:a14="http://schemas.microsoft.com/office/drawing/2010/main"/>
                  </a:ext>
                </a:extLst>
              </a:blip>
              <a:stretch>
                <a:fillRect/>
              </a:stretch>
            </p:blipFill>
            <p:spPr>
              <a:xfrm>
                <a:off x="6985592" y="2993908"/>
                <a:ext cx="511721" cy="511721"/>
              </a:xfrm>
              <a:prstGeom prst="rect">
                <a:avLst/>
              </a:prstGeom>
            </p:spPr>
          </p:pic>
          <p:pic>
            <p:nvPicPr>
              <p:cNvPr id="114" name="Picture 113">
                <a:extLst>
                  <a:ext uri="{FF2B5EF4-FFF2-40B4-BE49-F238E27FC236}">
                    <a16:creationId xmlns:a16="http://schemas.microsoft.com/office/drawing/2014/main" id="{0D395C26-F847-184F-925E-3800252CB57D}"/>
                  </a:ext>
                </a:extLst>
              </p:cNvPr>
              <p:cNvPicPr>
                <a:picLocks noChangeAspect="1"/>
              </p:cNvPicPr>
              <p:nvPr/>
            </p:nvPicPr>
            <p:blipFill>
              <a:blip r:embed="rId40" cstate="email">
                <a:grayscl/>
                <a:extLst>
                  <a:ext uri="{28A0092B-C50C-407E-A947-70E740481C1C}">
                    <a14:useLocalDpi xmlns:a14="http://schemas.microsoft.com/office/drawing/2010/main"/>
                  </a:ext>
                </a:extLst>
              </a:blip>
              <a:stretch>
                <a:fillRect/>
              </a:stretch>
            </p:blipFill>
            <p:spPr>
              <a:xfrm>
                <a:off x="5992755" y="3076623"/>
                <a:ext cx="352228" cy="346291"/>
              </a:xfrm>
              <a:prstGeom prst="rect">
                <a:avLst/>
              </a:prstGeom>
            </p:spPr>
          </p:pic>
          <p:pic>
            <p:nvPicPr>
              <p:cNvPr id="115" name="Picture 114">
                <a:extLst>
                  <a:ext uri="{FF2B5EF4-FFF2-40B4-BE49-F238E27FC236}">
                    <a16:creationId xmlns:a16="http://schemas.microsoft.com/office/drawing/2014/main" id="{05BBCB99-3E13-0648-8014-169CD9F36BA5}"/>
                  </a:ext>
                </a:extLst>
              </p:cNvPr>
              <p:cNvPicPr>
                <a:picLocks noChangeAspect="1"/>
              </p:cNvPicPr>
              <p:nvPr/>
            </p:nvPicPr>
            <p:blipFill rotWithShape="1">
              <a:blip r:embed="rId41" cstate="email">
                <a:grayscl/>
                <a:extLst>
                  <a:ext uri="{28A0092B-C50C-407E-A947-70E740481C1C}">
                    <a14:useLocalDpi xmlns:a14="http://schemas.microsoft.com/office/drawing/2010/main"/>
                  </a:ext>
                </a:extLst>
              </a:blip>
              <a:srcRect b="-1"/>
              <a:stretch/>
            </p:blipFill>
            <p:spPr>
              <a:xfrm>
                <a:off x="6489107" y="3156002"/>
                <a:ext cx="416604" cy="112648"/>
              </a:xfrm>
              <a:prstGeom prst="rect">
                <a:avLst/>
              </a:prstGeom>
            </p:spPr>
          </p:pic>
          <p:pic>
            <p:nvPicPr>
              <p:cNvPr id="116" name="Picture 115">
                <a:extLst>
                  <a:ext uri="{FF2B5EF4-FFF2-40B4-BE49-F238E27FC236}">
                    <a16:creationId xmlns:a16="http://schemas.microsoft.com/office/drawing/2014/main" id="{27C4E35C-1F45-8847-88A5-FB0F3311D2B1}"/>
                  </a:ext>
                </a:extLst>
              </p:cNvPr>
              <p:cNvPicPr>
                <a:picLocks noChangeAspect="1"/>
              </p:cNvPicPr>
              <p:nvPr/>
            </p:nvPicPr>
            <p:blipFill rotWithShape="1">
              <a:blip r:embed="rId42" cstate="email">
                <a:extLst>
                  <a:ext uri="{28A0092B-C50C-407E-A947-70E740481C1C}">
                    <a14:useLocalDpi xmlns:a14="http://schemas.microsoft.com/office/drawing/2010/main"/>
                  </a:ext>
                </a:extLst>
              </a:blip>
              <a:srcRect/>
              <a:stretch/>
            </p:blipFill>
            <p:spPr>
              <a:xfrm>
                <a:off x="6249515" y="3547396"/>
                <a:ext cx="895788" cy="112648"/>
              </a:xfrm>
              <a:prstGeom prst="rect">
                <a:avLst/>
              </a:prstGeom>
            </p:spPr>
          </p:pic>
          <p:pic>
            <p:nvPicPr>
              <p:cNvPr id="117" name="Picture 116" descr="A picture containing flower&#10;&#10;Description generated with very high confidence">
                <a:extLst>
                  <a:ext uri="{FF2B5EF4-FFF2-40B4-BE49-F238E27FC236}">
                    <a16:creationId xmlns:a16="http://schemas.microsoft.com/office/drawing/2014/main" id="{F9AF27D5-7DC9-3545-AD81-E9D0C6CD5842}"/>
                  </a:ext>
                </a:extLst>
              </p:cNvPr>
              <p:cNvPicPr>
                <a:picLocks noChangeAspect="1"/>
              </p:cNvPicPr>
              <p:nvPr/>
            </p:nvPicPr>
            <p:blipFill rotWithShape="1">
              <a:blip r:embed="rId43" cstate="email">
                <a:extLst>
                  <a:ext uri="{28A0092B-C50C-407E-A947-70E740481C1C}">
                    <a14:useLocalDpi xmlns:a14="http://schemas.microsoft.com/office/drawing/2010/main"/>
                  </a:ext>
                </a:extLst>
              </a:blip>
              <a:srcRect/>
              <a:stretch/>
            </p:blipFill>
            <p:spPr>
              <a:xfrm>
                <a:off x="6489107" y="2841878"/>
                <a:ext cx="416604" cy="216994"/>
              </a:xfrm>
              <a:prstGeom prst="rect">
                <a:avLst/>
              </a:prstGeom>
              <a:solidFill>
                <a:schemeClr val="bg1"/>
              </a:solidFill>
            </p:spPr>
          </p:pic>
          <p:grpSp>
            <p:nvGrpSpPr>
              <p:cNvPr id="118" name="Group 117">
                <a:extLst>
                  <a:ext uri="{FF2B5EF4-FFF2-40B4-BE49-F238E27FC236}">
                    <a16:creationId xmlns:a16="http://schemas.microsoft.com/office/drawing/2014/main" id="{6691695F-5EAE-2E4A-BC75-149D076A7BE3}"/>
                  </a:ext>
                </a:extLst>
              </p:cNvPr>
              <p:cNvGrpSpPr/>
              <p:nvPr/>
            </p:nvGrpSpPr>
            <p:grpSpPr>
              <a:xfrm>
                <a:off x="5908048" y="3650572"/>
                <a:ext cx="1626348" cy="231511"/>
                <a:chOff x="5912110" y="3650572"/>
                <a:chExt cx="1626348" cy="231511"/>
              </a:xfrm>
            </p:grpSpPr>
            <p:sp>
              <p:nvSpPr>
                <p:cNvPr id="119" name="Rectangle 118">
                  <a:extLst>
                    <a:ext uri="{FF2B5EF4-FFF2-40B4-BE49-F238E27FC236}">
                      <a16:creationId xmlns:a16="http://schemas.microsoft.com/office/drawing/2014/main" id="{0BA58802-02C7-5247-9F8F-9DB4A28DB5A3}"/>
                    </a:ext>
                  </a:extLst>
                </p:cNvPr>
                <p:cNvSpPr/>
                <p:nvPr/>
              </p:nvSpPr>
              <p:spPr>
                <a:xfrm>
                  <a:off x="5912110" y="3650572"/>
                  <a:ext cx="892606" cy="23151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lumMod val="50000"/>
                        </a:srgbClr>
                      </a:solidFill>
                      <a:effectLst/>
                      <a:uLnTx/>
                      <a:uFillTx/>
                      <a:latin typeface="CiscoSansTT" panose="020B0503020201020303" pitchFamily="34" charset="0"/>
                      <a:ea typeface="+mn-ea"/>
                      <a:cs typeface="CiscoSansTT" panose="020B0503020201020303" pitchFamily="34" charset="0"/>
                    </a:rPr>
                    <a:t>UCS Director</a:t>
                  </a:r>
                  <a:endParaRPr kumimoji="0" lang="en-US" sz="900" b="0" i="0" u="none" strike="noStrike" kern="1200" cap="none" spc="0" normalizeH="0" baseline="0" noProof="0" dirty="0">
                    <a:ln>
                      <a:noFill/>
                    </a:ln>
                    <a:solidFill>
                      <a:srgbClr val="FFFFFF">
                        <a:lumMod val="50000"/>
                      </a:srgbClr>
                    </a:solidFill>
                    <a:effectLst/>
                    <a:uLnTx/>
                    <a:uFillTx/>
                    <a:latin typeface="CiscoSansTT ExtraLight"/>
                    <a:ea typeface="+mn-ea"/>
                    <a:cs typeface="+mn-cs"/>
                  </a:endParaRPr>
                </a:p>
              </p:txBody>
            </p:sp>
            <p:sp>
              <p:nvSpPr>
                <p:cNvPr id="120" name="Rectangle 119">
                  <a:extLst>
                    <a:ext uri="{FF2B5EF4-FFF2-40B4-BE49-F238E27FC236}">
                      <a16:creationId xmlns:a16="http://schemas.microsoft.com/office/drawing/2014/main" id="{19B3FCBF-BF7F-2D4C-BC30-675FDB2F4B94}"/>
                    </a:ext>
                  </a:extLst>
                </p:cNvPr>
                <p:cNvSpPr/>
                <p:nvPr/>
              </p:nvSpPr>
              <p:spPr>
                <a:xfrm>
                  <a:off x="6673183" y="3650572"/>
                  <a:ext cx="865275" cy="231511"/>
                </a:xfrm>
                <a:prstGeom prst="rect">
                  <a:avLst/>
                </a:prstGeom>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FFFFFF">
                          <a:lumMod val="50000"/>
                        </a:srgbClr>
                      </a:solidFill>
                      <a:effectLst/>
                      <a:uLnTx/>
                      <a:uFillTx/>
                      <a:latin typeface="CiscoSansTT" panose="020B0503020201020303" pitchFamily="34" charset="0"/>
                      <a:ea typeface="+mn-ea"/>
                      <a:cs typeface="CiscoSansTT" panose="020B0503020201020303" pitchFamily="34" charset="0"/>
                    </a:rPr>
                    <a:t>CloudCenter</a:t>
                  </a:r>
                  <a:endParaRPr kumimoji="0" lang="en-US" sz="1000" b="0" i="0" u="none" strike="noStrike" kern="1200" cap="none" spc="0" normalizeH="0" baseline="0" noProof="0" dirty="0">
                    <a:ln>
                      <a:noFill/>
                    </a:ln>
                    <a:solidFill>
                      <a:srgbClr val="0D274D"/>
                    </a:solidFill>
                    <a:effectLst/>
                    <a:uLnTx/>
                    <a:uFillTx/>
                    <a:latin typeface="CiscoSansTT ExtraLight"/>
                    <a:ea typeface="+mn-ea"/>
                    <a:cs typeface="+mn-cs"/>
                  </a:endParaRPr>
                </a:p>
              </p:txBody>
            </p:sp>
          </p:grpSp>
        </p:grpSp>
      </p:grpSp>
    </p:spTree>
    <p:extLst>
      <p:ext uri="{BB962C8B-B14F-4D97-AF65-F5344CB8AC3E}">
        <p14:creationId xmlns:p14="http://schemas.microsoft.com/office/powerpoint/2010/main" val="17678401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14A590-9334-594B-A37E-EDD00BFF9668}"/>
              </a:ext>
            </a:extLst>
          </p:cNvPr>
          <p:cNvSpPr>
            <a:spLocks noGrp="1"/>
          </p:cNvSpPr>
          <p:nvPr>
            <p:ph type="title"/>
          </p:nvPr>
        </p:nvSpPr>
        <p:spPr/>
        <p:txBody>
          <a:bodyPr/>
          <a:lstStyle/>
          <a:p>
            <a:r>
              <a:rPr lang="en-US"/>
              <a:t>SecureX seamlessly </a:t>
            </a:r>
            <a:r>
              <a:rPr lang="en-US">
                <a:solidFill>
                  <a:schemeClr val="accent2"/>
                </a:solidFill>
                <a:latin typeface="CiscoSansTT" panose="020B0503020201020303" pitchFamily="34" charset="0"/>
                <a:cs typeface="CiscoSansTT" panose="020B0503020201020303" pitchFamily="34" charset="0"/>
              </a:rPr>
              <a:t>integrates</a:t>
            </a:r>
            <a:r>
              <a:rPr lang="en-US"/>
              <a:t> into your SOC</a:t>
            </a:r>
          </a:p>
        </p:txBody>
      </p:sp>
      <p:sp>
        <p:nvSpPr>
          <p:cNvPr id="306" name="Freeform 305">
            <a:extLst>
              <a:ext uri="{FF2B5EF4-FFF2-40B4-BE49-F238E27FC236}">
                <a16:creationId xmlns:a16="http://schemas.microsoft.com/office/drawing/2014/main" id="{171CE17C-AD1C-164B-AE35-5A5D94DF3A2A}"/>
              </a:ext>
            </a:extLst>
          </p:cNvPr>
          <p:cNvSpPr/>
          <p:nvPr/>
        </p:nvSpPr>
        <p:spPr>
          <a:xfrm flipV="1">
            <a:off x="3831374" y="1924846"/>
            <a:ext cx="1484521" cy="2082299"/>
          </a:xfrm>
          <a:custGeom>
            <a:avLst/>
            <a:gdLst>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1741456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1741456 h 2082299"/>
              <a:gd name="connsiteX7" fmla="*/ 0 w 1484521"/>
              <a:gd name="connsiteY7"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1741456 h 2082299"/>
              <a:gd name="connsiteX7" fmla="*/ 0 w 1484521"/>
              <a:gd name="connsiteY7"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1741456 h 2082299"/>
              <a:gd name="connsiteX7" fmla="*/ 0 w 1484521"/>
              <a:gd name="connsiteY7"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1741456 h 2082299"/>
              <a:gd name="connsiteX7" fmla="*/ 0 w 1484521"/>
              <a:gd name="connsiteY7"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5966 w 1484521"/>
              <a:gd name="connsiteY5" fmla="*/ 1741456 h 2082299"/>
              <a:gd name="connsiteX6" fmla="*/ 0 w 1484521"/>
              <a:gd name="connsiteY6"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 name="connsiteX0" fmla="*/ 0 w 1484521"/>
              <a:gd name="connsiteY0" fmla="*/ 2082299 h 2082299"/>
              <a:gd name="connsiteX1" fmla="*/ 1484521 w 1484521"/>
              <a:gd name="connsiteY1" fmla="*/ 2082299 h 2082299"/>
              <a:gd name="connsiteX2" fmla="*/ 1484521 w 1484521"/>
              <a:gd name="connsiteY2" fmla="*/ 1741456 h 2082299"/>
              <a:gd name="connsiteX3" fmla="*/ 1464813 w 1484521"/>
              <a:gd name="connsiteY3" fmla="*/ 1741456 h 2082299"/>
              <a:gd name="connsiteX4" fmla="*/ 5966 w 1484521"/>
              <a:gd name="connsiteY4" fmla="*/ 0 h 2082299"/>
              <a:gd name="connsiteX5" fmla="*/ 0 w 1484521"/>
              <a:gd name="connsiteY5" fmla="*/ 2082299 h 208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4521" h="2082299">
                <a:moveTo>
                  <a:pt x="0" y="2082299"/>
                </a:moveTo>
                <a:cubicBezTo>
                  <a:pt x="651789" y="1857110"/>
                  <a:pt x="866851" y="1822992"/>
                  <a:pt x="1484521" y="2082299"/>
                </a:cubicBezTo>
                <a:lnTo>
                  <a:pt x="1484521" y="1741456"/>
                </a:lnTo>
                <a:lnTo>
                  <a:pt x="1464813" y="1741456"/>
                </a:lnTo>
                <a:cubicBezTo>
                  <a:pt x="780639" y="1413455"/>
                  <a:pt x="178350" y="757906"/>
                  <a:pt x="5966" y="0"/>
                </a:cubicBezTo>
                <a:cubicBezTo>
                  <a:pt x="3977" y="694100"/>
                  <a:pt x="1989" y="1388199"/>
                  <a:pt x="0" y="2082299"/>
                </a:cubicBezTo>
                <a:close/>
              </a:path>
            </a:pathLst>
          </a:custGeom>
          <a:solidFill>
            <a:schemeClr val="tx2">
              <a:lumMod val="20000"/>
              <a:lumOff val="80000"/>
              <a:alpha val="50000"/>
            </a:schemeClr>
          </a:solidFill>
          <a:ln>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8" name="Rectangle 247">
            <a:extLst>
              <a:ext uri="{FF2B5EF4-FFF2-40B4-BE49-F238E27FC236}">
                <a16:creationId xmlns:a16="http://schemas.microsoft.com/office/drawing/2014/main" id="{3DD3C3D1-A40F-124E-95BE-7E22342358AC}"/>
              </a:ext>
            </a:extLst>
          </p:cNvPr>
          <p:cNvSpPr/>
          <p:nvPr/>
        </p:nvSpPr>
        <p:spPr>
          <a:xfrm>
            <a:off x="5301481" y="3579215"/>
            <a:ext cx="2756848" cy="34084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9" name="Rectangle 248">
            <a:extLst>
              <a:ext uri="{FF2B5EF4-FFF2-40B4-BE49-F238E27FC236}">
                <a16:creationId xmlns:a16="http://schemas.microsoft.com/office/drawing/2014/main" id="{49067044-13C9-614A-BA2D-2266F1D45B93}"/>
              </a:ext>
            </a:extLst>
          </p:cNvPr>
          <p:cNvSpPr/>
          <p:nvPr/>
        </p:nvSpPr>
        <p:spPr>
          <a:xfrm>
            <a:off x="5285942" y="2704628"/>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50" name="Rectangle 249">
            <a:extLst>
              <a:ext uri="{FF2B5EF4-FFF2-40B4-BE49-F238E27FC236}">
                <a16:creationId xmlns:a16="http://schemas.microsoft.com/office/drawing/2014/main" id="{E4392161-60E2-8A4F-B86D-DF2723014578}"/>
              </a:ext>
            </a:extLst>
          </p:cNvPr>
          <p:cNvSpPr/>
          <p:nvPr/>
        </p:nvSpPr>
        <p:spPr>
          <a:xfrm>
            <a:off x="5285942" y="3147626"/>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51" name="Rectangle 250">
            <a:extLst>
              <a:ext uri="{FF2B5EF4-FFF2-40B4-BE49-F238E27FC236}">
                <a16:creationId xmlns:a16="http://schemas.microsoft.com/office/drawing/2014/main" id="{4289975A-8E53-1147-A4F0-D3FF31A93A8F}"/>
              </a:ext>
            </a:extLst>
          </p:cNvPr>
          <p:cNvSpPr/>
          <p:nvPr/>
        </p:nvSpPr>
        <p:spPr>
          <a:xfrm>
            <a:off x="5293954" y="1915501"/>
            <a:ext cx="2756848" cy="340843"/>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2" name="Rectangle 241">
            <a:extLst>
              <a:ext uri="{FF2B5EF4-FFF2-40B4-BE49-F238E27FC236}">
                <a16:creationId xmlns:a16="http://schemas.microsoft.com/office/drawing/2014/main" id="{350782AC-3160-C94D-9AF6-751B234BCBC5}"/>
              </a:ext>
            </a:extLst>
          </p:cNvPr>
          <p:cNvSpPr/>
          <p:nvPr/>
        </p:nvSpPr>
        <p:spPr>
          <a:xfrm>
            <a:off x="1092223" y="2348878"/>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3" name="Rectangle 242">
            <a:extLst>
              <a:ext uri="{FF2B5EF4-FFF2-40B4-BE49-F238E27FC236}">
                <a16:creationId xmlns:a16="http://schemas.microsoft.com/office/drawing/2014/main" id="{86EAC12B-5933-214E-9B25-4769C12F5653}"/>
              </a:ext>
            </a:extLst>
          </p:cNvPr>
          <p:cNvSpPr/>
          <p:nvPr/>
        </p:nvSpPr>
        <p:spPr>
          <a:xfrm>
            <a:off x="1098415" y="2790497"/>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4" name="Rectangle 243">
            <a:extLst>
              <a:ext uri="{FF2B5EF4-FFF2-40B4-BE49-F238E27FC236}">
                <a16:creationId xmlns:a16="http://schemas.microsoft.com/office/drawing/2014/main" id="{77EDC13C-B30B-6747-8AF1-1B142B60CA1F}"/>
              </a:ext>
            </a:extLst>
          </p:cNvPr>
          <p:cNvSpPr/>
          <p:nvPr/>
        </p:nvSpPr>
        <p:spPr>
          <a:xfrm>
            <a:off x="1082391" y="3228167"/>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45" name="Rectangle 244">
            <a:extLst>
              <a:ext uri="{FF2B5EF4-FFF2-40B4-BE49-F238E27FC236}">
                <a16:creationId xmlns:a16="http://schemas.microsoft.com/office/drawing/2014/main" id="{DB62EC37-A9C8-7E42-9BE5-1384C90F8917}"/>
              </a:ext>
            </a:extLst>
          </p:cNvPr>
          <p:cNvSpPr/>
          <p:nvPr/>
        </p:nvSpPr>
        <p:spPr>
          <a:xfrm>
            <a:off x="1082391" y="3671165"/>
            <a:ext cx="2756848" cy="340843"/>
          </a:xfrm>
          <a:prstGeom prst="rect">
            <a:avLst/>
          </a:prstGeom>
          <a:solidFill>
            <a:srgbClr val="E4EA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0" name="Rectangle 109">
            <a:extLst>
              <a:ext uri="{FF2B5EF4-FFF2-40B4-BE49-F238E27FC236}">
                <a16:creationId xmlns:a16="http://schemas.microsoft.com/office/drawing/2014/main" id="{91F1ACCF-5760-2D43-8452-D3AAFB216641}"/>
              </a:ext>
            </a:extLst>
          </p:cNvPr>
          <p:cNvSpPr/>
          <p:nvPr/>
        </p:nvSpPr>
        <p:spPr>
          <a:xfrm>
            <a:off x="1090403" y="1915501"/>
            <a:ext cx="2756848" cy="34084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chemeClr val="bg1"/>
              </a:solidFill>
              <a:effectLst/>
              <a:uLnTx/>
              <a:uFillTx/>
              <a:latin typeface="CiscoSansTT ExtraLight"/>
              <a:ea typeface="+mn-ea"/>
              <a:cs typeface="+mn-cs"/>
            </a:endParaRPr>
          </a:p>
        </p:txBody>
      </p:sp>
      <p:sp>
        <p:nvSpPr>
          <p:cNvPr id="232" name="Rectangle: Rounded Corners 112">
            <a:extLst>
              <a:ext uri="{FF2B5EF4-FFF2-40B4-BE49-F238E27FC236}">
                <a16:creationId xmlns:a16="http://schemas.microsoft.com/office/drawing/2014/main" id="{E237B2A3-A08C-6A45-892A-9C0358CC40D6}"/>
              </a:ext>
            </a:extLst>
          </p:cNvPr>
          <p:cNvSpPr/>
          <p:nvPr/>
        </p:nvSpPr>
        <p:spPr>
          <a:xfrm>
            <a:off x="5304761" y="1356901"/>
            <a:ext cx="2756848" cy="2650244"/>
          </a:xfrm>
          <a:prstGeom prst="roundRect">
            <a:avLst>
              <a:gd name="adj" fmla="val 5715"/>
            </a:avLst>
          </a:prstGeom>
          <a:noFill/>
          <a:ln w="2540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231" name="Rectangle: Rounded Corners 112">
            <a:extLst>
              <a:ext uri="{FF2B5EF4-FFF2-40B4-BE49-F238E27FC236}">
                <a16:creationId xmlns:a16="http://schemas.microsoft.com/office/drawing/2014/main" id="{9DEDBB8A-21E8-C244-A437-28E4684BE15A}"/>
              </a:ext>
            </a:extLst>
          </p:cNvPr>
          <p:cNvSpPr/>
          <p:nvPr/>
        </p:nvSpPr>
        <p:spPr>
          <a:xfrm>
            <a:off x="1082391" y="1389434"/>
            <a:ext cx="2756848" cy="3023206"/>
          </a:xfrm>
          <a:prstGeom prst="roundRect">
            <a:avLst>
              <a:gd name="adj" fmla="val 5715"/>
            </a:avLst>
          </a:prstGeom>
          <a:noFill/>
          <a:ln w="2540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76" name="TextBox 75">
            <a:extLst>
              <a:ext uri="{FF2B5EF4-FFF2-40B4-BE49-F238E27FC236}">
                <a16:creationId xmlns:a16="http://schemas.microsoft.com/office/drawing/2014/main" id="{F4991C6C-0812-1C45-A901-A117B5636D82}"/>
              </a:ext>
            </a:extLst>
          </p:cNvPr>
          <p:cNvSpPr txBox="1"/>
          <p:nvPr/>
        </p:nvSpPr>
        <p:spPr>
          <a:xfrm>
            <a:off x="6187761" y="1273655"/>
            <a:ext cx="990849" cy="369332"/>
          </a:xfrm>
          <a:prstGeom prst="rect">
            <a:avLst/>
          </a:prstGeom>
          <a:solidFill>
            <a:schemeClr val="bg1"/>
          </a:solidFill>
        </p:spPr>
        <p:txBody>
          <a:bodyPr wrap="non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74D"/>
                </a:solidFill>
                <a:effectLst/>
                <a:uLnTx/>
                <a:uFillTx/>
                <a:latin typeface="CiscoSansTT" panose="020B0503020201020303" pitchFamily="34" charset="0"/>
                <a:ea typeface="+mn-ea"/>
                <a:cs typeface="CiscoSansTT" panose="020B0503020201020303" pitchFamily="34" charset="0"/>
              </a:rPr>
              <a:t>Your SOC</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D274D"/>
                </a:solidFill>
                <a:effectLst/>
                <a:uLnTx/>
                <a:uFillTx/>
                <a:latin typeface="CiscoSansTT ExtraLight"/>
                <a:ea typeface="+mn-ea"/>
                <a:cs typeface="CiscoSansTT" panose="020B0503020201020303" pitchFamily="34" charset="0"/>
              </a:rPr>
              <a:t>analysts | threat hunters </a:t>
            </a:r>
            <a:br>
              <a:rPr kumimoji="0" lang="en-US" sz="1100" b="0" i="0" u="none" strike="noStrike" kern="1200" cap="none" spc="0" normalizeH="0" baseline="0" noProof="0" dirty="0">
                <a:ln>
                  <a:noFill/>
                </a:ln>
                <a:solidFill>
                  <a:srgbClr val="0D274D"/>
                </a:solidFill>
                <a:effectLst/>
                <a:uLnTx/>
                <a:uFillTx/>
                <a:latin typeface="CiscoSansTT ExtraLight"/>
                <a:ea typeface="+mn-ea"/>
                <a:cs typeface="CiscoSansTT" panose="020B0503020201020303" pitchFamily="34" charset="0"/>
              </a:rPr>
            </a:br>
            <a:r>
              <a:rPr kumimoji="0" lang="en-US" sz="1100" b="0" i="0" u="none" strike="noStrike" kern="1200" cap="none" spc="0" normalizeH="0" baseline="0" noProof="0" dirty="0">
                <a:ln>
                  <a:noFill/>
                </a:ln>
                <a:solidFill>
                  <a:srgbClr val="0D274D"/>
                </a:solidFill>
                <a:effectLst/>
                <a:uLnTx/>
                <a:uFillTx/>
                <a:latin typeface="CiscoSansTT ExtraLight"/>
                <a:ea typeface="+mn-ea"/>
                <a:cs typeface="CiscoSansTT" panose="020B0503020201020303" pitchFamily="34" charset="0"/>
              </a:rPr>
              <a:t>incident responders</a:t>
            </a:r>
          </a:p>
        </p:txBody>
      </p:sp>
      <p:sp>
        <p:nvSpPr>
          <p:cNvPr id="119" name="TextBox 118">
            <a:extLst>
              <a:ext uri="{FF2B5EF4-FFF2-40B4-BE49-F238E27FC236}">
                <a16:creationId xmlns:a16="http://schemas.microsoft.com/office/drawing/2014/main" id="{00F8D977-66D3-B045-A363-522478C59518}"/>
              </a:ext>
            </a:extLst>
          </p:cNvPr>
          <p:cNvSpPr txBox="1"/>
          <p:nvPr/>
        </p:nvSpPr>
        <p:spPr>
          <a:xfrm>
            <a:off x="1637681" y="1273655"/>
            <a:ext cx="1653429" cy="369332"/>
          </a:xfrm>
          <a:prstGeom prst="rect">
            <a:avLst/>
          </a:prstGeom>
          <a:solidFill>
            <a:schemeClr val="bg1"/>
          </a:solidFill>
        </p:spPr>
        <p:txBody>
          <a:bodyPr wrap="none" lIns="0" tIns="0" rIns="0" bIns="0"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rPr>
              <a:t>Your environment</a:t>
            </a:r>
            <a:br>
              <a:rPr kumimoji="0" lang="en-US" sz="1400" b="0" i="0" u="none" strike="noStrike" kern="120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rPr>
            </a:br>
            <a:r>
              <a:rPr kumimoji="0" lang="en-US" sz="1100" b="0" i="0" u="none" strike="noStrike" kern="1200" cap="none" spc="0" normalizeH="0" baseline="0" noProof="0">
                <a:ln>
                  <a:noFill/>
                </a:ln>
                <a:solidFill>
                  <a:srgbClr val="0D274D"/>
                </a:solidFill>
                <a:effectLst/>
                <a:uLnTx/>
                <a:uFillTx/>
                <a:latin typeface="CiscoSansTT ExtraLight"/>
                <a:ea typeface="+mn-ea"/>
                <a:cs typeface="CiscoSansTT" panose="020B0503020201020303" pitchFamily="34" charset="0"/>
              </a:rPr>
              <a:t>network | users and endpoints</a:t>
            </a:r>
            <a:br>
              <a:rPr kumimoji="0" lang="en-US" sz="1100" b="0" i="0" u="none" strike="noStrike" kern="1200" cap="none" spc="0" normalizeH="0" baseline="0" noProof="0">
                <a:ln>
                  <a:noFill/>
                </a:ln>
                <a:solidFill>
                  <a:srgbClr val="0D274D"/>
                </a:solidFill>
                <a:effectLst/>
                <a:uLnTx/>
                <a:uFillTx/>
                <a:latin typeface="CiscoSansTT ExtraLight"/>
                <a:ea typeface="+mn-ea"/>
                <a:cs typeface="CiscoSansTT" panose="020B0503020201020303" pitchFamily="34" charset="0"/>
              </a:rPr>
            </a:br>
            <a:r>
              <a:rPr kumimoji="0" lang="en-US" sz="1100" b="0" i="0" u="none" strike="noStrike" kern="1200" cap="none" spc="0" normalizeH="0" baseline="0" noProof="0">
                <a:ln>
                  <a:noFill/>
                </a:ln>
                <a:solidFill>
                  <a:srgbClr val="0D274D"/>
                </a:solidFill>
                <a:effectLst/>
                <a:uLnTx/>
                <a:uFillTx/>
                <a:latin typeface="CiscoSansTT ExtraLight"/>
                <a:ea typeface="+mn-ea"/>
                <a:cs typeface="CiscoSansTT" panose="020B0503020201020303" pitchFamily="34" charset="0"/>
              </a:rPr>
              <a:t>cloud edge | applications</a:t>
            </a:r>
            <a:endParaRPr kumimoji="0" lang="en-US" sz="1000" b="0" i="0" u="none" strike="noStrike" kern="1200" cap="none" spc="0" normalizeH="0" baseline="0" noProof="0">
              <a:ln>
                <a:noFill/>
              </a:ln>
              <a:solidFill>
                <a:srgbClr val="0D274D"/>
              </a:solidFill>
              <a:effectLst/>
              <a:uLnTx/>
              <a:uFillTx/>
              <a:latin typeface="CiscoSansTT ExtraLight"/>
              <a:ea typeface="+mn-ea"/>
              <a:cs typeface="CiscoSansTT" panose="020B0503020201020303" pitchFamily="34" charset="0"/>
            </a:endParaRPr>
          </a:p>
        </p:txBody>
      </p:sp>
      <p:sp>
        <p:nvSpPr>
          <p:cNvPr id="220" name="TextBox 219">
            <a:extLst>
              <a:ext uri="{FF2B5EF4-FFF2-40B4-BE49-F238E27FC236}">
                <a16:creationId xmlns:a16="http://schemas.microsoft.com/office/drawing/2014/main" id="{9AFFC74F-D96E-7644-851F-FAA36261D924}"/>
              </a:ext>
            </a:extLst>
          </p:cNvPr>
          <p:cNvSpPr txBox="1"/>
          <p:nvPr/>
        </p:nvSpPr>
        <p:spPr>
          <a:xfrm>
            <a:off x="1563207" y="1979356"/>
            <a:ext cx="1857881"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CiscoSansTT" panose="020B0503020201020303" pitchFamily="34" charset="0"/>
                <a:cs typeface="CiscoSansTT" panose="020B0503020201020303" pitchFamily="34" charset="0"/>
              </a:rPr>
              <a:t>Cisco Secure portfolio</a:t>
            </a:r>
          </a:p>
        </p:txBody>
      </p:sp>
      <p:sp>
        <p:nvSpPr>
          <p:cNvPr id="221" name="TextBox 220">
            <a:extLst>
              <a:ext uri="{FF2B5EF4-FFF2-40B4-BE49-F238E27FC236}">
                <a16:creationId xmlns:a16="http://schemas.microsoft.com/office/drawing/2014/main" id="{5BB765FD-70D6-AA4A-94B6-DC61A941EBEB}"/>
              </a:ext>
            </a:extLst>
          </p:cNvPr>
          <p:cNvSpPr txBox="1"/>
          <p:nvPr/>
        </p:nvSpPr>
        <p:spPr>
          <a:xfrm>
            <a:off x="1675417" y="2863874"/>
            <a:ext cx="1570943"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mn-ea"/>
                <a:cs typeface="+mn-cs"/>
              </a:rPr>
              <a:t>Cisco infrastructure</a:t>
            </a:r>
          </a:p>
        </p:txBody>
      </p:sp>
      <p:sp>
        <p:nvSpPr>
          <p:cNvPr id="222" name="TextBox 221">
            <a:extLst>
              <a:ext uri="{FF2B5EF4-FFF2-40B4-BE49-F238E27FC236}">
                <a16:creationId xmlns:a16="http://schemas.microsoft.com/office/drawing/2014/main" id="{654E916D-7346-4544-8312-B90133310F8F}"/>
              </a:ext>
            </a:extLst>
          </p:cNvPr>
          <p:cNvSpPr txBox="1"/>
          <p:nvPr/>
        </p:nvSpPr>
        <p:spPr>
          <a:xfrm>
            <a:off x="1450996" y="3306133"/>
            <a:ext cx="2019784"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mn-ea"/>
                <a:cs typeface="+mn-cs"/>
              </a:rPr>
              <a:t>Third-party infrastructure</a:t>
            </a:r>
          </a:p>
        </p:txBody>
      </p:sp>
      <p:sp>
        <p:nvSpPr>
          <p:cNvPr id="223" name="TextBox 222">
            <a:extLst>
              <a:ext uri="{FF2B5EF4-FFF2-40B4-BE49-F238E27FC236}">
                <a16:creationId xmlns:a16="http://schemas.microsoft.com/office/drawing/2014/main" id="{EC1C145C-D00E-B446-B8C0-A870802A374A}"/>
              </a:ext>
            </a:extLst>
          </p:cNvPr>
          <p:cNvSpPr txBox="1"/>
          <p:nvPr/>
        </p:nvSpPr>
        <p:spPr>
          <a:xfrm>
            <a:off x="1584849" y="3730139"/>
            <a:ext cx="1744067"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D274D"/>
                </a:solidFill>
                <a:effectLst/>
                <a:uLnTx/>
                <a:uFillTx/>
                <a:latin typeface="CiscoSansTT ExtraLight"/>
                <a:ea typeface="+mn-ea"/>
                <a:cs typeface="+mn-cs"/>
              </a:rPr>
              <a:t>General infrastructure</a:t>
            </a:r>
          </a:p>
        </p:txBody>
      </p:sp>
      <p:sp>
        <p:nvSpPr>
          <p:cNvPr id="224" name="TextBox 223">
            <a:extLst>
              <a:ext uri="{FF2B5EF4-FFF2-40B4-BE49-F238E27FC236}">
                <a16:creationId xmlns:a16="http://schemas.microsoft.com/office/drawing/2014/main" id="{E6CD0FF7-D824-8B4C-8405-73AD5523B536}"/>
              </a:ext>
            </a:extLst>
          </p:cNvPr>
          <p:cNvSpPr txBox="1"/>
          <p:nvPr/>
        </p:nvSpPr>
        <p:spPr>
          <a:xfrm>
            <a:off x="1667402" y="2421615"/>
            <a:ext cx="1586973"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mn-ea"/>
                <a:cs typeface="+mn-cs"/>
              </a:rPr>
              <a:t>Third-party security</a:t>
            </a:r>
          </a:p>
        </p:txBody>
      </p:sp>
      <p:sp>
        <p:nvSpPr>
          <p:cNvPr id="227" name="TextBox 226">
            <a:extLst>
              <a:ext uri="{FF2B5EF4-FFF2-40B4-BE49-F238E27FC236}">
                <a16:creationId xmlns:a16="http://schemas.microsoft.com/office/drawing/2014/main" id="{DEBFBC4A-4F29-BA45-8155-8F2991AF5A5B}"/>
              </a:ext>
            </a:extLst>
          </p:cNvPr>
          <p:cNvSpPr txBox="1"/>
          <p:nvPr/>
        </p:nvSpPr>
        <p:spPr>
          <a:xfrm>
            <a:off x="5892894" y="3640670"/>
            <a:ext cx="1552934" cy="215444"/>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mn-ea"/>
                <a:cs typeface="+mn-cs"/>
              </a:rPr>
              <a:t>SIEM</a:t>
            </a:r>
          </a:p>
        </p:txBody>
      </p:sp>
      <p:sp>
        <p:nvSpPr>
          <p:cNvPr id="229" name="TextBox 228">
            <a:extLst>
              <a:ext uri="{FF2B5EF4-FFF2-40B4-BE49-F238E27FC236}">
                <a16:creationId xmlns:a16="http://schemas.microsoft.com/office/drawing/2014/main" id="{9A8D65DC-E5C6-D946-95E6-DE7D73E064BE}"/>
              </a:ext>
            </a:extLst>
          </p:cNvPr>
          <p:cNvSpPr txBox="1"/>
          <p:nvPr/>
        </p:nvSpPr>
        <p:spPr>
          <a:xfrm>
            <a:off x="6110108" y="3224853"/>
            <a:ext cx="1162178" cy="215444"/>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mn-ea"/>
                <a:cs typeface="+mn-cs"/>
              </a:rPr>
              <a:t>Security feeds</a:t>
            </a:r>
          </a:p>
        </p:txBody>
      </p:sp>
      <p:sp>
        <p:nvSpPr>
          <p:cNvPr id="230" name="TextBox 229">
            <a:extLst>
              <a:ext uri="{FF2B5EF4-FFF2-40B4-BE49-F238E27FC236}">
                <a16:creationId xmlns:a16="http://schemas.microsoft.com/office/drawing/2014/main" id="{3493C22A-2970-FD44-BA5D-70125231B2F0}"/>
              </a:ext>
            </a:extLst>
          </p:cNvPr>
          <p:cNvSpPr txBox="1"/>
          <p:nvPr/>
        </p:nvSpPr>
        <p:spPr>
          <a:xfrm>
            <a:off x="5930645" y="2773383"/>
            <a:ext cx="1477969" cy="215444"/>
          </a:xfrm>
          <a:prstGeom prst="rect">
            <a:avLst/>
          </a:prstGeom>
          <a:noFill/>
        </p:spPr>
        <p:txBody>
          <a:bodyPr wrap="none" lIns="0" tIns="0" rIns="0" bIns="0" rtlCol="0">
            <a:spAutoFit/>
          </a:bodyPr>
          <a:lstStyle/>
          <a:p>
            <a:pPr lvl="0">
              <a:defRPr/>
            </a:pPr>
            <a:r>
              <a:rPr lang="en-US" sz="1400">
                <a:solidFill>
                  <a:srgbClr val="0D274D"/>
                </a:solidFill>
              </a:rPr>
              <a:t>Playbooks (SOAR)</a:t>
            </a:r>
            <a:endParaRPr kumimoji="0" lang="en-US" sz="14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246" name="Rectangle: Rounded Corners 112">
            <a:extLst>
              <a:ext uri="{FF2B5EF4-FFF2-40B4-BE49-F238E27FC236}">
                <a16:creationId xmlns:a16="http://schemas.microsoft.com/office/drawing/2014/main" id="{5854C7EB-F073-8F45-8AF2-35D9ABD6DF8E}"/>
              </a:ext>
            </a:extLst>
          </p:cNvPr>
          <p:cNvSpPr/>
          <p:nvPr/>
        </p:nvSpPr>
        <p:spPr>
          <a:xfrm>
            <a:off x="5713236" y="2077429"/>
            <a:ext cx="1929023" cy="538213"/>
          </a:xfrm>
          <a:prstGeom prst="roundRect">
            <a:avLst>
              <a:gd name="adj" fmla="val 12099"/>
            </a:avLst>
          </a:prstGeom>
          <a:solidFill>
            <a:schemeClr val="tx2">
              <a:lumMod val="20000"/>
              <a:lumOff val="80000"/>
            </a:schemeClr>
          </a:solidFill>
          <a:ln w="34925"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225" name="TextBox 224">
            <a:extLst>
              <a:ext uri="{FF2B5EF4-FFF2-40B4-BE49-F238E27FC236}">
                <a16:creationId xmlns:a16="http://schemas.microsoft.com/office/drawing/2014/main" id="{34438B03-23E2-F742-9AC3-D28FB61EE33C}"/>
              </a:ext>
            </a:extLst>
          </p:cNvPr>
          <p:cNvSpPr txBox="1"/>
          <p:nvPr/>
        </p:nvSpPr>
        <p:spPr>
          <a:xfrm>
            <a:off x="5938959" y="1979356"/>
            <a:ext cx="1484521" cy="215444"/>
          </a:xfrm>
          <a:prstGeom prst="rect">
            <a:avLst/>
          </a:prstGeom>
          <a:solidFill>
            <a:schemeClr val="tx2">
              <a:lumMod val="20000"/>
              <a:lumOff val="80000"/>
            </a:schemeClr>
          </a:solid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panose="020B0503020201020303" pitchFamily="34" charset="0"/>
                <a:cs typeface="CiscoSansTT" panose="020B0503020201020303" pitchFamily="34" charset="0"/>
              </a:rPr>
              <a:t>Cisco SecureX</a:t>
            </a:r>
          </a:p>
        </p:txBody>
      </p:sp>
      <p:sp>
        <p:nvSpPr>
          <p:cNvPr id="111" name="Rectangle 110">
            <a:extLst>
              <a:ext uri="{FF2B5EF4-FFF2-40B4-BE49-F238E27FC236}">
                <a16:creationId xmlns:a16="http://schemas.microsoft.com/office/drawing/2014/main" id="{79A80986-5620-564A-8BEB-A9D60C23824D}"/>
              </a:ext>
            </a:extLst>
          </p:cNvPr>
          <p:cNvSpPr/>
          <p:nvPr/>
        </p:nvSpPr>
        <p:spPr>
          <a:xfrm>
            <a:off x="5699588" y="2190374"/>
            <a:ext cx="1967205" cy="400110"/>
          </a:xfrm>
          <a:prstGeom prst="rect">
            <a:avLst/>
          </a:prstGeom>
        </p:spPr>
        <p:txBody>
          <a:bodyPr wrap="none">
            <a:spAutoFit/>
          </a:bodyPr>
          <a:lstStyle/>
          <a:p>
            <a:pPr lvl="0" algn="ctr">
              <a:defRPr/>
            </a:pPr>
            <a:r>
              <a:rPr kumimoji="0" lang="en-US" sz="1000" b="0" i="0" u="none" strike="noStrike" kern="1200" cap="none" spc="0" normalizeH="0" baseline="0" noProof="0" dirty="0">
                <a:ln>
                  <a:noFill/>
                </a:ln>
                <a:solidFill>
                  <a:srgbClr val="0D274D"/>
                </a:solidFill>
                <a:effectLst/>
                <a:uLnTx/>
                <a:uFillTx/>
                <a:latin typeface="CiscoSansTT ExtraLight"/>
                <a:ea typeface="+mn-ea"/>
                <a:cs typeface="+mn-cs"/>
              </a:rPr>
              <a:t>dashboard | ribbon</a:t>
            </a:r>
            <a:br>
              <a:rPr lang="en-US" sz="1000" dirty="0">
                <a:solidFill>
                  <a:srgbClr val="0D274D"/>
                </a:solidFill>
              </a:rPr>
            </a:br>
            <a:r>
              <a:rPr lang="en-US" sz="1000" dirty="0">
                <a:solidFill>
                  <a:srgbClr val="0D274D"/>
                </a:solidFill>
              </a:rPr>
              <a:t>threat response</a:t>
            </a:r>
            <a:r>
              <a:rPr lang="en-US" sz="1000" dirty="0">
                <a:solidFill>
                  <a:srgbClr val="0D274D"/>
                </a:solidFill>
                <a:latin typeface="CiscoSansTT ExtraLight"/>
              </a:rPr>
              <a:t> | </a:t>
            </a:r>
            <a:r>
              <a:rPr kumimoji="0" lang="en-US" sz="1000" b="0" i="0" u="none" strike="noStrike" kern="1200" cap="none" spc="0" normalizeH="0" baseline="0" noProof="0" dirty="0">
                <a:ln>
                  <a:noFill/>
                </a:ln>
                <a:solidFill>
                  <a:srgbClr val="0D274D"/>
                </a:solidFill>
                <a:effectLst/>
                <a:uLnTx/>
                <a:uFillTx/>
                <a:latin typeface="CiscoSansTT ExtraLight"/>
                <a:ea typeface="+mn-ea"/>
                <a:cs typeface="+mn-cs"/>
              </a:rPr>
              <a:t>orchestration</a:t>
            </a:r>
          </a:p>
        </p:txBody>
      </p:sp>
      <p:sp>
        <p:nvSpPr>
          <p:cNvPr id="331" name="Rectangle 330">
            <a:extLst>
              <a:ext uri="{FF2B5EF4-FFF2-40B4-BE49-F238E27FC236}">
                <a16:creationId xmlns:a16="http://schemas.microsoft.com/office/drawing/2014/main" id="{3D9018F4-2260-D44C-85F6-001133EFAD0F}"/>
              </a:ext>
            </a:extLst>
          </p:cNvPr>
          <p:cNvSpPr/>
          <p:nvPr/>
        </p:nvSpPr>
        <p:spPr>
          <a:xfrm>
            <a:off x="3978364" y="1310831"/>
            <a:ext cx="1174636" cy="7190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rPr>
              <a:t>Provide enrichment and response</a:t>
            </a:r>
          </a:p>
        </p:txBody>
      </p:sp>
      <p:sp>
        <p:nvSpPr>
          <p:cNvPr id="341" name="Rectangle 340">
            <a:extLst>
              <a:ext uri="{FF2B5EF4-FFF2-40B4-BE49-F238E27FC236}">
                <a16:creationId xmlns:a16="http://schemas.microsoft.com/office/drawing/2014/main" id="{2B3349DC-D52D-DD46-895C-D88EE72F3AD0}"/>
              </a:ext>
            </a:extLst>
          </p:cNvPr>
          <p:cNvSpPr/>
          <p:nvPr/>
        </p:nvSpPr>
        <p:spPr>
          <a:xfrm>
            <a:off x="3732610" y="1310831"/>
            <a:ext cx="1323838" cy="24143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srgbClr val="0D274D">
                  <a:lumMod val="50000"/>
                  <a:lumOff val="50000"/>
                </a:srgbClr>
              </a:solidFill>
              <a:effectLst/>
              <a:uLnTx/>
              <a:uFillTx/>
              <a:latin typeface="CiscoSansTT ExtraLight"/>
              <a:ea typeface="+mn-ea"/>
              <a:cs typeface="+mn-cs"/>
            </a:endParaRPr>
          </a:p>
        </p:txBody>
      </p:sp>
      <p:sp>
        <p:nvSpPr>
          <p:cNvPr id="3" name="Rounded Rectangle 2">
            <a:extLst>
              <a:ext uri="{FF2B5EF4-FFF2-40B4-BE49-F238E27FC236}">
                <a16:creationId xmlns:a16="http://schemas.microsoft.com/office/drawing/2014/main" id="{43FB0F5C-A710-E245-B4F3-4B7D4F86FD75}"/>
              </a:ext>
            </a:extLst>
          </p:cNvPr>
          <p:cNvSpPr/>
          <p:nvPr/>
        </p:nvSpPr>
        <p:spPr>
          <a:xfrm>
            <a:off x="5293615" y="4102101"/>
            <a:ext cx="2748983" cy="310540"/>
          </a:xfrm>
          <a:prstGeom prst="roundRect">
            <a:avLst>
              <a:gd name="adj" fmla="val 40091"/>
            </a:avLst>
          </a:prstGeom>
          <a:solidFill>
            <a:schemeClr val="bg1"/>
          </a:solidFill>
          <a:ln w="254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BAB18"/>
                </a:solidFill>
                <a:effectLst/>
                <a:uLnTx/>
                <a:uFillTx/>
                <a:latin typeface="CiscoSansTT ExtraLight"/>
                <a:ea typeface="+mn-ea"/>
                <a:cs typeface="+mn-cs"/>
              </a:rPr>
              <a:t>Your ITOps and NOC</a:t>
            </a:r>
          </a:p>
        </p:txBody>
      </p:sp>
      <p:grpSp>
        <p:nvGrpSpPr>
          <p:cNvPr id="11" name="Group 10">
            <a:extLst>
              <a:ext uri="{FF2B5EF4-FFF2-40B4-BE49-F238E27FC236}">
                <a16:creationId xmlns:a16="http://schemas.microsoft.com/office/drawing/2014/main" id="{02E4D888-65D1-2C47-B29C-41CAB9957A26}"/>
              </a:ext>
            </a:extLst>
          </p:cNvPr>
          <p:cNvGrpSpPr/>
          <p:nvPr/>
        </p:nvGrpSpPr>
        <p:grpSpPr>
          <a:xfrm>
            <a:off x="5392868" y="2218122"/>
            <a:ext cx="439026" cy="1505083"/>
            <a:chOff x="5392868" y="2218122"/>
            <a:chExt cx="439026" cy="1505083"/>
          </a:xfrm>
        </p:grpSpPr>
        <p:sp>
          <p:nvSpPr>
            <p:cNvPr id="54" name="Arrow: Bent 1">
              <a:extLst>
                <a:ext uri="{FF2B5EF4-FFF2-40B4-BE49-F238E27FC236}">
                  <a16:creationId xmlns:a16="http://schemas.microsoft.com/office/drawing/2014/main" id="{FE16CF3C-19F0-4942-8C28-4D7B18043D64}"/>
                </a:ext>
              </a:extLst>
            </p:cNvPr>
            <p:cNvSpPr/>
            <p:nvPr/>
          </p:nvSpPr>
          <p:spPr>
            <a:xfrm>
              <a:off x="5503824" y="2330605"/>
              <a:ext cx="149131" cy="1208608"/>
            </a:xfrm>
            <a:prstGeom prst="bentArrow">
              <a:avLst>
                <a:gd name="adj1" fmla="val 25000"/>
                <a:gd name="adj2" fmla="val 0"/>
                <a:gd name="adj3" fmla="val 25000"/>
                <a:gd name="adj4" fmla="val 59185"/>
              </a:avLst>
            </a:prstGeom>
            <a:solidFill>
              <a:schemeClr val="accent1"/>
            </a:solidFill>
            <a:ln w="12700">
              <a:gradFill>
                <a:gsLst>
                  <a:gs pos="0">
                    <a:schemeClr val="bg2">
                      <a:lumMod val="85000"/>
                    </a:schemeClr>
                  </a:gs>
                  <a:gs pos="100000">
                    <a:schemeClr val="tx2"/>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9" name="Group 8">
              <a:extLst>
                <a:ext uri="{FF2B5EF4-FFF2-40B4-BE49-F238E27FC236}">
                  <a16:creationId xmlns:a16="http://schemas.microsoft.com/office/drawing/2014/main" id="{BA21E58D-600E-0746-BF6C-41286CD89969}"/>
                </a:ext>
              </a:extLst>
            </p:cNvPr>
            <p:cNvGrpSpPr>
              <a:grpSpLocks noChangeAspect="1"/>
            </p:cNvGrpSpPr>
            <p:nvPr/>
          </p:nvGrpSpPr>
          <p:grpSpPr>
            <a:xfrm>
              <a:off x="5392868" y="3539213"/>
              <a:ext cx="231768" cy="183992"/>
              <a:chOff x="5020469" y="3474555"/>
              <a:chExt cx="231768" cy="183992"/>
            </a:xfrm>
          </p:grpSpPr>
          <p:sp>
            <p:nvSpPr>
              <p:cNvPr id="344" name="Isosceles Triangle 49">
                <a:extLst>
                  <a:ext uri="{FF2B5EF4-FFF2-40B4-BE49-F238E27FC236}">
                    <a16:creationId xmlns:a16="http://schemas.microsoft.com/office/drawing/2014/main" id="{63E9C6FE-A2AF-6347-8516-E2BAACB085F1}"/>
                  </a:ext>
                </a:extLst>
              </p:cNvPr>
              <p:cNvSpPr/>
              <p:nvPr/>
            </p:nvSpPr>
            <p:spPr>
              <a:xfrm rot="10800000" flipH="1">
                <a:off x="5020469" y="3474555"/>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12700" cap="rnd" cmpd="sng" algn="ctr">
                <a:solidFill>
                  <a:schemeClr val="tx2"/>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6" name="TextBox 5">
                <a:extLst>
                  <a:ext uri="{FF2B5EF4-FFF2-40B4-BE49-F238E27FC236}">
                    <a16:creationId xmlns:a16="http://schemas.microsoft.com/office/drawing/2014/main" id="{E1AD8FA6-A7CE-A844-8C84-F01B58A76276}"/>
                  </a:ext>
                </a:extLst>
              </p:cNvPr>
              <p:cNvSpPr txBox="1"/>
              <p:nvPr/>
            </p:nvSpPr>
            <p:spPr>
              <a:xfrm>
                <a:off x="5096619" y="3475296"/>
                <a:ext cx="76944" cy="153888"/>
              </a:xfrm>
              <a:prstGeom prst="rect">
                <a:avLst/>
              </a:prstGeom>
              <a:noFill/>
            </p:spPr>
            <p:txBody>
              <a:bodyPr wrap="non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EBE4A"/>
                    </a:solidFill>
                    <a:effectLst/>
                    <a:uLnTx/>
                    <a:uFillTx/>
                    <a:latin typeface="CiscoSansTT" panose="020B0503020201020303" pitchFamily="34" charset="0"/>
                    <a:ea typeface="+mn-ea"/>
                    <a:cs typeface="CiscoSansTT" panose="020B0503020201020303" pitchFamily="34" charset="0"/>
                  </a:rPr>
                  <a:t>1</a:t>
                </a:r>
              </a:p>
            </p:txBody>
          </p:sp>
        </p:grpSp>
        <p:grpSp>
          <p:nvGrpSpPr>
            <p:cNvPr id="7" name="Group 6">
              <a:extLst>
                <a:ext uri="{FF2B5EF4-FFF2-40B4-BE49-F238E27FC236}">
                  <a16:creationId xmlns:a16="http://schemas.microsoft.com/office/drawing/2014/main" id="{0E681650-674A-A34F-B267-840ABF4535B4}"/>
                </a:ext>
              </a:extLst>
            </p:cNvPr>
            <p:cNvGrpSpPr>
              <a:grpSpLocks noChangeAspect="1"/>
            </p:cNvGrpSpPr>
            <p:nvPr/>
          </p:nvGrpSpPr>
          <p:grpSpPr>
            <a:xfrm rot="10800000">
              <a:off x="5647902" y="2218122"/>
              <a:ext cx="183992" cy="231768"/>
              <a:chOff x="6955090" y="2266825"/>
              <a:chExt cx="183992" cy="231768"/>
            </a:xfrm>
          </p:grpSpPr>
          <p:sp>
            <p:nvSpPr>
              <p:cNvPr id="261" name="Isosceles Triangle 49">
                <a:extLst>
                  <a:ext uri="{FF2B5EF4-FFF2-40B4-BE49-F238E27FC236}">
                    <a16:creationId xmlns:a16="http://schemas.microsoft.com/office/drawing/2014/main" id="{C3978A47-6216-BE4B-938C-F6FDDD9C8F4B}"/>
                  </a:ext>
                </a:extLst>
              </p:cNvPr>
              <p:cNvSpPr/>
              <p:nvPr/>
            </p:nvSpPr>
            <p:spPr>
              <a:xfrm rot="16200000" flipH="1">
                <a:off x="6931202" y="2290713"/>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12700" cap="rnd" cmpd="sng" algn="ctr">
                <a:solidFill>
                  <a:schemeClr val="bg2">
                    <a:lumMod val="85000"/>
                  </a:schemeClr>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61" name="TextBox 60">
                <a:extLst>
                  <a:ext uri="{FF2B5EF4-FFF2-40B4-BE49-F238E27FC236}">
                    <a16:creationId xmlns:a16="http://schemas.microsoft.com/office/drawing/2014/main" id="{42CC7C5A-876A-7849-8759-1092ED5098EC}"/>
                  </a:ext>
                </a:extLst>
              </p:cNvPr>
              <p:cNvSpPr txBox="1"/>
              <p:nvPr/>
            </p:nvSpPr>
            <p:spPr>
              <a:xfrm rot="10800000" flipH="1">
                <a:off x="7047221" y="2307357"/>
                <a:ext cx="70598" cy="15388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lumMod val="65000"/>
                      </a:srgbClr>
                    </a:solidFill>
                    <a:effectLst/>
                    <a:uLnTx/>
                    <a:uFillTx/>
                    <a:latin typeface="CiscoSansTT" panose="020B0503020201020303" pitchFamily="34" charset="0"/>
                    <a:ea typeface="+mn-ea"/>
                    <a:cs typeface="CiscoSansTT" panose="020B0503020201020303" pitchFamily="34" charset="0"/>
                  </a:rPr>
                  <a:t>2</a:t>
                </a:r>
              </a:p>
            </p:txBody>
          </p:sp>
        </p:grpSp>
      </p:grpSp>
      <p:grpSp>
        <p:nvGrpSpPr>
          <p:cNvPr id="10" name="Group 9">
            <a:extLst>
              <a:ext uri="{FF2B5EF4-FFF2-40B4-BE49-F238E27FC236}">
                <a16:creationId xmlns:a16="http://schemas.microsoft.com/office/drawing/2014/main" id="{4CA9EC7B-912F-F947-9C31-918DC75C7DA1}"/>
              </a:ext>
            </a:extLst>
          </p:cNvPr>
          <p:cNvGrpSpPr/>
          <p:nvPr/>
        </p:nvGrpSpPr>
        <p:grpSpPr>
          <a:xfrm>
            <a:off x="7536480" y="2218122"/>
            <a:ext cx="469726" cy="2006007"/>
            <a:chOff x="7536480" y="2218122"/>
            <a:chExt cx="469726" cy="2006007"/>
          </a:xfrm>
        </p:grpSpPr>
        <p:grpSp>
          <p:nvGrpSpPr>
            <p:cNvPr id="8" name="Group 7">
              <a:extLst>
                <a:ext uri="{FF2B5EF4-FFF2-40B4-BE49-F238E27FC236}">
                  <a16:creationId xmlns:a16="http://schemas.microsoft.com/office/drawing/2014/main" id="{A061BC4B-67A0-E34F-A073-E47526B7876C}"/>
                </a:ext>
              </a:extLst>
            </p:cNvPr>
            <p:cNvGrpSpPr>
              <a:grpSpLocks noChangeAspect="1"/>
            </p:cNvGrpSpPr>
            <p:nvPr/>
          </p:nvGrpSpPr>
          <p:grpSpPr>
            <a:xfrm>
              <a:off x="7774438" y="4040137"/>
              <a:ext cx="231768" cy="183992"/>
              <a:chOff x="7231428" y="4002911"/>
              <a:chExt cx="231768" cy="183992"/>
            </a:xfrm>
          </p:grpSpPr>
          <p:sp>
            <p:nvSpPr>
              <p:cNvPr id="63" name="Isosceles Triangle 49">
                <a:extLst>
                  <a:ext uri="{FF2B5EF4-FFF2-40B4-BE49-F238E27FC236}">
                    <a16:creationId xmlns:a16="http://schemas.microsoft.com/office/drawing/2014/main" id="{B1AA33C0-F0D7-ED48-ADE9-3E80BC436E9E}"/>
                  </a:ext>
                </a:extLst>
              </p:cNvPr>
              <p:cNvSpPr/>
              <p:nvPr/>
            </p:nvSpPr>
            <p:spPr>
              <a:xfrm rot="10800000" flipH="1">
                <a:off x="7231428" y="4002911"/>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12700" cap="rnd" cmpd="sng" algn="ctr">
                <a:solidFill>
                  <a:schemeClr val="tx2"/>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64" name="TextBox 63">
                <a:extLst>
                  <a:ext uri="{FF2B5EF4-FFF2-40B4-BE49-F238E27FC236}">
                    <a16:creationId xmlns:a16="http://schemas.microsoft.com/office/drawing/2014/main" id="{B3C909ED-2C51-FE43-9BE8-66C25127A126}"/>
                  </a:ext>
                </a:extLst>
              </p:cNvPr>
              <p:cNvSpPr txBox="1"/>
              <p:nvPr/>
            </p:nvSpPr>
            <p:spPr>
              <a:xfrm>
                <a:off x="7316722" y="4003652"/>
                <a:ext cx="76944" cy="153888"/>
              </a:xfrm>
              <a:prstGeom prst="rect">
                <a:avLst/>
              </a:prstGeom>
              <a:noFill/>
              <a:ln>
                <a:noFill/>
              </a:ln>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EBE4A"/>
                    </a:solidFill>
                    <a:effectLst/>
                    <a:uLnTx/>
                    <a:uFillTx/>
                    <a:latin typeface="CiscoSansTT" panose="020B0503020201020303" pitchFamily="34" charset="0"/>
                    <a:ea typeface="+mn-ea"/>
                    <a:cs typeface="CiscoSansTT" panose="020B0503020201020303" pitchFamily="34" charset="0"/>
                  </a:rPr>
                  <a:t>3</a:t>
                </a:r>
              </a:p>
            </p:txBody>
          </p:sp>
        </p:grpSp>
        <p:sp>
          <p:nvSpPr>
            <p:cNvPr id="65" name="Arrow: Bent 1">
              <a:extLst>
                <a:ext uri="{FF2B5EF4-FFF2-40B4-BE49-F238E27FC236}">
                  <a16:creationId xmlns:a16="http://schemas.microsoft.com/office/drawing/2014/main" id="{ABCF5C38-A0A0-7148-9486-66DB67399461}"/>
                </a:ext>
              </a:extLst>
            </p:cNvPr>
            <p:cNvSpPr/>
            <p:nvPr/>
          </p:nvSpPr>
          <p:spPr>
            <a:xfrm flipH="1">
              <a:off x="7732773" y="2330605"/>
              <a:ext cx="155061" cy="1736964"/>
            </a:xfrm>
            <a:prstGeom prst="bentArrow">
              <a:avLst>
                <a:gd name="adj1" fmla="val 25000"/>
                <a:gd name="adj2" fmla="val 0"/>
                <a:gd name="adj3" fmla="val 25000"/>
                <a:gd name="adj4" fmla="val 59185"/>
              </a:avLst>
            </a:prstGeom>
            <a:solidFill>
              <a:schemeClr val="accent5"/>
            </a:solidFill>
            <a:ln w="12700">
              <a:gradFill>
                <a:gsLst>
                  <a:gs pos="0">
                    <a:schemeClr val="accent5"/>
                  </a:gs>
                  <a:gs pos="100000">
                    <a:schemeClr val="tx2"/>
                  </a:gs>
                </a:gsLst>
                <a:lin ang="5400000" scaled="1"/>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69" name="Group 68">
              <a:extLst>
                <a:ext uri="{FF2B5EF4-FFF2-40B4-BE49-F238E27FC236}">
                  <a16:creationId xmlns:a16="http://schemas.microsoft.com/office/drawing/2014/main" id="{8C5A98C4-82C4-884F-B3BD-D5563958FAC2}"/>
                </a:ext>
              </a:extLst>
            </p:cNvPr>
            <p:cNvGrpSpPr>
              <a:grpSpLocks noChangeAspect="1"/>
            </p:cNvGrpSpPr>
            <p:nvPr/>
          </p:nvGrpSpPr>
          <p:grpSpPr>
            <a:xfrm>
              <a:off x="7536480" y="2218122"/>
              <a:ext cx="183992" cy="231768"/>
              <a:chOff x="6955090" y="2266825"/>
              <a:chExt cx="183992" cy="231768"/>
            </a:xfrm>
          </p:grpSpPr>
          <p:sp>
            <p:nvSpPr>
              <p:cNvPr id="70" name="Isosceles Triangle 49">
                <a:extLst>
                  <a:ext uri="{FF2B5EF4-FFF2-40B4-BE49-F238E27FC236}">
                    <a16:creationId xmlns:a16="http://schemas.microsoft.com/office/drawing/2014/main" id="{40502E33-1604-0442-89C4-678E6C0374EE}"/>
                  </a:ext>
                </a:extLst>
              </p:cNvPr>
              <p:cNvSpPr/>
              <p:nvPr/>
            </p:nvSpPr>
            <p:spPr>
              <a:xfrm rot="16200000" flipH="1">
                <a:off x="6931202" y="2290713"/>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12700" cap="rnd" cmpd="sng" algn="ctr">
                <a:solidFill>
                  <a:schemeClr val="accent5"/>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71" name="TextBox 70">
                <a:extLst>
                  <a:ext uri="{FF2B5EF4-FFF2-40B4-BE49-F238E27FC236}">
                    <a16:creationId xmlns:a16="http://schemas.microsoft.com/office/drawing/2014/main" id="{89D67B49-E6A6-E445-8C88-73656B864A18}"/>
                  </a:ext>
                </a:extLst>
              </p:cNvPr>
              <p:cNvSpPr txBox="1"/>
              <p:nvPr/>
            </p:nvSpPr>
            <p:spPr>
              <a:xfrm flipH="1">
                <a:off x="7047221" y="2307357"/>
                <a:ext cx="70598" cy="153888"/>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BAB18"/>
                    </a:solidFill>
                    <a:effectLst/>
                    <a:uLnTx/>
                    <a:uFillTx/>
                    <a:latin typeface="CiscoSansTT" panose="020B0503020201020303" pitchFamily="34" charset="0"/>
                    <a:ea typeface="+mn-ea"/>
                    <a:cs typeface="CiscoSansTT" panose="020B0503020201020303" pitchFamily="34" charset="0"/>
                  </a:rPr>
                  <a:t>4</a:t>
                </a:r>
              </a:p>
            </p:txBody>
          </p:sp>
        </p:grpSp>
      </p:grpSp>
    </p:spTree>
    <p:extLst>
      <p:ext uri="{BB962C8B-B14F-4D97-AF65-F5344CB8AC3E}">
        <p14:creationId xmlns:p14="http://schemas.microsoft.com/office/powerpoint/2010/main" val="280028946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DC8F23-23E9-2744-A95E-8557A7C6D945}"/>
              </a:ext>
            </a:extLst>
          </p:cNvPr>
          <p:cNvSpPr>
            <a:spLocks noGrp="1"/>
          </p:cNvSpPr>
          <p:nvPr>
            <p:ph type="title"/>
          </p:nvPr>
        </p:nvSpPr>
        <p:spPr/>
        <p:txBody>
          <a:bodyPr/>
          <a:lstStyle/>
          <a:p>
            <a:r>
              <a:rPr lang="en-US" err="1">
                <a:sym typeface="CiscoSansTT ExtraLight"/>
              </a:rPr>
              <a:t>SecureX</a:t>
            </a:r>
            <a:r>
              <a:rPr lang="en-US">
                <a:sym typeface="CiscoSansTT ExtraLight"/>
              </a:rPr>
              <a:t> in the classroom</a:t>
            </a:r>
            <a:endParaRPr lang="en-US"/>
          </a:p>
        </p:txBody>
      </p:sp>
      <p:sp>
        <p:nvSpPr>
          <p:cNvPr id="4" name="Text Placeholder 3">
            <a:extLst>
              <a:ext uri="{FF2B5EF4-FFF2-40B4-BE49-F238E27FC236}">
                <a16:creationId xmlns:a16="http://schemas.microsoft.com/office/drawing/2014/main" id="{BCDFF643-4349-B542-A503-613C4F38BE85}"/>
              </a:ext>
            </a:extLst>
          </p:cNvPr>
          <p:cNvSpPr>
            <a:spLocks noGrp="1"/>
          </p:cNvSpPr>
          <p:nvPr>
            <p:ph type="body" sz="quarter" idx="11"/>
          </p:nvPr>
        </p:nvSpPr>
        <p:spPr/>
        <p:txBody>
          <a:bodyPr/>
          <a:lstStyle/>
          <a:p>
            <a:pPr marL="171450" lvl="1" indent="0">
              <a:buNone/>
            </a:pPr>
            <a:r>
              <a:rPr lang="en-US" sz="2000">
                <a:solidFill>
                  <a:schemeClr val="tx2"/>
                </a:solidFill>
              </a:rPr>
              <a:t>Multiple, global threat hunting workshops</a:t>
            </a:r>
          </a:p>
          <a:p>
            <a:pPr marL="171450" lvl="1" indent="0">
              <a:buNone/>
            </a:pPr>
            <a:r>
              <a:rPr lang="en-US"/>
              <a:t>Every quarter and now as virtual classes </a:t>
            </a:r>
            <a:br>
              <a:rPr lang="en-US"/>
            </a:br>
            <a:r>
              <a:rPr lang="en-US"/>
              <a:t>to educate teams with real-world scenarios </a:t>
            </a:r>
          </a:p>
          <a:p>
            <a:pPr marL="171450" lvl="1" indent="0">
              <a:buNone/>
            </a:pPr>
            <a:endParaRPr lang="en-US"/>
          </a:p>
          <a:p>
            <a:pPr marL="171450" lvl="1" indent="0">
              <a:buNone/>
            </a:pPr>
            <a:r>
              <a:rPr lang="en-US" sz="2000">
                <a:solidFill>
                  <a:schemeClr val="tx2"/>
                </a:solidFill>
              </a:rPr>
              <a:t>Now features </a:t>
            </a:r>
            <a:r>
              <a:rPr lang="en-US" sz="2000" err="1">
                <a:solidFill>
                  <a:schemeClr val="tx2"/>
                </a:solidFill>
              </a:rPr>
              <a:t>SecureX</a:t>
            </a:r>
            <a:r>
              <a:rPr lang="en-US" sz="2000">
                <a:solidFill>
                  <a:schemeClr val="tx2"/>
                </a:solidFill>
              </a:rPr>
              <a:t> use cases</a:t>
            </a:r>
          </a:p>
          <a:p>
            <a:pPr marL="171450" lvl="1" indent="0">
              <a:buNone/>
            </a:pPr>
            <a:r>
              <a:rPr lang="en-US"/>
              <a:t>Learn how to defend against advanced </a:t>
            </a:r>
            <a:br>
              <a:rPr lang="en-US"/>
            </a:br>
            <a:r>
              <a:rPr lang="en-US"/>
              <a:t>adversaries with the platform</a:t>
            </a:r>
          </a:p>
        </p:txBody>
      </p:sp>
      <p:sp>
        <p:nvSpPr>
          <p:cNvPr id="7" name="Rectangle 6">
            <a:extLst>
              <a:ext uri="{FF2B5EF4-FFF2-40B4-BE49-F238E27FC236}">
                <a16:creationId xmlns:a16="http://schemas.microsoft.com/office/drawing/2014/main" id="{385B464A-2466-EB48-98BA-E36AC4E9535A}"/>
              </a:ext>
            </a:extLst>
          </p:cNvPr>
          <p:cNvSpPr/>
          <p:nvPr/>
        </p:nvSpPr>
        <p:spPr>
          <a:xfrm>
            <a:off x="5685576" y="0"/>
            <a:ext cx="3458424" cy="51435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DCC8CC7D-6770-6E47-97ED-A9D34C083C45}"/>
              </a:ext>
            </a:extLst>
          </p:cNvPr>
          <p:cNvPicPr>
            <a:picLocks noChangeAspect="1"/>
          </p:cNvPicPr>
          <p:nvPr/>
        </p:nvPicPr>
        <p:blipFill rotWithShape="1">
          <a:blip r:embed="rId3">
            <a:extLst>
              <a:ext uri="{28A0092B-C50C-407E-A947-70E740481C1C}">
                <a14:useLocalDpi xmlns:a14="http://schemas.microsoft.com/office/drawing/2010/main" val="0"/>
              </a:ext>
            </a:extLst>
          </a:blip>
          <a:srcRect l="310" t="168" r="10094" b="4156"/>
          <a:stretch/>
        </p:blipFill>
        <p:spPr>
          <a:xfrm>
            <a:off x="3921245" y="1"/>
            <a:ext cx="5222756" cy="5143500"/>
          </a:xfrm>
          <a:prstGeom prst="rect">
            <a:avLst/>
          </a:prstGeom>
        </p:spPr>
      </p:pic>
    </p:spTree>
    <p:extLst>
      <p:ext uri="{BB962C8B-B14F-4D97-AF65-F5344CB8AC3E}">
        <p14:creationId xmlns:p14="http://schemas.microsoft.com/office/powerpoint/2010/main" val="1554428509"/>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4DC6394-BA8E-8146-8C2C-AA7A7F71B0F0}"/>
              </a:ext>
            </a:extLst>
          </p:cNvPr>
          <p:cNvSpPr>
            <a:spLocks noGrp="1"/>
          </p:cNvSpPr>
          <p:nvPr>
            <p:ph type="title"/>
          </p:nvPr>
        </p:nvSpPr>
        <p:spPr>
          <a:xfrm>
            <a:off x="437766" y="341312"/>
            <a:ext cx="8345488" cy="1149519"/>
          </a:xfrm>
        </p:spPr>
        <p:txBody>
          <a:bodyPr/>
          <a:lstStyle/>
          <a:p>
            <a:pPr lvl="0" defTabSz="685800" fontAlgn="auto">
              <a:lnSpc>
                <a:spcPct val="100000"/>
              </a:lnSpc>
              <a:spcBef>
                <a:spcPts val="0"/>
              </a:spcBef>
              <a:spcAft>
                <a:spcPts val="0"/>
              </a:spcAft>
              <a:defRPr/>
            </a:pPr>
            <a:r>
              <a:rPr lang="en-US" dirty="0"/>
              <a:t>Services to unlock your </a:t>
            </a:r>
            <a:r>
              <a:rPr lang="en-US" dirty="0">
                <a:solidFill>
                  <a:srgbClr val="6EBE4A"/>
                </a:solidFill>
                <a:latin typeface="CiscoSansTT" panose="020B0503020201020303" pitchFamily="34" charset="0"/>
                <a:cs typeface="CiscoSansTT" panose="020B0503020201020303" pitchFamily="34" charset="0"/>
              </a:rPr>
              <a:t>full potential</a:t>
            </a:r>
            <a:br>
              <a:rPr lang="en-US" dirty="0">
                <a:solidFill>
                  <a:srgbClr val="6EBE4A"/>
                </a:solidFill>
                <a:latin typeface="CiscoSansTT" panose="020B0503020201020303" pitchFamily="34" charset="0"/>
                <a:cs typeface="CiscoSansTT" panose="020B0503020201020303" pitchFamily="34" charset="0"/>
              </a:rPr>
            </a:br>
            <a:r>
              <a:rPr lang="en-US" sz="1600" dirty="0">
                <a:solidFill>
                  <a:srgbClr val="0D274D"/>
                </a:solidFill>
                <a:latin typeface="CiscoSansTT ExtraLight" panose="020B0303020201020303" pitchFamily="34" charset="0"/>
                <a:ea typeface="+mn-ea"/>
                <a:cs typeface="+mn-cs"/>
              </a:rPr>
              <a:t>R</a:t>
            </a:r>
            <a:r>
              <a:rPr lang="en-US" sz="1600" dirty="0">
                <a:solidFill>
                  <a:srgbClr val="0D274D"/>
                </a:solidFill>
                <a:latin typeface="CiscoSansTT ExtraLight" panose="020B0303020201020303" pitchFamily="34" charset="0"/>
                <a:ea typeface="+mn-ea"/>
                <a:cs typeface="+mn-cs"/>
                <a:sym typeface="CiscoSansTT"/>
              </a:rPr>
              <a:t>each your outcomes and resolve roadblocks towards a mature security </a:t>
            </a:r>
            <a:r>
              <a:rPr lang="en-US" sz="1600" dirty="0">
                <a:solidFill>
                  <a:srgbClr val="0D274D"/>
                </a:solidFill>
                <a:latin typeface="CiscoSansTT ExtraLight" panose="020B0303020201020303" pitchFamily="34" charset="0"/>
                <a:ea typeface="+mn-ea"/>
                <a:cs typeface="+mn-cs"/>
              </a:rPr>
              <a:t>posture </a:t>
            </a:r>
            <a:br>
              <a:rPr lang="en-US" sz="1600" dirty="0">
                <a:solidFill>
                  <a:srgbClr val="0D274D"/>
                </a:solidFill>
                <a:latin typeface="CiscoSansTT ExtraLight" panose="020B0303020201020303" pitchFamily="34" charset="0"/>
                <a:ea typeface="+mn-ea"/>
                <a:cs typeface="+mn-cs"/>
              </a:rPr>
            </a:br>
            <a:r>
              <a:rPr lang="en-US" sz="1600" dirty="0">
                <a:solidFill>
                  <a:srgbClr val="00BCEB"/>
                </a:solidFill>
                <a:latin typeface="CiscoSansTT" panose="020B0503020201020303" pitchFamily="34" charset="0"/>
                <a:ea typeface="+mn-ea"/>
                <a:cs typeface="CiscoSansTT" panose="020B0503020201020303" pitchFamily="34" charset="0"/>
              </a:rPr>
              <a:t>faster with these Cisco CX Services</a:t>
            </a:r>
            <a:r>
              <a:rPr lang="en-US" sz="1600" dirty="0">
                <a:solidFill>
                  <a:srgbClr val="0D274D"/>
                </a:solidFill>
                <a:latin typeface="CiscoSansTT ExtraLight" panose="020B0303020201020303" pitchFamily="34" charset="0"/>
                <a:ea typeface="+mn-ea"/>
                <a:cs typeface="+mn-cs"/>
              </a:rPr>
              <a:t>:</a:t>
            </a:r>
            <a:endParaRPr lang="en-US" dirty="0"/>
          </a:p>
        </p:txBody>
      </p:sp>
      <p:sp>
        <p:nvSpPr>
          <p:cNvPr id="117" name="Rectangle 116">
            <a:extLst>
              <a:ext uri="{FF2B5EF4-FFF2-40B4-BE49-F238E27FC236}">
                <a16:creationId xmlns:a16="http://schemas.microsoft.com/office/drawing/2014/main" id="{2C6698FA-AEAC-BB4B-913F-8EF3D90A95CE}"/>
              </a:ext>
            </a:extLst>
          </p:cNvPr>
          <p:cNvSpPr/>
          <p:nvPr/>
        </p:nvSpPr>
        <p:spPr>
          <a:xfrm>
            <a:off x="0" y="3052758"/>
            <a:ext cx="9143999" cy="1489311"/>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8" name="Title 1">
            <a:extLst>
              <a:ext uri="{FF2B5EF4-FFF2-40B4-BE49-F238E27FC236}">
                <a16:creationId xmlns:a16="http://schemas.microsoft.com/office/drawing/2014/main" id="{A464F27C-1582-7A45-8584-4A63534584DA}"/>
              </a:ext>
            </a:extLst>
          </p:cNvPr>
          <p:cNvSpPr txBox="1">
            <a:spLocks/>
          </p:cNvSpPr>
          <p:nvPr/>
        </p:nvSpPr>
        <p:spPr>
          <a:xfrm>
            <a:off x="464573" y="3186023"/>
            <a:ext cx="2162072" cy="550925"/>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t>Automation and </a:t>
            </a:r>
            <a:b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br>
            <a:r>
              <a:rPr lang="en-US" sz="1600" b="0" kern="0">
                <a:solidFill>
                  <a:srgbClr val="0D274D"/>
                </a:solidFill>
                <a:latin typeface="CiscoSansTT ExtraLight" panose="020B0303020201020303" pitchFamily="34" charset="0"/>
              </a:rPr>
              <a:t>orchestration</a:t>
            </a:r>
            <a:endPar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endParaRPr>
          </a:p>
        </p:txBody>
      </p:sp>
      <p:sp>
        <p:nvSpPr>
          <p:cNvPr id="119" name="Title 1">
            <a:extLst>
              <a:ext uri="{FF2B5EF4-FFF2-40B4-BE49-F238E27FC236}">
                <a16:creationId xmlns:a16="http://schemas.microsoft.com/office/drawing/2014/main" id="{371E982B-CC24-434D-B015-25D686445218}"/>
              </a:ext>
            </a:extLst>
          </p:cNvPr>
          <p:cNvSpPr txBox="1">
            <a:spLocks/>
          </p:cNvSpPr>
          <p:nvPr/>
        </p:nvSpPr>
        <p:spPr>
          <a:xfrm>
            <a:off x="410667" y="3763634"/>
            <a:ext cx="2269885" cy="550926"/>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D274D"/>
                </a:solidFill>
                <a:effectLst/>
                <a:uLnTx/>
                <a:uFillTx/>
                <a:latin typeface="CiscoSansTT ExtraLight" panose="020B0303020201020303" pitchFamily="34" charset="0"/>
                <a:ea typeface="ＭＳ Ｐゴシック"/>
                <a:cs typeface="Arial" panose="020B0604020202020204" pitchFamily="34" charset="0"/>
                <a:sym typeface="CiscoSansTT"/>
              </a:rPr>
              <a:t>Identify automation opportunities and build custom playbooks across Cisco and multi-vendor solutions.</a:t>
            </a:r>
          </a:p>
        </p:txBody>
      </p:sp>
      <p:sp>
        <p:nvSpPr>
          <p:cNvPr id="120" name="Title 1">
            <a:extLst>
              <a:ext uri="{FF2B5EF4-FFF2-40B4-BE49-F238E27FC236}">
                <a16:creationId xmlns:a16="http://schemas.microsoft.com/office/drawing/2014/main" id="{8B022050-E231-0D45-A14F-7A05B8C14735}"/>
              </a:ext>
            </a:extLst>
          </p:cNvPr>
          <p:cNvSpPr txBox="1">
            <a:spLocks/>
          </p:cNvSpPr>
          <p:nvPr/>
        </p:nvSpPr>
        <p:spPr>
          <a:xfrm>
            <a:off x="3490964" y="3186023"/>
            <a:ext cx="2162072" cy="550925"/>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t>SOC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t>enablement</a:t>
            </a:r>
          </a:p>
        </p:txBody>
      </p:sp>
      <p:sp>
        <p:nvSpPr>
          <p:cNvPr id="121" name="Title 1">
            <a:extLst>
              <a:ext uri="{FF2B5EF4-FFF2-40B4-BE49-F238E27FC236}">
                <a16:creationId xmlns:a16="http://schemas.microsoft.com/office/drawing/2014/main" id="{0EF737C6-6AFE-3E43-A4A5-3E95B3540F90}"/>
              </a:ext>
            </a:extLst>
          </p:cNvPr>
          <p:cNvSpPr txBox="1">
            <a:spLocks/>
          </p:cNvSpPr>
          <p:nvPr/>
        </p:nvSpPr>
        <p:spPr>
          <a:xfrm>
            <a:off x="3331054" y="3767219"/>
            <a:ext cx="2481892" cy="550926"/>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D274D"/>
                </a:solidFill>
                <a:effectLst/>
                <a:uLnTx/>
                <a:uFillTx/>
                <a:latin typeface="CiscoSansTT ExtraLight" panose="020B0303020201020303" pitchFamily="34" charset="0"/>
                <a:ea typeface="+mn-ea"/>
                <a:cs typeface="Arial" panose="020B0604020202020204" pitchFamily="34" charset="0"/>
                <a:sym typeface="CiscoSansTT"/>
              </a:rPr>
              <a:t>Integrate SecureX into your SOC while also benchmarking and improving your operational processes.</a:t>
            </a:r>
          </a:p>
        </p:txBody>
      </p:sp>
      <p:sp>
        <p:nvSpPr>
          <p:cNvPr id="122" name="Title 1">
            <a:extLst>
              <a:ext uri="{FF2B5EF4-FFF2-40B4-BE49-F238E27FC236}">
                <a16:creationId xmlns:a16="http://schemas.microsoft.com/office/drawing/2014/main" id="{B8413722-ABA2-2442-A554-27164C275C85}"/>
              </a:ext>
            </a:extLst>
          </p:cNvPr>
          <p:cNvSpPr txBox="1">
            <a:spLocks/>
          </p:cNvSpPr>
          <p:nvPr/>
        </p:nvSpPr>
        <p:spPr>
          <a:xfrm>
            <a:off x="6492331" y="3186023"/>
            <a:ext cx="2037379" cy="550925"/>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t>Talos Incident </a:t>
            </a:r>
            <a:b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br>
            <a:r>
              <a:rPr kumimoji="0" lang="en-US" sz="1600" b="0" i="0" u="none" strike="noStrike" kern="0" cap="none" spc="0" normalizeH="0" baseline="0" noProof="0">
                <a:ln>
                  <a:noFill/>
                </a:ln>
                <a:solidFill>
                  <a:srgbClr val="0D274D"/>
                </a:solidFill>
                <a:effectLst/>
                <a:uLnTx/>
                <a:uFillTx/>
                <a:latin typeface="CiscoSansTT ExtraLight" panose="020B0303020201020303" pitchFamily="34" charset="0"/>
                <a:ea typeface="+mn-ea"/>
                <a:cs typeface="+mn-cs"/>
                <a:sym typeface="CiscoSansTT"/>
              </a:rPr>
              <a:t>Response</a:t>
            </a:r>
          </a:p>
        </p:txBody>
      </p:sp>
      <p:sp>
        <p:nvSpPr>
          <p:cNvPr id="124" name="Title 1">
            <a:extLst>
              <a:ext uri="{FF2B5EF4-FFF2-40B4-BE49-F238E27FC236}">
                <a16:creationId xmlns:a16="http://schemas.microsoft.com/office/drawing/2014/main" id="{95EB1102-DB55-F44C-83E0-A0ABEB64FFE6}"/>
              </a:ext>
            </a:extLst>
          </p:cNvPr>
          <p:cNvSpPr txBox="1">
            <a:spLocks/>
          </p:cNvSpPr>
          <p:nvPr/>
        </p:nvSpPr>
        <p:spPr>
          <a:xfrm>
            <a:off x="6270074" y="3767219"/>
            <a:ext cx="2481892" cy="550926"/>
          </a:xfrm>
          <a:prstGeom prst="rect">
            <a:avLst/>
          </a:prstGeom>
        </p:spPr>
        <p:txBody>
          <a:bodyPr/>
          <a:lstStyle>
            <a:lvl1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1pPr>
            <a:lvl2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2pPr>
            <a:lvl3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3pPr>
            <a:lvl4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4pPr>
            <a:lvl5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5pPr>
            <a:lvl6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6pPr>
            <a:lvl7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7pPr>
            <a:lvl8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8pPr>
            <a:lvl9pPr marL="0" marR="0" indent="0" algn="l" defTabSz="914400" rtl="0" latinLnBrk="0">
              <a:lnSpc>
                <a:spcPct val="100000"/>
              </a:lnSpc>
              <a:spcBef>
                <a:spcPts val="0"/>
              </a:spcBef>
              <a:spcAft>
                <a:spcPts val="0"/>
              </a:spcAft>
              <a:buClrTx/>
              <a:buSzTx/>
              <a:buFontTx/>
              <a:buNone/>
              <a:tabLst/>
              <a:defRPr sz="2800" b="1" i="0" u="none" strike="noStrike" cap="none" spc="0" baseline="0">
                <a:solidFill>
                  <a:srgbClr val="000000"/>
                </a:solidFill>
                <a:uFillTx/>
                <a:latin typeface="+mn-lt"/>
                <a:ea typeface="+mn-ea"/>
                <a:cs typeface="+mn-cs"/>
                <a:sym typeface="CiscoSansTT"/>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1">
                <a:ln>
                  <a:noFill/>
                </a:ln>
                <a:solidFill>
                  <a:srgbClr val="0D274D"/>
                </a:solidFill>
                <a:effectLst/>
                <a:uLnTx/>
                <a:uFillTx/>
                <a:latin typeface="CiscoSansTT ExtraLight" panose="020B0303020201020303" pitchFamily="34" charset="0"/>
                <a:ea typeface="CiscoSansTT ExtraLight" charset="0"/>
                <a:cs typeface="Arial" panose="020B0604020202020204" pitchFamily="34" charset="0"/>
                <a:sym typeface="CiscoSansTT"/>
              </a:rPr>
              <a:t>Plan, prepare, and respond to incidents identified through SecureX with the help from the experts at Cisco Talos.</a:t>
            </a:r>
          </a:p>
        </p:txBody>
      </p:sp>
      <p:sp>
        <p:nvSpPr>
          <p:cNvPr id="125" name="Trapezoid 124">
            <a:extLst>
              <a:ext uri="{FF2B5EF4-FFF2-40B4-BE49-F238E27FC236}">
                <a16:creationId xmlns:a16="http://schemas.microsoft.com/office/drawing/2014/main" id="{A786A729-62DD-9F4A-8E4F-BD80FEE86E42}"/>
              </a:ext>
            </a:extLst>
          </p:cNvPr>
          <p:cNvSpPr/>
          <p:nvPr/>
        </p:nvSpPr>
        <p:spPr>
          <a:xfrm>
            <a:off x="410667" y="2224509"/>
            <a:ext cx="2269885"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6" name="Straight Connector 125">
            <a:extLst>
              <a:ext uri="{FF2B5EF4-FFF2-40B4-BE49-F238E27FC236}">
                <a16:creationId xmlns:a16="http://schemas.microsoft.com/office/drawing/2014/main" id="{ABF14FE8-828A-934C-A7A6-EB6F6EE9821D}"/>
              </a:ext>
            </a:extLst>
          </p:cNvPr>
          <p:cNvCxnSpPr>
            <a:cxnSpLocks/>
          </p:cNvCxnSpPr>
          <p:nvPr/>
        </p:nvCxnSpPr>
        <p:spPr>
          <a:xfrm flipV="1">
            <a:off x="0" y="3052757"/>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a16="http://schemas.microsoft.com/office/drawing/2014/main" id="{ADBAC7CB-38AB-8043-8531-4F2A1098C411}"/>
              </a:ext>
            </a:extLst>
          </p:cNvPr>
          <p:cNvGrpSpPr>
            <a:grpSpLocks noChangeAspect="1"/>
          </p:cNvGrpSpPr>
          <p:nvPr/>
        </p:nvGrpSpPr>
        <p:grpSpPr>
          <a:xfrm>
            <a:off x="1381912" y="2879008"/>
            <a:ext cx="339580" cy="347498"/>
            <a:chOff x="-1285877" y="2012405"/>
            <a:chExt cx="1309273" cy="1339811"/>
          </a:xfrm>
          <a:solidFill>
            <a:schemeClr val="tx2"/>
          </a:solidFill>
        </p:grpSpPr>
        <p:grpSp>
          <p:nvGrpSpPr>
            <p:cNvPr id="130" name="Graphic 75">
              <a:extLst>
                <a:ext uri="{FF2B5EF4-FFF2-40B4-BE49-F238E27FC236}">
                  <a16:creationId xmlns:a16="http://schemas.microsoft.com/office/drawing/2014/main" id="{F8F9D5A0-8ECF-4E4F-BD50-48383C05BA7D}"/>
                </a:ext>
              </a:extLst>
            </p:cNvPr>
            <p:cNvGrpSpPr/>
            <p:nvPr/>
          </p:nvGrpSpPr>
          <p:grpSpPr>
            <a:xfrm>
              <a:off x="-1285877" y="2012405"/>
              <a:ext cx="1309273" cy="1339811"/>
              <a:chOff x="4820236" y="1931698"/>
              <a:chExt cx="926552" cy="948156"/>
            </a:xfrm>
            <a:grpFill/>
          </p:grpSpPr>
          <p:sp>
            <p:nvSpPr>
              <p:cNvPr id="135" name="Freeform: Shape 589">
                <a:extLst>
                  <a:ext uri="{FF2B5EF4-FFF2-40B4-BE49-F238E27FC236}">
                    <a16:creationId xmlns:a16="http://schemas.microsoft.com/office/drawing/2014/main" id="{7F1D8F4E-1540-8342-87FB-50C7F5D5BFFA}"/>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36" name="Freeform: Shape 590">
                <a:extLst>
                  <a:ext uri="{FF2B5EF4-FFF2-40B4-BE49-F238E27FC236}">
                    <a16:creationId xmlns:a16="http://schemas.microsoft.com/office/drawing/2014/main" id="{33AB8A83-78E1-7F41-B106-139C0B9ABC71}"/>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37" name="Freeform: Shape 591">
                <a:extLst>
                  <a:ext uri="{FF2B5EF4-FFF2-40B4-BE49-F238E27FC236}">
                    <a16:creationId xmlns:a16="http://schemas.microsoft.com/office/drawing/2014/main" id="{94DDB334-7133-F741-AB2B-5D00DB0A68E2}"/>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38" name="Freeform: Shape 592">
                <a:extLst>
                  <a:ext uri="{FF2B5EF4-FFF2-40B4-BE49-F238E27FC236}">
                    <a16:creationId xmlns:a16="http://schemas.microsoft.com/office/drawing/2014/main" id="{49416967-FDA1-4848-ABC1-AFF39531A876}"/>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39" name="Freeform: Shape 593">
                <a:extLst>
                  <a:ext uri="{FF2B5EF4-FFF2-40B4-BE49-F238E27FC236}">
                    <a16:creationId xmlns:a16="http://schemas.microsoft.com/office/drawing/2014/main" id="{7B7C808F-EB90-784F-8A1A-E863908E3CDC}"/>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0" name="Freeform: Shape 594">
                <a:extLst>
                  <a:ext uri="{FF2B5EF4-FFF2-40B4-BE49-F238E27FC236}">
                    <a16:creationId xmlns:a16="http://schemas.microsoft.com/office/drawing/2014/main" id="{32B176E7-044C-7C4C-8B4C-03B3A679B692}"/>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1" name="Freeform: Shape 595">
                <a:extLst>
                  <a:ext uri="{FF2B5EF4-FFF2-40B4-BE49-F238E27FC236}">
                    <a16:creationId xmlns:a16="http://schemas.microsoft.com/office/drawing/2014/main" id="{A080BC19-DCB9-F247-A85A-8A78B9C1CE4B}"/>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2" name="Freeform: Shape 596">
                <a:extLst>
                  <a:ext uri="{FF2B5EF4-FFF2-40B4-BE49-F238E27FC236}">
                    <a16:creationId xmlns:a16="http://schemas.microsoft.com/office/drawing/2014/main" id="{85238DD5-0EDB-F14A-B28F-0339835B9278}"/>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3" name="Freeform: Shape 597">
                <a:extLst>
                  <a:ext uri="{FF2B5EF4-FFF2-40B4-BE49-F238E27FC236}">
                    <a16:creationId xmlns:a16="http://schemas.microsoft.com/office/drawing/2014/main" id="{7445CE64-B16D-A041-96FF-D8E36F10CF45}"/>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4" name="Freeform: Shape 598">
                <a:extLst>
                  <a:ext uri="{FF2B5EF4-FFF2-40B4-BE49-F238E27FC236}">
                    <a16:creationId xmlns:a16="http://schemas.microsoft.com/office/drawing/2014/main" id="{B3AA284C-3958-C14D-9163-6C63E9E85DCB}"/>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5" name="Freeform: Shape 599">
                <a:extLst>
                  <a:ext uri="{FF2B5EF4-FFF2-40B4-BE49-F238E27FC236}">
                    <a16:creationId xmlns:a16="http://schemas.microsoft.com/office/drawing/2014/main" id="{37C4C0C3-09FA-5542-B564-57D2AF057A0F}"/>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6" name="Freeform: Shape 600">
                <a:extLst>
                  <a:ext uri="{FF2B5EF4-FFF2-40B4-BE49-F238E27FC236}">
                    <a16:creationId xmlns:a16="http://schemas.microsoft.com/office/drawing/2014/main" id="{B8C357E4-077C-6140-9C4E-B3E506137DFF}"/>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7" name="Freeform: Shape 601">
                <a:extLst>
                  <a:ext uri="{FF2B5EF4-FFF2-40B4-BE49-F238E27FC236}">
                    <a16:creationId xmlns:a16="http://schemas.microsoft.com/office/drawing/2014/main" id="{EAD13197-C894-834E-AAA9-DDA6EBF7B30B}"/>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8" name="Freeform: Shape 602">
                <a:extLst>
                  <a:ext uri="{FF2B5EF4-FFF2-40B4-BE49-F238E27FC236}">
                    <a16:creationId xmlns:a16="http://schemas.microsoft.com/office/drawing/2014/main" id="{92B3E9A7-DFF5-4448-83E2-E40F3E3F7D2A}"/>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49" name="Freeform: Shape 603">
                <a:extLst>
                  <a:ext uri="{FF2B5EF4-FFF2-40B4-BE49-F238E27FC236}">
                    <a16:creationId xmlns:a16="http://schemas.microsoft.com/office/drawing/2014/main" id="{8250022E-13A5-4C49-930A-62798E2FF6E2}"/>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50" name="Freeform: Shape 604">
                <a:extLst>
                  <a:ext uri="{FF2B5EF4-FFF2-40B4-BE49-F238E27FC236}">
                    <a16:creationId xmlns:a16="http://schemas.microsoft.com/office/drawing/2014/main" id="{7656D19B-3EB0-8140-B2BA-D8AC2055139B}"/>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51" name="Freeform: Shape 605">
                <a:extLst>
                  <a:ext uri="{FF2B5EF4-FFF2-40B4-BE49-F238E27FC236}">
                    <a16:creationId xmlns:a16="http://schemas.microsoft.com/office/drawing/2014/main" id="{E8BFB453-CCE5-6A48-8F68-F3BFECD288EA}"/>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52" name="Freeform: Shape 606">
                <a:extLst>
                  <a:ext uri="{FF2B5EF4-FFF2-40B4-BE49-F238E27FC236}">
                    <a16:creationId xmlns:a16="http://schemas.microsoft.com/office/drawing/2014/main" id="{514B5F07-D50F-9345-8768-9893F0F8500F}"/>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134" name="Oval 133">
              <a:extLst>
                <a:ext uri="{FF2B5EF4-FFF2-40B4-BE49-F238E27FC236}">
                  <a16:creationId xmlns:a16="http://schemas.microsoft.com/office/drawing/2014/main" id="{F7598535-B191-C843-B92B-338A538E966C}"/>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153" name="Group 152">
            <a:extLst>
              <a:ext uri="{FF2B5EF4-FFF2-40B4-BE49-F238E27FC236}">
                <a16:creationId xmlns:a16="http://schemas.microsoft.com/office/drawing/2014/main" id="{81B41FC1-541E-9D40-9C21-A85F4CDA4D16}"/>
              </a:ext>
            </a:extLst>
          </p:cNvPr>
          <p:cNvGrpSpPr/>
          <p:nvPr/>
        </p:nvGrpSpPr>
        <p:grpSpPr>
          <a:xfrm>
            <a:off x="3437056" y="2224509"/>
            <a:ext cx="2269885" cy="1001997"/>
            <a:chOff x="3378457" y="2224509"/>
            <a:chExt cx="2269885" cy="1001997"/>
          </a:xfrm>
        </p:grpSpPr>
        <p:sp>
          <p:nvSpPr>
            <p:cNvPr id="154" name="Trapezoid 153">
              <a:extLst>
                <a:ext uri="{FF2B5EF4-FFF2-40B4-BE49-F238E27FC236}">
                  <a16:creationId xmlns:a16="http://schemas.microsoft.com/office/drawing/2014/main" id="{0CD3EE23-8093-AD47-AD02-97E62746AA39}"/>
                </a:ext>
              </a:extLst>
            </p:cNvPr>
            <p:cNvSpPr/>
            <p:nvPr/>
          </p:nvSpPr>
          <p:spPr>
            <a:xfrm>
              <a:off x="3378457" y="2224509"/>
              <a:ext cx="2269885"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5" name="Group 154">
              <a:extLst>
                <a:ext uri="{FF2B5EF4-FFF2-40B4-BE49-F238E27FC236}">
                  <a16:creationId xmlns:a16="http://schemas.microsoft.com/office/drawing/2014/main" id="{2662BD28-EC00-D941-9F07-8EE90917D627}"/>
                </a:ext>
              </a:extLst>
            </p:cNvPr>
            <p:cNvGrpSpPr>
              <a:grpSpLocks noChangeAspect="1"/>
            </p:cNvGrpSpPr>
            <p:nvPr/>
          </p:nvGrpSpPr>
          <p:grpSpPr>
            <a:xfrm>
              <a:off x="4349702" y="2879008"/>
              <a:ext cx="339580" cy="347498"/>
              <a:chOff x="-1285877" y="2012405"/>
              <a:chExt cx="1309273" cy="1339811"/>
            </a:xfrm>
            <a:solidFill>
              <a:schemeClr val="tx2"/>
            </a:solidFill>
          </p:grpSpPr>
          <p:grpSp>
            <p:nvGrpSpPr>
              <p:cNvPr id="156" name="Graphic 75">
                <a:extLst>
                  <a:ext uri="{FF2B5EF4-FFF2-40B4-BE49-F238E27FC236}">
                    <a16:creationId xmlns:a16="http://schemas.microsoft.com/office/drawing/2014/main" id="{B6B2EE07-FDF4-8946-B166-5BA973CD6208}"/>
                  </a:ext>
                </a:extLst>
              </p:cNvPr>
              <p:cNvGrpSpPr/>
              <p:nvPr/>
            </p:nvGrpSpPr>
            <p:grpSpPr>
              <a:xfrm>
                <a:off x="-1285877" y="2012405"/>
                <a:ext cx="1309273" cy="1339811"/>
                <a:chOff x="4820236" y="1931698"/>
                <a:chExt cx="926552" cy="948156"/>
              </a:xfrm>
              <a:grpFill/>
            </p:grpSpPr>
            <p:sp>
              <p:nvSpPr>
                <p:cNvPr id="158" name="Freeform: Shape 589">
                  <a:extLst>
                    <a:ext uri="{FF2B5EF4-FFF2-40B4-BE49-F238E27FC236}">
                      <a16:creationId xmlns:a16="http://schemas.microsoft.com/office/drawing/2014/main" id="{E8F5953A-334A-AA40-9DCD-D25F7FAFA024}"/>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59" name="Freeform: Shape 590">
                  <a:extLst>
                    <a:ext uri="{FF2B5EF4-FFF2-40B4-BE49-F238E27FC236}">
                      <a16:creationId xmlns:a16="http://schemas.microsoft.com/office/drawing/2014/main" id="{72974B70-D44F-C348-9765-BC39B1C727E5}"/>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0" name="Freeform: Shape 591">
                  <a:extLst>
                    <a:ext uri="{FF2B5EF4-FFF2-40B4-BE49-F238E27FC236}">
                      <a16:creationId xmlns:a16="http://schemas.microsoft.com/office/drawing/2014/main" id="{57F04F28-C160-364E-85DA-5187B08E18F3}"/>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1" name="Freeform: Shape 592">
                  <a:extLst>
                    <a:ext uri="{FF2B5EF4-FFF2-40B4-BE49-F238E27FC236}">
                      <a16:creationId xmlns:a16="http://schemas.microsoft.com/office/drawing/2014/main" id="{A936BB60-9EDF-3F49-A6DC-26C5A999479C}"/>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2" name="Freeform: Shape 593">
                  <a:extLst>
                    <a:ext uri="{FF2B5EF4-FFF2-40B4-BE49-F238E27FC236}">
                      <a16:creationId xmlns:a16="http://schemas.microsoft.com/office/drawing/2014/main" id="{345087EA-7690-7F41-857F-F3A786C54FEE}"/>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3" name="Freeform: Shape 594">
                  <a:extLst>
                    <a:ext uri="{FF2B5EF4-FFF2-40B4-BE49-F238E27FC236}">
                      <a16:creationId xmlns:a16="http://schemas.microsoft.com/office/drawing/2014/main" id="{12449171-DAB0-CC49-AB17-3BE4CB912EAC}"/>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4" name="Freeform: Shape 595">
                  <a:extLst>
                    <a:ext uri="{FF2B5EF4-FFF2-40B4-BE49-F238E27FC236}">
                      <a16:creationId xmlns:a16="http://schemas.microsoft.com/office/drawing/2014/main" id="{41B367DD-B53D-5044-94DD-09F616676BA8}"/>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5" name="Freeform: Shape 596">
                  <a:extLst>
                    <a:ext uri="{FF2B5EF4-FFF2-40B4-BE49-F238E27FC236}">
                      <a16:creationId xmlns:a16="http://schemas.microsoft.com/office/drawing/2014/main" id="{84F1F461-8EC5-6140-B650-A46D5EC2880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6" name="Freeform: Shape 597">
                  <a:extLst>
                    <a:ext uri="{FF2B5EF4-FFF2-40B4-BE49-F238E27FC236}">
                      <a16:creationId xmlns:a16="http://schemas.microsoft.com/office/drawing/2014/main" id="{6FB45DCC-E95D-6C46-B2F5-AA78AD921FEC}"/>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7" name="Freeform: Shape 598">
                  <a:extLst>
                    <a:ext uri="{FF2B5EF4-FFF2-40B4-BE49-F238E27FC236}">
                      <a16:creationId xmlns:a16="http://schemas.microsoft.com/office/drawing/2014/main" id="{BDB37F18-B10A-FA4A-B210-2FEB6D25DBBE}"/>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8" name="Freeform: Shape 599">
                  <a:extLst>
                    <a:ext uri="{FF2B5EF4-FFF2-40B4-BE49-F238E27FC236}">
                      <a16:creationId xmlns:a16="http://schemas.microsoft.com/office/drawing/2014/main" id="{2F7AF4D3-4BF9-4446-BDF5-97C0DF147C26}"/>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69" name="Freeform: Shape 600">
                  <a:extLst>
                    <a:ext uri="{FF2B5EF4-FFF2-40B4-BE49-F238E27FC236}">
                      <a16:creationId xmlns:a16="http://schemas.microsoft.com/office/drawing/2014/main" id="{DD7A11BC-4039-3B40-8780-2C4ED3A55594}"/>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0" name="Freeform: Shape 601">
                  <a:extLst>
                    <a:ext uri="{FF2B5EF4-FFF2-40B4-BE49-F238E27FC236}">
                      <a16:creationId xmlns:a16="http://schemas.microsoft.com/office/drawing/2014/main" id="{E95DE627-7852-A045-9778-6C4856F570C3}"/>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1" name="Freeform: Shape 602">
                  <a:extLst>
                    <a:ext uri="{FF2B5EF4-FFF2-40B4-BE49-F238E27FC236}">
                      <a16:creationId xmlns:a16="http://schemas.microsoft.com/office/drawing/2014/main" id="{00F829F1-DD52-BC4A-BF7D-FB10802C7F90}"/>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2" name="Freeform: Shape 603">
                  <a:extLst>
                    <a:ext uri="{FF2B5EF4-FFF2-40B4-BE49-F238E27FC236}">
                      <a16:creationId xmlns:a16="http://schemas.microsoft.com/office/drawing/2014/main" id="{E835D9AF-AF91-F04F-BF49-D1908C449F1E}"/>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3" name="Freeform: Shape 604">
                  <a:extLst>
                    <a:ext uri="{FF2B5EF4-FFF2-40B4-BE49-F238E27FC236}">
                      <a16:creationId xmlns:a16="http://schemas.microsoft.com/office/drawing/2014/main" id="{B78A2392-7609-8540-B849-378406C2066D}"/>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4" name="Freeform: Shape 605">
                  <a:extLst>
                    <a:ext uri="{FF2B5EF4-FFF2-40B4-BE49-F238E27FC236}">
                      <a16:creationId xmlns:a16="http://schemas.microsoft.com/office/drawing/2014/main" id="{6B99B287-CB36-FF4F-B03B-118513C4A0AA}"/>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75" name="Freeform: Shape 606">
                  <a:extLst>
                    <a:ext uri="{FF2B5EF4-FFF2-40B4-BE49-F238E27FC236}">
                      <a16:creationId xmlns:a16="http://schemas.microsoft.com/office/drawing/2014/main" id="{EF37B54C-FEB1-D24C-9498-03BCB341E625}"/>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157" name="Oval 156">
                <a:extLst>
                  <a:ext uri="{FF2B5EF4-FFF2-40B4-BE49-F238E27FC236}">
                    <a16:creationId xmlns:a16="http://schemas.microsoft.com/office/drawing/2014/main" id="{9A6E350E-A547-E848-8AF1-DD3AD347EE04}"/>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grpSp>
        <p:nvGrpSpPr>
          <p:cNvPr id="176" name="Group 175">
            <a:extLst>
              <a:ext uri="{FF2B5EF4-FFF2-40B4-BE49-F238E27FC236}">
                <a16:creationId xmlns:a16="http://schemas.microsoft.com/office/drawing/2014/main" id="{719F5CEF-D397-9848-912F-0F893A8C939A}"/>
              </a:ext>
            </a:extLst>
          </p:cNvPr>
          <p:cNvGrpSpPr/>
          <p:nvPr/>
        </p:nvGrpSpPr>
        <p:grpSpPr>
          <a:xfrm>
            <a:off x="6381119" y="2224509"/>
            <a:ext cx="2269885" cy="1001997"/>
            <a:chOff x="3378457" y="2224509"/>
            <a:chExt cx="2269885" cy="1001997"/>
          </a:xfrm>
        </p:grpSpPr>
        <p:sp>
          <p:nvSpPr>
            <p:cNvPr id="177" name="Trapezoid 176">
              <a:extLst>
                <a:ext uri="{FF2B5EF4-FFF2-40B4-BE49-F238E27FC236}">
                  <a16:creationId xmlns:a16="http://schemas.microsoft.com/office/drawing/2014/main" id="{9CEADBD0-EF1F-E94E-8582-25A513DFECCF}"/>
                </a:ext>
              </a:extLst>
            </p:cNvPr>
            <p:cNvSpPr/>
            <p:nvPr/>
          </p:nvSpPr>
          <p:spPr>
            <a:xfrm>
              <a:off x="3378457" y="2224509"/>
              <a:ext cx="2269885"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8" name="Group 177">
              <a:extLst>
                <a:ext uri="{FF2B5EF4-FFF2-40B4-BE49-F238E27FC236}">
                  <a16:creationId xmlns:a16="http://schemas.microsoft.com/office/drawing/2014/main" id="{4E4BE700-10DB-264F-AF4F-7B8FD2DBC8FB}"/>
                </a:ext>
              </a:extLst>
            </p:cNvPr>
            <p:cNvGrpSpPr>
              <a:grpSpLocks noChangeAspect="1"/>
            </p:cNvGrpSpPr>
            <p:nvPr/>
          </p:nvGrpSpPr>
          <p:grpSpPr>
            <a:xfrm>
              <a:off x="4349702" y="2879008"/>
              <a:ext cx="339580" cy="347498"/>
              <a:chOff x="-1285877" y="2012405"/>
              <a:chExt cx="1309273" cy="1339811"/>
            </a:xfrm>
            <a:solidFill>
              <a:schemeClr val="tx2"/>
            </a:solidFill>
          </p:grpSpPr>
          <p:grpSp>
            <p:nvGrpSpPr>
              <p:cNvPr id="179" name="Graphic 75">
                <a:extLst>
                  <a:ext uri="{FF2B5EF4-FFF2-40B4-BE49-F238E27FC236}">
                    <a16:creationId xmlns:a16="http://schemas.microsoft.com/office/drawing/2014/main" id="{0075D024-EE26-A748-9478-BFBD7394A644}"/>
                  </a:ext>
                </a:extLst>
              </p:cNvPr>
              <p:cNvGrpSpPr/>
              <p:nvPr/>
            </p:nvGrpSpPr>
            <p:grpSpPr>
              <a:xfrm>
                <a:off x="-1285877" y="2012405"/>
                <a:ext cx="1309273" cy="1339811"/>
                <a:chOff x="4820236" y="1931698"/>
                <a:chExt cx="926552" cy="948156"/>
              </a:xfrm>
              <a:grpFill/>
            </p:grpSpPr>
            <p:sp>
              <p:nvSpPr>
                <p:cNvPr id="181" name="Freeform: Shape 589">
                  <a:extLst>
                    <a:ext uri="{FF2B5EF4-FFF2-40B4-BE49-F238E27FC236}">
                      <a16:creationId xmlns:a16="http://schemas.microsoft.com/office/drawing/2014/main" id="{0C31ED08-599A-A944-918D-CD1E4EF06A21}"/>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2" name="Freeform: Shape 590">
                  <a:extLst>
                    <a:ext uri="{FF2B5EF4-FFF2-40B4-BE49-F238E27FC236}">
                      <a16:creationId xmlns:a16="http://schemas.microsoft.com/office/drawing/2014/main" id="{32075995-04EC-CC43-BFB7-53CA6F4E4F29}"/>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3" name="Freeform: Shape 591">
                  <a:extLst>
                    <a:ext uri="{FF2B5EF4-FFF2-40B4-BE49-F238E27FC236}">
                      <a16:creationId xmlns:a16="http://schemas.microsoft.com/office/drawing/2014/main" id="{0020CB7C-9E14-A145-B574-38B1558BA3C6}"/>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4" name="Freeform: Shape 592">
                  <a:extLst>
                    <a:ext uri="{FF2B5EF4-FFF2-40B4-BE49-F238E27FC236}">
                      <a16:creationId xmlns:a16="http://schemas.microsoft.com/office/drawing/2014/main" id="{B8928E22-8A54-7849-9940-2104F028C212}"/>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5" name="Freeform: Shape 593">
                  <a:extLst>
                    <a:ext uri="{FF2B5EF4-FFF2-40B4-BE49-F238E27FC236}">
                      <a16:creationId xmlns:a16="http://schemas.microsoft.com/office/drawing/2014/main" id="{6838F5F8-9F00-504F-B009-3CD298C3F437}"/>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6" name="Freeform: Shape 594">
                  <a:extLst>
                    <a:ext uri="{FF2B5EF4-FFF2-40B4-BE49-F238E27FC236}">
                      <a16:creationId xmlns:a16="http://schemas.microsoft.com/office/drawing/2014/main" id="{36C74717-304F-D848-A0D0-16BE23BEB14E}"/>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7" name="Freeform: Shape 595">
                  <a:extLst>
                    <a:ext uri="{FF2B5EF4-FFF2-40B4-BE49-F238E27FC236}">
                      <a16:creationId xmlns:a16="http://schemas.microsoft.com/office/drawing/2014/main" id="{021031A4-B1E0-C84C-8B84-1BAE0200AF4C}"/>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8" name="Freeform: Shape 596">
                  <a:extLst>
                    <a:ext uri="{FF2B5EF4-FFF2-40B4-BE49-F238E27FC236}">
                      <a16:creationId xmlns:a16="http://schemas.microsoft.com/office/drawing/2014/main" id="{2D0FAE44-36A6-6A47-B66A-5A2C45BE7837}"/>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89" name="Freeform: Shape 597">
                  <a:extLst>
                    <a:ext uri="{FF2B5EF4-FFF2-40B4-BE49-F238E27FC236}">
                      <a16:creationId xmlns:a16="http://schemas.microsoft.com/office/drawing/2014/main" id="{F2F82A3F-7EC2-D54B-A88F-13A6FE2C9542}"/>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0" name="Freeform: Shape 598">
                  <a:extLst>
                    <a:ext uri="{FF2B5EF4-FFF2-40B4-BE49-F238E27FC236}">
                      <a16:creationId xmlns:a16="http://schemas.microsoft.com/office/drawing/2014/main" id="{6D43FE2D-D5EF-FC49-8E5E-4697AD26B2CF}"/>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1" name="Freeform: Shape 599">
                  <a:extLst>
                    <a:ext uri="{FF2B5EF4-FFF2-40B4-BE49-F238E27FC236}">
                      <a16:creationId xmlns:a16="http://schemas.microsoft.com/office/drawing/2014/main" id="{96D13685-6EF9-B341-98D3-3C6ED6E59364}"/>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2" name="Freeform: Shape 600">
                  <a:extLst>
                    <a:ext uri="{FF2B5EF4-FFF2-40B4-BE49-F238E27FC236}">
                      <a16:creationId xmlns:a16="http://schemas.microsoft.com/office/drawing/2014/main" id="{654705EC-9A68-754A-91ED-9000134DEA50}"/>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3" name="Freeform: Shape 601">
                  <a:extLst>
                    <a:ext uri="{FF2B5EF4-FFF2-40B4-BE49-F238E27FC236}">
                      <a16:creationId xmlns:a16="http://schemas.microsoft.com/office/drawing/2014/main" id="{DC855DBC-088D-9442-BE31-0A335E670117}"/>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4" name="Freeform: Shape 602">
                  <a:extLst>
                    <a:ext uri="{FF2B5EF4-FFF2-40B4-BE49-F238E27FC236}">
                      <a16:creationId xmlns:a16="http://schemas.microsoft.com/office/drawing/2014/main" id="{A878997B-8804-414D-B1FE-DEC2FB2F121D}"/>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5" name="Freeform: Shape 603">
                  <a:extLst>
                    <a:ext uri="{FF2B5EF4-FFF2-40B4-BE49-F238E27FC236}">
                      <a16:creationId xmlns:a16="http://schemas.microsoft.com/office/drawing/2014/main" id="{4929FE57-6C75-844A-8EAF-98AAF9EF3D94}"/>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6" name="Freeform: Shape 604">
                  <a:extLst>
                    <a:ext uri="{FF2B5EF4-FFF2-40B4-BE49-F238E27FC236}">
                      <a16:creationId xmlns:a16="http://schemas.microsoft.com/office/drawing/2014/main" id="{3366E730-3443-5B4A-A10D-9D438C8F1F9A}"/>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7" name="Freeform: Shape 605">
                  <a:extLst>
                    <a:ext uri="{FF2B5EF4-FFF2-40B4-BE49-F238E27FC236}">
                      <a16:creationId xmlns:a16="http://schemas.microsoft.com/office/drawing/2014/main" id="{F8833D76-10CD-854F-8FCE-927348205AFA}"/>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198" name="Freeform: Shape 606">
                  <a:extLst>
                    <a:ext uri="{FF2B5EF4-FFF2-40B4-BE49-F238E27FC236}">
                      <a16:creationId xmlns:a16="http://schemas.microsoft.com/office/drawing/2014/main" id="{1089274B-56C4-BA41-96CD-7CA1F4D2A9D1}"/>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180" name="Oval 179">
                <a:extLst>
                  <a:ext uri="{FF2B5EF4-FFF2-40B4-BE49-F238E27FC236}">
                    <a16:creationId xmlns:a16="http://schemas.microsoft.com/office/drawing/2014/main" id="{F86917F4-CA4E-8D46-B752-9E980C58493A}"/>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pic>
        <p:nvPicPr>
          <p:cNvPr id="199" name="Picture 198" descr="A close up of a sign&#10;&#10;Description automatically generated">
            <a:extLst>
              <a:ext uri="{FF2B5EF4-FFF2-40B4-BE49-F238E27FC236}">
                <a16:creationId xmlns:a16="http://schemas.microsoft.com/office/drawing/2014/main" id="{6389F487-A203-314C-8D45-8F445C6F71A1}"/>
              </a:ext>
            </a:extLst>
          </p:cNvPr>
          <p:cNvPicPr>
            <a:picLocks noChangeAspect="1"/>
          </p:cNvPicPr>
          <p:nvPr/>
        </p:nvPicPr>
        <p:blipFill>
          <a:blip r:embed="rId3"/>
          <a:stretch>
            <a:fillRect/>
          </a:stretch>
        </p:blipFill>
        <p:spPr>
          <a:xfrm>
            <a:off x="6934838" y="1465376"/>
            <a:ext cx="1152364" cy="1152364"/>
          </a:xfrm>
          <a:prstGeom prst="rect">
            <a:avLst/>
          </a:prstGeom>
        </p:spPr>
      </p:pic>
      <p:sp>
        <p:nvSpPr>
          <p:cNvPr id="200" name="Oval 199">
            <a:extLst>
              <a:ext uri="{FF2B5EF4-FFF2-40B4-BE49-F238E27FC236}">
                <a16:creationId xmlns:a16="http://schemas.microsoft.com/office/drawing/2014/main" id="{0B84A2FF-A997-7D44-99A7-CA71952722CC}"/>
              </a:ext>
            </a:extLst>
          </p:cNvPr>
          <p:cNvSpPr/>
          <p:nvPr/>
        </p:nvSpPr>
        <p:spPr>
          <a:xfrm>
            <a:off x="967390" y="1461302"/>
            <a:ext cx="1156439" cy="1156437"/>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Oval 200">
            <a:extLst>
              <a:ext uri="{FF2B5EF4-FFF2-40B4-BE49-F238E27FC236}">
                <a16:creationId xmlns:a16="http://schemas.microsoft.com/office/drawing/2014/main" id="{DAC68925-C56E-9742-A26C-34E604B141A0}"/>
              </a:ext>
            </a:extLst>
          </p:cNvPr>
          <p:cNvSpPr/>
          <p:nvPr/>
        </p:nvSpPr>
        <p:spPr>
          <a:xfrm>
            <a:off x="1130294" y="1624207"/>
            <a:ext cx="830630" cy="830626"/>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2" name="Picture 201">
            <a:extLst>
              <a:ext uri="{FF2B5EF4-FFF2-40B4-BE49-F238E27FC236}">
                <a16:creationId xmlns:a16="http://schemas.microsoft.com/office/drawing/2014/main" id="{DB55E330-B012-5C47-BEF0-C05382596F7C}"/>
              </a:ext>
            </a:extLst>
          </p:cNvPr>
          <p:cNvPicPr>
            <a:picLocks noChangeAspect="1"/>
          </p:cNvPicPr>
          <p:nvPr/>
        </p:nvPicPr>
        <p:blipFill>
          <a:blip r:embed="rId4"/>
          <a:stretch>
            <a:fillRect/>
          </a:stretch>
        </p:blipFill>
        <p:spPr>
          <a:xfrm>
            <a:off x="1250649" y="1746537"/>
            <a:ext cx="589920" cy="595878"/>
          </a:xfrm>
          <a:prstGeom prst="rect">
            <a:avLst/>
          </a:prstGeom>
        </p:spPr>
      </p:pic>
      <p:grpSp>
        <p:nvGrpSpPr>
          <p:cNvPr id="203" name="Group 202">
            <a:extLst>
              <a:ext uri="{FF2B5EF4-FFF2-40B4-BE49-F238E27FC236}">
                <a16:creationId xmlns:a16="http://schemas.microsoft.com/office/drawing/2014/main" id="{86C7D775-58F1-DC47-816D-D20E3CBB3093}"/>
              </a:ext>
            </a:extLst>
          </p:cNvPr>
          <p:cNvGrpSpPr/>
          <p:nvPr/>
        </p:nvGrpSpPr>
        <p:grpSpPr>
          <a:xfrm>
            <a:off x="3997937" y="1461302"/>
            <a:ext cx="1156439" cy="1156437"/>
            <a:chOff x="3997937" y="1461302"/>
            <a:chExt cx="1156439" cy="1156437"/>
          </a:xfrm>
        </p:grpSpPr>
        <p:sp>
          <p:nvSpPr>
            <p:cNvPr id="204" name="Oval 203">
              <a:extLst>
                <a:ext uri="{FF2B5EF4-FFF2-40B4-BE49-F238E27FC236}">
                  <a16:creationId xmlns:a16="http://schemas.microsoft.com/office/drawing/2014/main" id="{834C48A8-4ADC-854F-842D-7DCA8CBA1F89}"/>
                </a:ext>
              </a:extLst>
            </p:cNvPr>
            <p:cNvSpPr/>
            <p:nvPr/>
          </p:nvSpPr>
          <p:spPr>
            <a:xfrm>
              <a:off x="3997937" y="1461302"/>
              <a:ext cx="1156439" cy="1156437"/>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Oval 204">
              <a:extLst>
                <a:ext uri="{FF2B5EF4-FFF2-40B4-BE49-F238E27FC236}">
                  <a16:creationId xmlns:a16="http://schemas.microsoft.com/office/drawing/2014/main" id="{CD630320-3FF0-1641-8606-45A047E131B3}"/>
                </a:ext>
              </a:extLst>
            </p:cNvPr>
            <p:cNvSpPr/>
            <p:nvPr/>
          </p:nvSpPr>
          <p:spPr>
            <a:xfrm>
              <a:off x="4160841" y="1624207"/>
              <a:ext cx="830630" cy="830626"/>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6" name="Graphic 205">
              <a:extLst>
                <a:ext uri="{FF2B5EF4-FFF2-40B4-BE49-F238E27FC236}">
                  <a16:creationId xmlns:a16="http://schemas.microsoft.com/office/drawing/2014/main" id="{D7A9B6FD-0D80-F24F-B96D-11318D5E330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3533" y="1746897"/>
              <a:ext cx="585246" cy="585246"/>
            </a:xfrm>
            <a:prstGeom prst="rect">
              <a:avLst/>
            </a:prstGeom>
          </p:spPr>
        </p:pic>
        <p:pic>
          <p:nvPicPr>
            <p:cNvPr id="207" name="Picture 206">
              <a:extLst>
                <a:ext uri="{FF2B5EF4-FFF2-40B4-BE49-F238E27FC236}">
                  <a16:creationId xmlns:a16="http://schemas.microsoft.com/office/drawing/2014/main" id="{87F2D7A5-4DF2-E84A-9CC6-6E22DE670D12}"/>
                </a:ext>
              </a:extLst>
            </p:cNvPr>
            <p:cNvPicPr>
              <a:picLocks noChangeAspect="1"/>
            </p:cNvPicPr>
            <p:nvPr/>
          </p:nvPicPr>
          <p:blipFill>
            <a:blip r:embed="rId7"/>
            <a:stretch>
              <a:fillRect/>
            </a:stretch>
          </p:blipFill>
          <p:spPr>
            <a:xfrm>
              <a:off x="4053583" y="1521103"/>
              <a:ext cx="1036834" cy="1036834"/>
            </a:xfrm>
            <a:prstGeom prst="rect">
              <a:avLst/>
            </a:prstGeom>
          </p:spPr>
        </p:pic>
      </p:grpSp>
    </p:spTree>
    <p:extLst>
      <p:ext uri="{BB962C8B-B14F-4D97-AF65-F5344CB8AC3E}">
        <p14:creationId xmlns:p14="http://schemas.microsoft.com/office/powerpoint/2010/main" val="363404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TextBox 20">
            <a:extLst>
              <a:ext uri="{FF2B5EF4-FFF2-40B4-BE49-F238E27FC236}">
                <a16:creationId xmlns:a16="http://schemas.microsoft.com/office/drawing/2014/main" id="{31F33EF3-8375-9746-B621-0030A2C5EA0C}"/>
              </a:ext>
            </a:extLst>
          </p:cNvPr>
          <p:cNvSpPr txBox="1">
            <a:spLocks noChangeArrowheads="1"/>
          </p:cNvSpPr>
          <p:nvPr/>
        </p:nvSpPr>
        <p:spPr bwMode="auto">
          <a:xfrm>
            <a:off x="1312382" y="3379487"/>
            <a:ext cx="312658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341313">
              <a:defRPr>
                <a:solidFill>
                  <a:schemeClr val="tx1"/>
                </a:solidFill>
                <a:latin typeface="Arial" panose="020B0604020202020204" pitchFamily="34" charset="0"/>
                <a:ea typeface="ＭＳ Ｐゴシック" panose="020B0600070205080204" pitchFamily="34" charset="-128"/>
              </a:defRPr>
            </a:lvl1pPr>
            <a:lvl2pPr marL="742950" indent="-285750" defTabSz="341313">
              <a:defRPr>
                <a:solidFill>
                  <a:schemeClr val="tx1"/>
                </a:solidFill>
                <a:latin typeface="Arial" panose="020B0604020202020204" pitchFamily="34" charset="0"/>
                <a:ea typeface="ＭＳ Ｐゴシック" panose="020B0600070205080204" pitchFamily="34" charset="-128"/>
              </a:defRPr>
            </a:lvl2pPr>
            <a:lvl3pPr marL="1143000" indent="-228600" defTabSz="341313">
              <a:defRPr>
                <a:solidFill>
                  <a:schemeClr val="tx1"/>
                </a:solidFill>
                <a:latin typeface="Arial" panose="020B0604020202020204" pitchFamily="34" charset="0"/>
                <a:ea typeface="ＭＳ Ｐゴシック" panose="020B0600070205080204" pitchFamily="34" charset="-128"/>
              </a:defRPr>
            </a:lvl3pPr>
            <a:lvl4pPr marL="1600200" indent="-228600" defTabSz="341313">
              <a:defRPr>
                <a:solidFill>
                  <a:schemeClr val="tx1"/>
                </a:solidFill>
                <a:latin typeface="Arial" panose="020B0604020202020204" pitchFamily="34" charset="0"/>
                <a:ea typeface="ＭＳ Ｐゴシック" panose="020B0600070205080204" pitchFamily="34" charset="-128"/>
              </a:defRPr>
            </a:lvl4pPr>
            <a:lvl5pPr marL="2057400" indent="-228600" defTabSz="341313">
              <a:defRPr>
                <a:solidFill>
                  <a:schemeClr val="tx1"/>
                </a:solidFill>
                <a:latin typeface="Arial" panose="020B0604020202020204" pitchFamily="34" charset="0"/>
                <a:ea typeface="ＭＳ Ｐゴシック" panose="020B0600070205080204" pitchFamily="34" charset="-128"/>
              </a:defRPr>
            </a:lvl5pPr>
            <a:lvl6pPr marL="25146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341313" rtl="0" eaLnBrk="1" fontAlgn="auto" latinLnBrk="0" hangingPunct="1">
              <a:lnSpc>
                <a:spcPct val="100000"/>
              </a:lnSpc>
              <a:spcBef>
                <a:spcPts val="600"/>
              </a:spcBef>
              <a:spcAft>
                <a:spcPts val="0"/>
              </a:spcAft>
              <a:buClrTx/>
              <a:buSzTx/>
              <a:buFontTx/>
              <a:buNone/>
              <a:tabLst/>
              <a:defRPr/>
            </a:pPr>
            <a:r>
              <a:rPr kumimoji="0" lang="en-US" altLang="en-US" sz="1400" b="0" i="0" u="none" strike="noStrike" kern="1200" cap="none" spc="0" normalizeH="0" baseline="0" noProof="0">
                <a:ln>
                  <a:noFill/>
                </a:ln>
                <a:solidFill>
                  <a:srgbClr val="6EBE4A"/>
                </a:solidFill>
                <a:effectLst/>
                <a:uLnTx/>
                <a:uFillTx/>
                <a:latin typeface="CiscoSansTT ExtraLight"/>
                <a:ea typeface="CiscoSansTT ExtraLight" pitchFamily="34" charset="0"/>
                <a:cs typeface="CiscoSansTT" panose="020B0503020201020303" pitchFamily="34" charset="0"/>
              </a:rPr>
              <a:t>Access to our full portfolio of security products to unlock value</a:t>
            </a:r>
          </a:p>
        </p:txBody>
      </p:sp>
      <p:sp>
        <p:nvSpPr>
          <p:cNvPr id="55303" name="TextBox 24">
            <a:extLst>
              <a:ext uri="{FF2B5EF4-FFF2-40B4-BE49-F238E27FC236}">
                <a16:creationId xmlns:a16="http://schemas.microsoft.com/office/drawing/2014/main" id="{2CD3063E-F3AF-5342-BD77-2BAB39AF3EA9}"/>
              </a:ext>
            </a:extLst>
          </p:cNvPr>
          <p:cNvSpPr txBox="1">
            <a:spLocks noChangeArrowheads="1"/>
          </p:cNvSpPr>
          <p:nvPr/>
        </p:nvSpPr>
        <p:spPr bwMode="auto">
          <a:xfrm>
            <a:off x="4993728" y="3379487"/>
            <a:ext cx="297817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defTabSz="341313">
              <a:defRPr>
                <a:solidFill>
                  <a:schemeClr val="tx1"/>
                </a:solidFill>
                <a:latin typeface="Arial" panose="020B0604020202020204" pitchFamily="34" charset="0"/>
                <a:ea typeface="ＭＳ Ｐゴシック" panose="020B0600070205080204" pitchFamily="34" charset="-128"/>
              </a:defRPr>
            </a:lvl1pPr>
            <a:lvl2pPr marL="742950" indent="-285750" defTabSz="341313">
              <a:defRPr>
                <a:solidFill>
                  <a:schemeClr val="tx1"/>
                </a:solidFill>
                <a:latin typeface="Arial" panose="020B0604020202020204" pitchFamily="34" charset="0"/>
                <a:ea typeface="ＭＳ Ｐゴシック" panose="020B0600070205080204" pitchFamily="34" charset="-128"/>
              </a:defRPr>
            </a:lvl2pPr>
            <a:lvl3pPr marL="1143000" indent="-228600" defTabSz="341313">
              <a:defRPr>
                <a:solidFill>
                  <a:schemeClr val="tx1"/>
                </a:solidFill>
                <a:latin typeface="Arial" panose="020B0604020202020204" pitchFamily="34" charset="0"/>
                <a:ea typeface="ＭＳ Ｐゴシック" panose="020B0600070205080204" pitchFamily="34" charset="-128"/>
              </a:defRPr>
            </a:lvl3pPr>
            <a:lvl4pPr marL="1600200" indent="-228600" defTabSz="341313">
              <a:defRPr>
                <a:solidFill>
                  <a:schemeClr val="tx1"/>
                </a:solidFill>
                <a:latin typeface="Arial" panose="020B0604020202020204" pitchFamily="34" charset="0"/>
                <a:ea typeface="ＭＳ Ｐゴシック" panose="020B0600070205080204" pitchFamily="34" charset="-128"/>
              </a:defRPr>
            </a:lvl4pPr>
            <a:lvl5pPr marL="2057400" indent="-228600" defTabSz="341313">
              <a:defRPr>
                <a:solidFill>
                  <a:schemeClr val="tx1"/>
                </a:solidFill>
                <a:latin typeface="Arial" panose="020B0604020202020204" pitchFamily="34" charset="0"/>
                <a:ea typeface="ＭＳ Ｐゴシック" panose="020B0600070205080204" pitchFamily="34" charset="-128"/>
              </a:defRPr>
            </a:lvl5pPr>
            <a:lvl6pPr marL="25146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3413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341313" rtl="0" eaLnBrk="1" fontAlgn="auto" latinLnBrk="0" hangingPunct="1">
              <a:lnSpc>
                <a:spcPct val="100000"/>
              </a:lnSpc>
              <a:spcBef>
                <a:spcPts val="600"/>
              </a:spcBef>
              <a:spcAft>
                <a:spcPts val="0"/>
              </a:spcAft>
              <a:buClrTx/>
              <a:buSzTx/>
              <a:buFontTx/>
              <a:buNone/>
              <a:tabLst/>
              <a:defRPr/>
            </a:pPr>
            <a:r>
              <a:rPr kumimoji="0" lang="en-US" altLang="en-US" sz="1400" b="0" i="0" u="none" strike="noStrike" kern="1200" cap="none" spc="0" normalizeH="0" baseline="0" noProof="0" dirty="0">
                <a:ln>
                  <a:noFill/>
                </a:ln>
                <a:solidFill>
                  <a:srgbClr val="6EBE4A"/>
                </a:solidFill>
                <a:effectLst/>
                <a:uLnTx/>
                <a:uFillTx/>
                <a:latin typeface="CiscoSansTT ExtraLight"/>
                <a:ea typeface="CiscoSansTT ExtraLight" pitchFamily="34" charset="0"/>
                <a:cs typeface="CiscoSansTT" panose="020B0503020201020303" pitchFamily="34" charset="0"/>
              </a:rPr>
              <a:t>Deploy what you need now and add more in the future</a:t>
            </a:r>
          </a:p>
        </p:txBody>
      </p:sp>
      <p:sp>
        <p:nvSpPr>
          <p:cNvPr id="2" name="Title 1">
            <a:extLst>
              <a:ext uri="{FF2B5EF4-FFF2-40B4-BE49-F238E27FC236}">
                <a16:creationId xmlns:a16="http://schemas.microsoft.com/office/drawing/2014/main" id="{48B958D3-B792-2640-AACB-513B0A669077}"/>
              </a:ext>
            </a:extLst>
          </p:cNvPr>
          <p:cNvSpPr>
            <a:spLocks noGrp="1"/>
          </p:cNvSpPr>
          <p:nvPr>
            <p:ph type="title"/>
          </p:nvPr>
        </p:nvSpPr>
        <p:spPr/>
        <p:txBody>
          <a:bodyPr/>
          <a:lstStyle/>
          <a:p>
            <a:r>
              <a:rPr lang="en-US" altLang="en-US" dirty="0"/>
              <a:t>Maximize your security investment with </a:t>
            </a:r>
            <a:br>
              <a:rPr lang="en-US" altLang="en-US" dirty="0"/>
            </a:br>
            <a:r>
              <a:rPr lang="en-US" altLang="en-US" dirty="0">
                <a:solidFill>
                  <a:schemeClr val="tx2"/>
                </a:solidFill>
                <a:latin typeface="CiscoSansTT" panose="020B0503020201020303" pitchFamily="34" charset="0"/>
                <a:cs typeface="CiscoSansTT" panose="020B0503020201020303" pitchFamily="34" charset="0"/>
              </a:rPr>
              <a:t>buying programs</a:t>
            </a:r>
            <a:endParaRPr lang="en-US" dirty="0"/>
          </a:p>
        </p:txBody>
      </p:sp>
      <p:sp>
        <p:nvSpPr>
          <p:cNvPr id="15" name="Rectangle 14">
            <a:extLst>
              <a:ext uri="{FF2B5EF4-FFF2-40B4-BE49-F238E27FC236}">
                <a16:creationId xmlns:a16="http://schemas.microsoft.com/office/drawing/2014/main" id="{611A6476-B1D7-D24D-8C14-65D4C45892A7}"/>
              </a:ext>
            </a:extLst>
          </p:cNvPr>
          <p:cNvSpPr/>
          <p:nvPr/>
        </p:nvSpPr>
        <p:spPr>
          <a:xfrm>
            <a:off x="364655" y="3948458"/>
            <a:ext cx="7994303" cy="670063"/>
          </a:xfrm>
          <a:prstGeom prst="rect">
            <a:avLst/>
          </a:prstGeom>
          <a:gradFill>
            <a:gsLst>
              <a:gs pos="0">
                <a:srgbClr val="FFFFFF">
                  <a:lumMod val="95000"/>
                  <a:alpha val="7000"/>
                </a:srgbClr>
              </a:gs>
              <a:gs pos="100000">
                <a:srgbClr val="FFFFFF">
                  <a:lumMod val="95000"/>
                </a:srgbClr>
              </a:gs>
            </a:gsLst>
            <a:lin ang="0" scaled="1"/>
          </a:gra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6" name="Title 1">
            <a:extLst>
              <a:ext uri="{FF2B5EF4-FFF2-40B4-BE49-F238E27FC236}">
                <a16:creationId xmlns:a16="http://schemas.microsoft.com/office/drawing/2014/main" id="{E03BA244-1D14-A645-A011-29ECC5B0EFA7}"/>
              </a:ext>
            </a:extLst>
          </p:cNvPr>
          <p:cNvSpPr txBox="1">
            <a:spLocks/>
          </p:cNvSpPr>
          <p:nvPr/>
        </p:nvSpPr>
        <p:spPr bwMode="auto">
          <a:xfrm>
            <a:off x="785042" y="3948663"/>
            <a:ext cx="7527686"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bg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0" lang="en-SG" sz="1600" b="0" i="0" u="none" strike="noStrike" kern="1200" cap="none" spc="0" normalizeH="0" baseline="0" noProof="0">
                <a:ln>
                  <a:noFill/>
                </a:ln>
                <a:solidFill>
                  <a:srgbClr val="0D274D"/>
                </a:solidFill>
                <a:effectLst/>
                <a:uLnTx/>
                <a:uFillTx/>
                <a:latin typeface="CiscoSansTT ExtraLight"/>
                <a:cs typeface="CiscoSansTT Thin" charset="0"/>
              </a:rPr>
              <a:t>Compelling financial reasons to make us your trusted security partner</a:t>
            </a:r>
          </a:p>
        </p:txBody>
      </p:sp>
      <p:grpSp>
        <p:nvGrpSpPr>
          <p:cNvPr id="17" name="Group 16">
            <a:extLst>
              <a:ext uri="{FF2B5EF4-FFF2-40B4-BE49-F238E27FC236}">
                <a16:creationId xmlns:a16="http://schemas.microsoft.com/office/drawing/2014/main" id="{712394A0-0B57-DB42-BE21-82209A4B05D9}"/>
              </a:ext>
            </a:extLst>
          </p:cNvPr>
          <p:cNvGrpSpPr/>
          <p:nvPr/>
        </p:nvGrpSpPr>
        <p:grpSpPr>
          <a:xfrm>
            <a:off x="7824903" y="3880567"/>
            <a:ext cx="885240" cy="762434"/>
            <a:chOff x="1055533" y="1949294"/>
            <a:chExt cx="1169507" cy="1007266"/>
          </a:xfrm>
        </p:grpSpPr>
        <p:sp>
          <p:nvSpPr>
            <p:cNvPr id="18" name="Oval 17">
              <a:extLst>
                <a:ext uri="{FF2B5EF4-FFF2-40B4-BE49-F238E27FC236}">
                  <a16:creationId xmlns:a16="http://schemas.microsoft.com/office/drawing/2014/main" id="{9B3425DE-B066-0F4D-A0C3-A4599B9626DC}"/>
                </a:ext>
              </a:extLst>
            </p:cNvPr>
            <p:cNvSpPr/>
            <p:nvPr/>
          </p:nvSpPr>
          <p:spPr>
            <a:xfrm>
              <a:off x="1391920" y="2123440"/>
              <a:ext cx="833120" cy="833120"/>
            </a:xfrm>
            <a:prstGeom prst="ellipse">
              <a:avLst/>
            </a:prstGeom>
            <a:solidFill>
              <a:srgbClr val="00BCEB"/>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0" name="Freeform: Shape 446">
              <a:extLst>
                <a:ext uri="{FF2B5EF4-FFF2-40B4-BE49-F238E27FC236}">
                  <a16:creationId xmlns:a16="http://schemas.microsoft.com/office/drawing/2014/main" id="{30687912-BB85-FF41-9E5B-EDAC6131147F}"/>
                </a:ext>
              </a:extLst>
            </p:cNvPr>
            <p:cNvSpPr>
              <a:spLocks/>
            </p:cNvSpPr>
            <p:nvPr/>
          </p:nvSpPr>
          <p:spPr bwMode="auto">
            <a:xfrm>
              <a:off x="1057275" y="1965960"/>
              <a:ext cx="972812" cy="98697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21" name="Freeform: Shape 447">
              <a:extLst>
                <a:ext uri="{FF2B5EF4-FFF2-40B4-BE49-F238E27FC236}">
                  <a16:creationId xmlns:a16="http://schemas.microsoft.com/office/drawing/2014/main" id="{57A30C05-5BB8-D646-A03A-2434AF1F014E}"/>
                </a:ext>
              </a:extLst>
            </p:cNvPr>
            <p:cNvSpPr>
              <a:spLocks/>
            </p:cNvSpPr>
            <p:nvPr/>
          </p:nvSpPr>
          <p:spPr bwMode="auto">
            <a:xfrm>
              <a:off x="1055533" y="1949294"/>
              <a:ext cx="972812" cy="98697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grpSp>
      <p:grpSp>
        <p:nvGrpSpPr>
          <p:cNvPr id="5" name="Group 4">
            <a:extLst>
              <a:ext uri="{FF2B5EF4-FFF2-40B4-BE49-F238E27FC236}">
                <a16:creationId xmlns:a16="http://schemas.microsoft.com/office/drawing/2014/main" id="{14A4931E-42F0-4EF3-8128-AFAD3C47952C}"/>
              </a:ext>
            </a:extLst>
          </p:cNvPr>
          <p:cNvGrpSpPr/>
          <p:nvPr/>
        </p:nvGrpSpPr>
        <p:grpSpPr>
          <a:xfrm>
            <a:off x="1820954" y="1209675"/>
            <a:ext cx="2109444" cy="2109444"/>
            <a:chOff x="1887223" y="1209675"/>
            <a:chExt cx="2109444" cy="2109444"/>
          </a:xfrm>
        </p:grpSpPr>
        <p:sp>
          <p:nvSpPr>
            <p:cNvPr id="40" name="Oval 39">
              <a:extLst>
                <a:ext uri="{FF2B5EF4-FFF2-40B4-BE49-F238E27FC236}">
                  <a16:creationId xmlns:a16="http://schemas.microsoft.com/office/drawing/2014/main" id="{8F982818-0C71-814C-A951-B695BCEDD21C}"/>
                </a:ext>
              </a:extLst>
            </p:cNvPr>
            <p:cNvSpPr>
              <a:spLocks noChangeAspect="1"/>
            </p:cNvSpPr>
            <p:nvPr/>
          </p:nvSpPr>
          <p:spPr>
            <a:xfrm>
              <a:off x="1887223" y="1209675"/>
              <a:ext cx="2109444" cy="2109444"/>
            </a:xfrm>
            <a:prstGeom prst="ellipse">
              <a:avLst/>
            </a:pr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35" name="Rectangle 34">
              <a:extLst>
                <a:ext uri="{FF2B5EF4-FFF2-40B4-BE49-F238E27FC236}">
                  <a16:creationId xmlns:a16="http://schemas.microsoft.com/office/drawing/2014/main" id="{C8F86F28-3CB1-3B41-BD0F-D893F0800484}"/>
                </a:ext>
              </a:extLst>
            </p:cNvPr>
            <p:cNvSpPr/>
            <p:nvPr/>
          </p:nvSpPr>
          <p:spPr>
            <a:xfrm>
              <a:off x="2170756" y="1349000"/>
              <a:ext cx="1542379" cy="72628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t>Cisco All-In </a:t>
              </a:r>
              <a:b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br>
              <a: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t>Enterprise Agreement</a:t>
              </a:r>
              <a:endParaRPr kumimoji="0" lang="en-US" sz="1050" b="0" i="0" u="none" strike="noStrike" kern="1200" cap="none" spc="0" normalizeH="0" baseline="0" noProof="0" dirty="0">
                <a:ln>
                  <a:noFill/>
                </a:ln>
                <a:solidFill>
                  <a:srgbClr val="FFFFFF"/>
                </a:solidFill>
                <a:effectLst/>
                <a:uLnTx/>
                <a:uFillTx/>
                <a:latin typeface="CiscoSansTT ExtraLight"/>
                <a:ea typeface="+mn-ea"/>
                <a:cs typeface="+mn-cs"/>
              </a:endParaRPr>
            </a:p>
          </p:txBody>
        </p:sp>
        <p:grpSp>
          <p:nvGrpSpPr>
            <p:cNvPr id="41" name="Group 40">
              <a:extLst>
                <a:ext uri="{FF2B5EF4-FFF2-40B4-BE49-F238E27FC236}">
                  <a16:creationId xmlns:a16="http://schemas.microsoft.com/office/drawing/2014/main" id="{B5A975D8-B23F-324C-A56E-AD11FA815A8D}"/>
                </a:ext>
              </a:extLst>
            </p:cNvPr>
            <p:cNvGrpSpPr>
              <a:grpSpLocks noChangeAspect="1"/>
            </p:cNvGrpSpPr>
            <p:nvPr/>
          </p:nvGrpSpPr>
          <p:grpSpPr>
            <a:xfrm>
              <a:off x="2382536" y="2079778"/>
              <a:ext cx="1238586" cy="914400"/>
              <a:chOff x="1277584" y="1382281"/>
              <a:chExt cx="2281171" cy="1684098"/>
            </a:xfrm>
          </p:grpSpPr>
          <p:sp>
            <p:nvSpPr>
              <p:cNvPr id="42" name="Freeform: Shape 66">
                <a:extLst>
                  <a:ext uri="{FF2B5EF4-FFF2-40B4-BE49-F238E27FC236}">
                    <a16:creationId xmlns:a16="http://schemas.microsoft.com/office/drawing/2014/main" id="{6248DD29-B9FF-B841-BEE6-FF0092A9BA2C}"/>
                  </a:ext>
                </a:extLst>
              </p:cNvPr>
              <p:cNvSpPr>
                <a:spLocks/>
              </p:cNvSpPr>
              <p:nvPr/>
            </p:nvSpPr>
            <p:spPr bwMode="auto">
              <a:xfrm>
                <a:off x="2585945" y="1382281"/>
                <a:ext cx="972810" cy="986972"/>
              </a:xfrm>
              <a:custGeom>
                <a:avLst/>
                <a:gdLst>
                  <a:gd name="connsiteX0" fmla="*/ 578304 w 652973"/>
                  <a:gd name="connsiteY0" fmla="*/ 527099 h 662481"/>
                  <a:gd name="connsiteX1" fmla="*/ 584704 w 652973"/>
                  <a:gd name="connsiteY1" fmla="*/ 527099 h 662481"/>
                  <a:gd name="connsiteX2" fmla="*/ 584704 w 652973"/>
                  <a:gd name="connsiteY2" fmla="*/ 533647 h 662481"/>
                  <a:gd name="connsiteX3" fmla="*/ 527107 w 652973"/>
                  <a:gd name="connsiteY3" fmla="*/ 592583 h 662481"/>
                  <a:gd name="connsiteX4" fmla="*/ 520707 w 652973"/>
                  <a:gd name="connsiteY4" fmla="*/ 592583 h 662481"/>
                  <a:gd name="connsiteX5" fmla="*/ 520707 w 652973"/>
                  <a:gd name="connsiteY5" fmla="*/ 586035 h 662481"/>
                  <a:gd name="connsiteX6" fmla="*/ 578304 w 652973"/>
                  <a:gd name="connsiteY6" fmla="*/ 527099 h 662481"/>
                  <a:gd name="connsiteX7" fmla="*/ 627431 w 652973"/>
                  <a:gd name="connsiteY7" fmla="*/ 433440 h 662481"/>
                  <a:gd name="connsiteX8" fmla="*/ 633895 w 652973"/>
                  <a:gd name="connsiteY8" fmla="*/ 433440 h 662481"/>
                  <a:gd name="connsiteX9" fmla="*/ 633895 w 652973"/>
                  <a:gd name="connsiteY9" fmla="*/ 440001 h 662481"/>
                  <a:gd name="connsiteX10" fmla="*/ 433529 w 652973"/>
                  <a:gd name="connsiteY10" fmla="*/ 643379 h 662481"/>
                  <a:gd name="connsiteX11" fmla="*/ 427066 w 652973"/>
                  <a:gd name="connsiteY11" fmla="*/ 643379 h 662481"/>
                  <a:gd name="connsiteX12" fmla="*/ 427066 w 652973"/>
                  <a:gd name="connsiteY12" fmla="*/ 636819 h 662481"/>
                  <a:gd name="connsiteX13" fmla="*/ 627431 w 652973"/>
                  <a:gd name="connsiteY13" fmla="*/ 433440 h 662481"/>
                  <a:gd name="connsiteX14" fmla="*/ 640169 w 652973"/>
                  <a:gd name="connsiteY14" fmla="*/ 374697 h 662481"/>
                  <a:gd name="connsiteX15" fmla="*/ 646604 w 652973"/>
                  <a:gd name="connsiteY15" fmla="*/ 374697 h 662481"/>
                  <a:gd name="connsiteX16" fmla="*/ 646604 w 652973"/>
                  <a:gd name="connsiteY16" fmla="*/ 383423 h 662481"/>
                  <a:gd name="connsiteX17" fmla="*/ 378486 w 652973"/>
                  <a:gd name="connsiteY17" fmla="*/ 656085 h 662481"/>
                  <a:gd name="connsiteX18" fmla="*/ 369906 w 652973"/>
                  <a:gd name="connsiteY18" fmla="*/ 656085 h 662481"/>
                  <a:gd name="connsiteX19" fmla="*/ 369906 w 652973"/>
                  <a:gd name="connsiteY19" fmla="*/ 649541 h 662481"/>
                  <a:gd name="connsiteX20" fmla="*/ 640169 w 652973"/>
                  <a:gd name="connsiteY20" fmla="*/ 374697 h 662481"/>
                  <a:gd name="connsiteX21" fmla="*/ 644894 w 652973"/>
                  <a:gd name="connsiteY21" fmla="*/ 328664 h 662481"/>
                  <a:gd name="connsiteX22" fmla="*/ 651358 w 652973"/>
                  <a:gd name="connsiteY22" fmla="*/ 328664 h 662481"/>
                  <a:gd name="connsiteX23" fmla="*/ 651358 w 652973"/>
                  <a:gd name="connsiteY23" fmla="*/ 335220 h 662481"/>
                  <a:gd name="connsiteX24" fmla="*/ 330342 w 652973"/>
                  <a:gd name="connsiteY24" fmla="*/ 660843 h 662481"/>
                  <a:gd name="connsiteX25" fmla="*/ 323879 w 652973"/>
                  <a:gd name="connsiteY25" fmla="*/ 660843 h 662481"/>
                  <a:gd name="connsiteX26" fmla="*/ 323879 w 652973"/>
                  <a:gd name="connsiteY26" fmla="*/ 654287 h 662481"/>
                  <a:gd name="connsiteX27" fmla="*/ 644894 w 652973"/>
                  <a:gd name="connsiteY27" fmla="*/ 328664 h 662481"/>
                  <a:gd name="connsiteX28" fmla="*/ 643322 w 652973"/>
                  <a:gd name="connsiteY28" fmla="*/ 287381 h 662481"/>
                  <a:gd name="connsiteX29" fmla="*/ 649774 w 652973"/>
                  <a:gd name="connsiteY29" fmla="*/ 287381 h 662481"/>
                  <a:gd name="connsiteX30" fmla="*/ 649774 w 652973"/>
                  <a:gd name="connsiteY30" fmla="*/ 293916 h 662481"/>
                  <a:gd name="connsiteX31" fmla="*/ 290638 w 652973"/>
                  <a:gd name="connsiteY31" fmla="*/ 657675 h 662481"/>
                  <a:gd name="connsiteX32" fmla="*/ 284187 w 652973"/>
                  <a:gd name="connsiteY32" fmla="*/ 657675 h 662481"/>
                  <a:gd name="connsiteX33" fmla="*/ 284187 w 652973"/>
                  <a:gd name="connsiteY33" fmla="*/ 651140 h 662481"/>
                  <a:gd name="connsiteX34" fmla="*/ 643322 w 652973"/>
                  <a:gd name="connsiteY34" fmla="*/ 287381 h 662481"/>
                  <a:gd name="connsiteX35" fmla="*/ 636971 w 652973"/>
                  <a:gd name="connsiteY35" fmla="*/ 250868 h 662481"/>
                  <a:gd name="connsiteX36" fmla="*/ 643423 w 652973"/>
                  <a:gd name="connsiteY36" fmla="*/ 250868 h 662481"/>
                  <a:gd name="connsiteX37" fmla="*/ 643423 w 652973"/>
                  <a:gd name="connsiteY37" fmla="*/ 257397 h 662481"/>
                  <a:gd name="connsiteX38" fmla="*/ 254127 w 652973"/>
                  <a:gd name="connsiteY38" fmla="*/ 651328 h 662481"/>
                  <a:gd name="connsiteX39" fmla="*/ 247675 w 652973"/>
                  <a:gd name="connsiteY39" fmla="*/ 651328 h 662481"/>
                  <a:gd name="connsiteX40" fmla="*/ 247675 w 652973"/>
                  <a:gd name="connsiteY40" fmla="*/ 644798 h 662481"/>
                  <a:gd name="connsiteX41" fmla="*/ 636971 w 652973"/>
                  <a:gd name="connsiteY41" fmla="*/ 250868 h 662481"/>
                  <a:gd name="connsiteX42" fmla="*/ 625843 w 652973"/>
                  <a:gd name="connsiteY42" fmla="*/ 217532 h 662481"/>
                  <a:gd name="connsiteX43" fmla="*/ 632307 w 652973"/>
                  <a:gd name="connsiteY43" fmla="*/ 217532 h 662481"/>
                  <a:gd name="connsiteX44" fmla="*/ 632307 w 652973"/>
                  <a:gd name="connsiteY44" fmla="*/ 224068 h 662481"/>
                  <a:gd name="connsiteX45" fmla="*/ 220804 w 652973"/>
                  <a:gd name="connsiteY45" fmla="*/ 640212 h 662481"/>
                  <a:gd name="connsiteX46" fmla="*/ 214341 w 652973"/>
                  <a:gd name="connsiteY46" fmla="*/ 640212 h 662481"/>
                  <a:gd name="connsiteX47" fmla="*/ 214341 w 652973"/>
                  <a:gd name="connsiteY47" fmla="*/ 633676 h 662481"/>
                  <a:gd name="connsiteX48" fmla="*/ 625843 w 652973"/>
                  <a:gd name="connsiteY48" fmla="*/ 217532 h 662481"/>
                  <a:gd name="connsiteX49" fmla="*/ 613140 w 652973"/>
                  <a:gd name="connsiteY49" fmla="*/ 187370 h 662481"/>
                  <a:gd name="connsiteX50" fmla="*/ 619607 w 652973"/>
                  <a:gd name="connsiteY50" fmla="*/ 187370 h 662481"/>
                  <a:gd name="connsiteX51" fmla="*/ 619607 w 652973"/>
                  <a:gd name="connsiteY51" fmla="*/ 193907 h 662481"/>
                  <a:gd name="connsiteX52" fmla="*/ 190647 w 652973"/>
                  <a:gd name="connsiteY52" fmla="*/ 627512 h 662481"/>
                  <a:gd name="connsiteX53" fmla="*/ 184180 w 652973"/>
                  <a:gd name="connsiteY53" fmla="*/ 627512 h 662481"/>
                  <a:gd name="connsiteX54" fmla="*/ 184180 w 652973"/>
                  <a:gd name="connsiteY54" fmla="*/ 620975 h 662481"/>
                  <a:gd name="connsiteX55" fmla="*/ 613140 w 652973"/>
                  <a:gd name="connsiteY55" fmla="*/ 187370 h 662481"/>
                  <a:gd name="connsiteX56" fmla="*/ 597299 w 652973"/>
                  <a:gd name="connsiteY56" fmla="*/ 158793 h 662481"/>
                  <a:gd name="connsiteX57" fmla="*/ 603739 w 652973"/>
                  <a:gd name="connsiteY57" fmla="*/ 158793 h 662481"/>
                  <a:gd name="connsiteX58" fmla="*/ 603739 w 652973"/>
                  <a:gd name="connsiteY58" fmla="*/ 165325 h 662481"/>
                  <a:gd name="connsiteX59" fmla="*/ 163624 w 652973"/>
                  <a:gd name="connsiteY59" fmla="*/ 611639 h 662481"/>
                  <a:gd name="connsiteX60" fmla="*/ 157183 w 652973"/>
                  <a:gd name="connsiteY60" fmla="*/ 611639 h 662481"/>
                  <a:gd name="connsiteX61" fmla="*/ 157183 w 652973"/>
                  <a:gd name="connsiteY61" fmla="*/ 605108 h 662481"/>
                  <a:gd name="connsiteX62" fmla="*/ 597299 w 652973"/>
                  <a:gd name="connsiteY62" fmla="*/ 158793 h 662481"/>
                  <a:gd name="connsiteX63" fmla="*/ 581377 w 652973"/>
                  <a:gd name="connsiteY63" fmla="*/ 133390 h 662481"/>
                  <a:gd name="connsiteX64" fmla="*/ 587854 w 652973"/>
                  <a:gd name="connsiteY64" fmla="*/ 133390 h 662481"/>
                  <a:gd name="connsiteX65" fmla="*/ 587854 w 652973"/>
                  <a:gd name="connsiteY65" fmla="*/ 139910 h 662481"/>
                  <a:gd name="connsiteX66" fmla="*/ 136684 w 652973"/>
                  <a:gd name="connsiteY66" fmla="*/ 594181 h 662481"/>
                  <a:gd name="connsiteX67" fmla="*/ 130208 w 652973"/>
                  <a:gd name="connsiteY67" fmla="*/ 594181 h 662481"/>
                  <a:gd name="connsiteX68" fmla="*/ 130208 w 652973"/>
                  <a:gd name="connsiteY68" fmla="*/ 587660 h 662481"/>
                  <a:gd name="connsiteX69" fmla="*/ 581377 w 652973"/>
                  <a:gd name="connsiteY69" fmla="*/ 133390 h 662481"/>
                  <a:gd name="connsiteX70" fmla="*/ 560761 w 652973"/>
                  <a:gd name="connsiteY70" fmla="*/ 109579 h 662481"/>
                  <a:gd name="connsiteX71" fmla="*/ 567221 w 652973"/>
                  <a:gd name="connsiteY71" fmla="*/ 109579 h 662481"/>
                  <a:gd name="connsiteX72" fmla="*/ 567221 w 652973"/>
                  <a:gd name="connsiteY72" fmla="*/ 116105 h 662481"/>
                  <a:gd name="connsiteX73" fmla="*/ 112850 w 652973"/>
                  <a:gd name="connsiteY73" fmla="*/ 575128 h 662481"/>
                  <a:gd name="connsiteX74" fmla="*/ 106390 w 652973"/>
                  <a:gd name="connsiteY74" fmla="*/ 575128 h 662481"/>
                  <a:gd name="connsiteX75" fmla="*/ 106390 w 652973"/>
                  <a:gd name="connsiteY75" fmla="*/ 568601 h 662481"/>
                  <a:gd name="connsiteX76" fmla="*/ 560761 w 652973"/>
                  <a:gd name="connsiteY76" fmla="*/ 109579 h 662481"/>
                  <a:gd name="connsiteX77" fmla="*/ 540124 w 652973"/>
                  <a:gd name="connsiteY77" fmla="*/ 87354 h 662481"/>
                  <a:gd name="connsiteX78" fmla="*/ 546584 w 652973"/>
                  <a:gd name="connsiteY78" fmla="*/ 87354 h 662481"/>
                  <a:gd name="connsiteX79" fmla="*/ 546584 w 652973"/>
                  <a:gd name="connsiteY79" fmla="*/ 93880 h 662481"/>
                  <a:gd name="connsiteX80" fmla="*/ 92213 w 652973"/>
                  <a:gd name="connsiteY80" fmla="*/ 552903 h 662481"/>
                  <a:gd name="connsiteX81" fmla="*/ 85753 w 652973"/>
                  <a:gd name="connsiteY81" fmla="*/ 552903 h 662481"/>
                  <a:gd name="connsiteX82" fmla="*/ 85753 w 652973"/>
                  <a:gd name="connsiteY82" fmla="*/ 546376 h 662481"/>
                  <a:gd name="connsiteX83" fmla="*/ 540124 w 652973"/>
                  <a:gd name="connsiteY83" fmla="*/ 87354 h 662481"/>
                  <a:gd name="connsiteX84" fmla="*/ 125866 w 652973"/>
                  <a:gd name="connsiteY84" fmla="*/ 69899 h 662481"/>
                  <a:gd name="connsiteX85" fmla="*/ 132266 w 652973"/>
                  <a:gd name="connsiteY85" fmla="*/ 69899 h 662481"/>
                  <a:gd name="connsiteX86" fmla="*/ 132266 w 652973"/>
                  <a:gd name="connsiteY86" fmla="*/ 76447 h 662481"/>
                  <a:gd name="connsiteX87" fmla="*/ 74669 w 652973"/>
                  <a:gd name="connsiteY87" fmla="*/ 135383 h 662481"/>
                  <a:gd name="connsiteX88" fmla="*/ 68269 w 652973"/>
                  <a:gd name="connsiteY88" fmla="*/ 135383 h 662481"/>
                  <a:gd name="connsiteX89" fmla="*/ 68269 w 652973"/>
                  <a:gd name="connsiteY89" fmla="*/ 128835 h 662481"/>
                  <a:gd name="connsiteX90" fmla="*/ 125866 w 652973"/>
                  <a:gd name="connsiteY90" fmla="*/ 69899 h 662481"/>
                  <a:gd name="connsiteX91" fmla="*/ 516319 w 652973"/>
                  <a:gd name="connsiteY91" fmla="*/ 68302 h 662481"/>
                  <a:gd name="connsiteX92" fmla="*/ 522773 w 652973"/>
                  <a:gd name="connsiteY92" fmla="*/ 68302 h 662481"/>
                  <a:gd name="connsiteX93" fmla="*/ 522773 w 652973"/>
                  <a:gd name="connsiteY93" fmla="*/ 74822 h 662481"/>
                  <a:gd name="connsiteX94" fmla="*/ 73154 w 652973"/>
                  <a:gd name="connsiteY94" fmla="*/ 529093 h 662481"/>
                  <a:gd name="connsiteX95" fmla="*/ 66701 w 652973"/>
                  <a:gd name="connsiteY95" fmla="*/ 529093 h 662481"/>
                  <a:gd name="connsiteX96" fmla="*/ 66701 w 652973"/>
                  <a:gd name="connsiteY96" fmla="*/ 522572 h 662481"/>
                  <a:gd name="connsiteX97" fmla="*/ 516319 w 652973"/>
                  <a:gd name="connsiteY97" fmla="*/ 68302 h 662481"/>
                  <a:gd name="connsiteX98" fmla="*/ 490906 w 652973"/>
                  <a:gd name="connsiteY98" fmla="*/ 50843 h 662481"/>
                  <a:gd name="connsiteX99" fmla="*/ 497370 w 652973"/>
                  <a:gd name="connsiteY99" fmla="*/ 50843 h 662481"/>
                  <a:gd name="connsiteX100" fmla="*/ 497370 w 652973"/>
                  <a:gd name="connsiteY100" fmla="*/ 57375 h 662481"/>
                  <a:gd name="connsiteX101" fmla="*/ 55704 w 652973"/>
                  <a:gd name="connsiteY101" fmla="*/ 503689 h 662481"/>
                  <a:gd name="connsiteX102" fmla="*/ 49241 w 652973"/>
                  <a:gd name="connsiteY102" fmla="*/ 503689 h 662481"/>
                  <a:gd name="connsiteX103" fmla="*/ 49241 w 652973"/>
                  <a:gd name="connsiteY103" fmla="*/ 497158 h 662481"/>
                  <a:gd name="connsiteX104" fmla="*/ 490906 w 652973"/>
                  <a:gd name="connsiteY104" fmla="*/ 50843 h 662481"/>
                  <a:gd name="connsiteX105" fmla="*/ 462327 w 652973"/>
                  <a:gd name="connsiteY105" fmla="*/ 34970 h 662481"/>
                  <a:gd name="connsiteX106" fmla="*/ 468794 w 652973"/>
                  <a:gd name="connsiteY106" fmla="*/ 34970 h 662481"/>
                  <a:gd name="connsiteX107" fmla="*/ 468794 w 652973"/>
                  <a:gd name="connsiteY107" fmla="*/ 41507 h 662481"/>
                  <a:gd name="connsiteX108" fmla="*/ 39834 w 652973"/>
                  <a:gd name="connsiteY108" fmla="*/ 475112 h 662481"/>
                  <a:gd name="connsiteX109" fmla="*/ 33367 w 652973"/>
                  <a:gd name="connsiteY109" fmla="*/ 475112 h 662481"/>
                  <a:gd name="connsiteX110" fmla="*/ 33367 w 652973"/>
                  <a:gd name="connsiteY110" fmla="*/ 468575 h 662481"/>
                  <a:gd name="connsiteX111" fmla="*/ 462327 w 652973"/>
                  <a:gd name="connsiteY111" fmla="*/ 34970 h 662481"/>
                  <a:gd name="connsiteX112" fmla="*/ 432168 w 652973"/>
                  <a:gd name="connsiteY112" fmla="*/ 22270 h 662481"/>
                  <a:gd name="connsiteX113" fmla="*/ 438632 w 652973"/>
                  <a:gd name="connsiteY113" fmla="*/ 22270 h 662481"/>
                  <a:gd name="connsiteX114" fmla="*/ 438632 w 652973"/>
                  <a:gd name="connsiteY114" fmla="*/ 28806 h 662481"/>
                  <a:gd name="connsiteX115" fmla="*/ 27129 w 652973"/>
                  <a:gd name="connsiteY115" fmla="*/ 444950 h 662481"/>
                  <a:gd name="connsiteX116" fmla="*/ 20665 w 652973"/>
                  <a:gd name="connsiteY116" fmla="*/ 444950 h 662481"/>
                  <a:gd name="connsiteX117" fmla="*/ 20665 w 652973"/>
                  <a:gd name="connsiteY117" fmla="*/ 438414 h 662481"/>
                  <a:gd name="connsiteX118" fmla="*/ 432168 w 652973"/>
                  <a:gd name="connsiteY118" fmla="*/ 22270 h 662481"/>
                  <a:gd name="connsiteX119" fmla="*/ 219444 w 652973"/>
                  <a:gd name="connsiteY119" fmla="*/ 19103 h 662481"/>
                  <a:gd name="connsiteX120" fmla="*/ 225908 w 652973"/>
                  <a:gd name="connsiteY120" fmla="*/ 19103 h 662481"/>
                  <a:gd name="connsiteX121" fmla="*/ 225908 w 652973"/>
                  <a:gd name="connsiteY121" fmla="*/ 25663 h 662481"/>
                  <a:gd name="connsiteX122" fmla="*/ 25542 w 652973"/>
                  <a:gd name="connsiteY122" fmla="*/ 229042 h 662481"/>
                  <a:gd name="connsiteX123" fmla="*/ 19078 w 652973"/>
                  <a:gd name="connsiteY123" fmla="*/ 229042 h 662481"/>
                  <a:gd name="connsiteX124" fmla="*/ 19078 w 652973"/>
                  <a:gd name="connsiteY124" fmla="*/ 222482 h 662481"/>
                  <a:gd name="connsiteX125" fmla="*/ 219444 w 652973"/>
                  <a:gd name="connsiteY125" fmla="*/ 19103 h 662481"/>
                  <a:gd name="connsiteX126" fmla="*/ 400400 w 652973"/>
                  <a:gd name="connsiteY126" fmla="*/ 11154 h 662481"/>
                  <a:gd name="connsiteX127" fmla="*/ 406878 w 652973"/>
                  <a:gd name="connsiteY127" fmla="*/ 11154 h 662481"/>
                  <a:gd name="connsiteX128" fmla="*/ 406878 w 652973"/>
                  <a:gd name="connsiteY128" fmla="*/ 17684 h 662481"/>
                  <a:gd name="connsiteX129" fmla="*/ 16036 w 652973"/>
                  <a:gd name="connsiteY129" fmla="*/ 411615 h 662481"/>
                  <a:gd name="connsiteX130" fmla="*/ 9558 w 652973"/>
                  <a:gd name="connsiteY130" fmla="*/ 411615 h 662481"/>
                  <a:gd name="connsiteX131" fmla="*/ 9558 w 652973"/>
                  <a:gd name="connsiteY131" fmla="*/ 405085 h 662481"/>
                  <a:gd name="connsiteX132" fmla="*/ 400400 w 652973"/>
                  <a:gd name="connsiteY132" fmla="*/ 11154 h 662481"/>
                  <a:gd name="connsiteX133" fmla="*/ 274488 w 652973"/>
                  <a:gd name="connsiteY133" fmla="*/ 6397 h 662481"/>
                  <a:gd name="connsiteX134" fmla="*/ 283067 w 652973"/>
                  <a:gd name="connsiteY134" fmla="*/ 6397 h 662481"/>
                  <a:gd name="connsiteX135" fmla="*/ 283067 w 652973"/>
                  <a:gd name="connsiteY135" fmla="*/ 12941 h 662481"/>
                  <a:gd name="connsiteX136" fmla="*/ 12804 w 652973"/>
                  <a:gd name="connsiteY136" fmla="*/ 287785 h 662481"/>
                  <a:gd name="connsiteX137" fmla="*/ 6369 w 652973"/>
                  <a:gd name="connsiteY137" fmla="*/ 287785 h 662481"/>
                  <a:gd name="connsiteX138" fmla="*/ 6369 w 652973"/>
                  <a:gd name="connsiteY138" fmla="*/ 279060 h 662481"/>
                  <a:gd name="connsiteX139" fmla="*/ 274488 w 652973"/>
                  <a:gd name="connsiteY139" fmla="*/ 6397 h 662481"/>
                  <a:gd name="connsiteX140" fmla="*/ 363885 w 652973"/>
                  <a:gd name="connsiteY140" fmla="*/ 4806 h 662481"/>
                  <a:gd name="connsiteX141" fmla="*/ 370364 w 652973"/>
                  <a:gd name="connsiteY141" fmla="*/ 4806 h 662481"/>
                  <a:gd name="connsiteX142" fmla="*/ 370364 w 652973"/>
                  <a:gd name="connsiteY142" fmla="*/ 11341 h 662481"/>
                  <a:gd name="connsiteX143" fmla="*/ 9688 w 652973"/>
                  <a:gd name="connsiteY143" fmla="*/ 375100 h 662481"/>
                  <a:gd name="connsiteX144" fmla="*/ 3208 w 652973"/>
                  <a:gd name="connsiteY144" fmla="*/ 375100 h 662481"/>
                  <a:gd name="connsiteX145" fmla="*/ 3208 w 652973"/>
                  <a:gd name="connsiteY145" fmla="*/ 368565 h 662481"/>
                  <a:gd name="connsiteX146" fmla="*/ 363885 w 652973"/>
                  <a:gd name="connsiteY146" fmla="*/ 4806 h 662481"/>
                  <a:gd name="connsiteX147" fmla="*/ 322631 w 652973"/>
                  <a:gd name="connsiteY147" fmla="*/ 1638 h 662481"/>
                  <a:gd name="connsiteX148" fmla="*/ 329095 w 652973"/>
                  <a:gd name="connsiteY148" fmla="*/ 1638 h 662481"/>
                  <a:gd name="connsiteX149" fmla="*/ 329095 w 652973"/>
                  <a:gd name="connsiteY149" fmla="*/ 8194 h 662481"/>
                  <a:gd name="connsiteX150" fmla="*/ 8079 w 652973"/>
                  <a:gd name="connsiteY150" fmla="*/ 333818 h 662481"/>
                  <a:gd name="connsiteX151" fmla="*/ 1615 w 652973"/>
                  <a:gd name="connsiteY151" fmla="*/ 333818 h 662481"/>
                  <a:gd name="connsiteX152" fmla="*/ 1615 w 652973"/>
                  <a:gd name="connsiteY152" fmla="*/ 327262 h 662481"/>
                  <a:gd name="connsiteX153" fmla="*/ 322631 w 652973"/>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3" h="662481">
                    <a:moveTo>
                      <a:pt x="578304" y="527099"/>
                    </a:moveTo>
                    <a:cubicBezTo>
                      <a:pt x="578304" y="524916"/>
                      <a:pt x="582571" y="524916"/>
                      <a:pt x="584704" y="527099"/>
                    </a:cubicBezTo>
                    <a:cubicBezTo>
                      <a:pt x="586837" y="529282"/>
                      <a:pt x="586837" y="531465"/>
                      <a:pt x="584704" y="533647"/>
                    </a:cubicBezTo>
                    <a:cubicBezTo>
                      <a:pt x="584704" y="533647"/>
                      <a:pt x="584704" y="533647"/>
                      <a:pt x="527107" y="592583"/>
                    </a:cubicBezTo>
                    <a:cubicBezTo>
                      <a:pt x="524974" y="594766"/>
                      <a:pt x="522841" y="594766"/>
                      <a:pt x="520707" y="592583"/>
                    </a:cubicBezTo>
                    <a:cubicBezTo>
                      <a:pt x="518574" y="590401"/>
                      <a:pt x="518574" y="586035"/>
                      <a:pt x="520707" y="586035"/>
                    </a:cubicBezTo>
                    <a:cubicBezTo>
                      <a:pt x="520707" y="586035"/>
                      <a:pt x="520707" y="586035"/>
                      <a:pt x="578304"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4" y="328664"/>
                    </a:moveTo>
                    <a:cubicBezTo>
                      <a:pt x="647049" y="326478"/>
                      <a:pt x="649203" y="326478"/>
                      <a:pt x="651358" y="328664"/>
                    </a:cubicBezTo>
                    <a:cubicBezTo>
                      <a:pt x="653512" y="330849"/>
                      <a:pt x="653512" y="333034"/>
                      <a:pt x="651358" y="335220"/>
                    </a:cubicBezTo>
                    <a:cubicBezTo>
                      <a:pt x="651358" y="335220"/>
                      <a:pt x="651358" y="335220"/>
                      <a:pt x="330342" y="660843"/>
                    </a:cubicBezTo>
                    <a:cubicBezTo>
                      <a:pt x="328188" y="663028"/>
                      <a:pt x="326033" y="663028"/>
                      <a:pt x="323879" y="660843"/>
                    </a:cubicBezTo>
                    <a:cubicBezTo>
                      <a:pt x="321724" y="658657"/>
                      <a:pt x="321724" y="656472"/>
                      <a:pt x="323879" y="654287"/>
                    </a:cubicBezTo>
                    <a:cubicBezTo>
                      <a:pt x="323879" y="654287"/>
                      <a:pt x="323879" y="654287"/>
                      <a:pt x="644894"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1" y="250868"/>
                    </a:moveTo>
                    <a:cubicBezTo>
                      <a:pt x="639122" y="248691"/>
                      <a:pt x="641273" y="248691"/>
                      <a:pt x="643423" y="250868"/>
                    </a:cubicBezTo>
                    <a:cubicBezTo>
                      <a:pt x="645574" y="253044"/>
                      <a:pt x="645574" y="255220"/>
                      <a:pt x="643423" y="257397"/>
                    </a:cubicBezTo>
                    <a:cubicBezTo>
                      <a:pt x="643423" y="257397"/>
                      <a:pt x="643423" y="257397"/>
                      <a:pt x="254127" y="651328"/>
                    </a:cubicBezTo>
                    <a:cubicBezTo>
                      <a:pt x="251977" y="653504"/>
                      <a:pt x="249826" y="653504"/>
                      <a:pt x="247675" y="651328"/>
                    </a:cubicBezTo>
                    <a:cubicBezTo>
                      <a:pt x="245524" y="649151"/>
                      <a:pt x="245524" y="646975"/>
                      <a:pt x="247675" y="644798"/>
                    </a:cubicBezTo>
                    <a:cubicBezTo>
                      <a:pt x="247675" y="644798"/>
                      <a:pt x="247675" y="644798"/>
                      <a:pt x="636971"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40" y="187370"/>
                    </a:moveTo>
                    <a:cubicBezTo>
                      <a:pt x="615295" y="185191"/>
                      <a:pt x="617451" y="185191"/>
                      <a:pt x="619607" y="187370"/>
                    </a:cubicBezTo>
                    <a:cubicBezTo>
                      <a:pt x="621762" y="187370"/>
                      <a:pt x="621762" y="191728"/>
                      <a:pt x="619607" y="193907"/>
                    </a:cubicBezTo>
                    <a:cubicBezTo>
                      <a:pt x="619607" y="193907"/>
                      <a:pt x="619607" y="193907"/>
                      <a:pt x="190647" y="627512"/>
                    </a:cubicBezTo>
                    <a:cubicBezTo>
                      <a:pt x="188491" y="629691"/>
                      <a:pt x="184180" y="629691"/>
                      <a:pt x="184180" y="627512"/>
                    </a:cubicBezTo>
                    <a:cubicBezTo>
                      <a:pt x="182024" y="625333"/>
                      <a:pt x="182024" y="623154"/>
                      <a:pt x="184180" y="620975"/>
                    </a:cubicBezTo>
                    <a:cubicBezTo>
                      <a:pt x="184180" y="620975"/>
                      <a:pt x="184180" y="620975"/>
                      <a:pt x="613140" y="187370"/>
                    </a:cubicBezTo>
                    <a:close/>
                    <a:moveTo>
                      <a:pt x="597299" y="158793"/>
                    </a:moveTo>
                    <a:cubicBezTo>
                      <a:pt x="599446" y="156616"/>
                      <a:pt x="601592" y="156616"/>
                      <a:pt x="603739" y="158793"/>
                    </a:cubicBezTo>
                    <a:cubicBezTo>
                      <a:pt x="605886" y="160970"/>
                      <a:pt x="605886" y="163148"/>
                      <a:pt x="603739" y="165325"/>
                    </a:cubicBezTo>
                    <a:cubicBezTo>
                      <a:pt x="603739" y="165325"/>
                      <a:pt x="603739" y="165325"/>
                      <a:pt x="163624" y="611639"/>
                    </a:cubicBezTo>
                    <a:cubicBezTo>
                      <a:pt x="161477" y="613816"/>
                      <a:pt x="159330" y="613816"/>
                      <a:pt x="157183" y="611639"/>
                    </a:cubicBezTo>
                    <a:cubicBezTo>
                      <a:pt x="155036" y="609462"/>
                      <a:pt x="155036" y="607285"/>
                      <a:pt x="157183" y="605108"/>
                    </a:cubicBezTo>
                    <a:cubicBezTo>
                      <a:pt x="157183" y="605108"/>
                      <a:pt x="157183" y="605108"/>
                      <a:pt x="597299" y="158793"/>
                    </a:cubicBezTo>
                    <a:close/>
                    <a:moveTo>
                      <a:pt x="581377" y="133390"/>
                    </a:moveTo>
                    <a:cubicBezTo>
                      <a:pt x="583536" y="131216"/>
                      <a:pt x="585695" y="131216"/>
                      <a:pt x="587854" y="133390"/>
                    </a:cubicBezTo>
                    <a:cubicBezTo>
                      <a:pt x="590012" y="135563"/>
                      <a:pt x="590012" y="137737"/>
                      <a:pt x="587854" y="139910"/>
                    </a:cubicBezTo>
                    <a:cubicBezTo>
                      <a:pt x="587854" y="139910"/>
                      <a:pt x="587854" y="139910"/>
                      <a:pt x="136684" y="594181"/>
                    </a:cubicBezTo>
                    <a:cubicBezTo>
                      <a:pt x="134525" y="596354"/>
                      <a:pt x="132367" y="596354"/>
                      <a:pt x="130208" y="594181"/>
                    </a:cubicBezTo>
                    <a:cubicBezTo>
                      <a:pt x="128049" y="592007"/>
                      <a:pt x="128049" y="589834"/>
                      <a:pt x="130208" y="587660"/>
                    </a:cubicBezTo>
                    <a:cubicBezTo>
                      <a:pt x="130208" y="587660"/>
                      <a:pt x="130208" y="587660"/>
                      <a:pt x="581377"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4" y="87354"/>
                    </a:moveTo>
                    <a:cubicBezTo>
                      <a:pt x="542277" y="85178"/>
                      <a:pt x="544430" y="85178"/>
                      <a:pt x="546584" y="87354"/>
                    </a:cubicBezTo>
                    <a:cubicBezTo>
                      <a:pt x="548737" y="89529"/>
                      <a:pt x="548737" y="91705"/>
                      <a:pt x="546584" y="93880"/>
                    </a:cubicBezTo>
                    <a:cubicBezTo>
                      <a:pt x="546584" y="93880"/>
                      <a:pt x="546584" y="93880"/>
                      <a:pt x="92213" y="552903"/>
                    </a:cubicBezTo>
                    <a:cubicBezTo>
                      <a:pt x="90059" y="555078"/>
                      <a:pt x="87906" y="555078"/>
                      <a:pt x="85753" y="552903"/>
                    </a:cubicBezTo>
                    <a:cubicBezTo>
                      <a:pt x="83599" y="550727"/>
                      <a:pt x="83599" y="548552"/>
                      <a:pt x="85753" y="546376"/>
                    </a:cubicBezTo>
                    <a:cubicBezTo>
                      <a:pt x="85753" y="546376"/>
                      <a:pt x="85753" y="546376"/>
                      <a:pt x="540124"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319" y="68302"/>
                    </a:moveTo>
                    <a:cubicBezTo>
                      <a:pt x="518470" y="66128"/>
                      <a:pt x="520622" y="66128"/>
                      <a:pt x="522773" y="68302"/>
                    </a:cubicBezTo>
                    <a:cubicBezTo>
                      <a:pt x="524924" y="70475"/>
                      <a:pt x="524924" y="72649"/>
                      <a:pt x="522773" y="74822"/>
                    </a:cubicBezTo>
                    <a:cubicBezTo>
                      <a:pt x="522773" y="74822"/>
                      <a:pt x="522773" y="74822"/>
                      <a:pt x="73154" y="529093"/>
                    </a:cubicBezTo>
                    <a:cubicBezTo>
                      <a:pt x="71003" y="531266"/>
                      <a:pt x="68852" y="531266"/>
                      <a:pt x="66701" y="529093"/>
                    </a:cubicBezTo>
                    <a:cubicBezTo>
                      <a:pt x="64549" y="526919"/>
                      <a:pt x="64549" y="524746"/>
                      <a:pt x="66701" y="522572"/>
                    </a:cubicBezTo>
                    <a:cubicBezTo>
                      <a:pt x="66701" y="522572"/>
                      <a:pt x="66701" y="522572"/>
                      <a:pt x="516319"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4" y="19103"/>
                    </a:moveTo>
                    <a:cubicBezTo>
                      <a:pt x="221599" y="16916"/>
                      <a:pt x="223753" y="16916"/>
                      <a:pt x="225908" y="19103"/>
                    </a:cubicBezTo>
                    <a:cubicBezTo>
                      <a:pt x="228062" y="21290"/>
                      <a:pt x="228062" y="23476"/>
                      <a:pt x="225908" y="25663"/>
                    </a:cubicBezTo>
                    <a:cubicBezTo>
                      <a:pt x="225908" y="25663"/>
                      <a:pt x="225908" y="25663"/>
                      <a:pt x="25542" y="229042"/>
                    </a:cubicBezTo>
                    <a:cubicBezTo>
                      <a:pt x="23387" y="231229"/>
                      <a:pt x="21233" y="231229"/>
                      <a:pt x="19078" y="229042"/>
                    </a:cubicBezTo>
                    <a:cubicBezTo>
                      <a:pt x="16924" y="226855"/>
                      <a:pt x="16924" y="224669"/>
                      <a:pt x="19078" y="222482"/>
                    </a:cubicBezTo>
                    <a:cubicBezTo>
                      <a:pt x="19078" y="222482"/>
                      <a:pt x="19078" y="222482"/>
                      <a:pt x="219444" y="19103"/>
                    </a:cubicBezTo>
                    <a:close/>
                    <a:moveTo>
                      <a:pt x="400400" y="11154"/>
                    </a:moveTo>
                    <a:cubicBezTo>
                      <a:pt x="402559" y="8978"/>
                      <a:pt x="404719" y="8978"/>
                      <a:pt x="406878" y="11154"/>
                    </a:cubicBezTo>
                    <a:cubicBezTo>
                      <a:pt x="409037" y="13331"/>
                      <a:pt x="409037" y="15507"/>
                      <a:pt x="406878" y="17684"/>
                    </a:cubicBezTo>
                    <a:cubicBezTo>
                      <a:pt x="406878" y="17684"/>
                      <a:pt x="406878" y="17684"/>
                      <a:pt x="16036" y="411615"/>
                    </a:cubicBezTo>
                    <a:cubicBezTo>
                      <a:pt x="13877" y="413791"/>
                      <a:pt x="11717" y="413791"/>
                      <a:pt x="9558" y="411615"/>
                    </a:cubicBezTo>
                    <a:cubicBezTo>
                      <a:pt x="7399" y="409438"/>
                      <a:pt x="7399" y="407262"/>
                      <a:pt x="9558" y="405085"/>
                    </a:cubicBezTo>
                    <a:cubicBezTo>
                      <a:pt x="9558" y="405085"/>
                      <a:pt x="9558" y="405085"/>
                      <a:pt x="400400" y="11154"/>
                    </a:cubicBezTo>
                    <a:close/>
                    <a:moveTo>
                      <a:pt x="274488" y="6397"/>
                    </a:moveTo>
                    <a:cubicBezTo>
                      <a:pt x="276632" y="4216"/>
                      <a:pt x="280922" y="4216"/>
                      <a:pt x="283067" y="6397"/>
                    </a:cubicBezTo>
                    <a:cubicBezTo>
                      <a:pt x="285212" y="6397"/>
                      <a:pt x="285212" y="10760"/>
                      <a:pt x="283067" y="12941"/>
                    </a:cubicBezTo>
                    <a:cubicBezTo>
                      <a:pt x="283067" y="12941"/>
                      <a:pt x="283067" y="12941"/>
                      <a:pt x="12804" y="287785"/>
                    </a:cubicBezTo>
                    <a:cubicBezTo>
                      <a:pt x="10659" y="289966"/>
                      <a:pt x="6369" y="289966"/>
                      <a:pt x="6369" y="287785"/>
                    </a:cubicBezTo>
                    <a:cubicBezTo>
                      <a:pt x="4224" y="285604"/>
                      <a:pt x="4224" y="281241"/>
                      <a:pt x="6369" y="279060"/>
                    </a:cubicBezTo>
                    <a:cubicBezTo>
                      <a:pt x="6369" y="279060"/>
                      <a:pt x="6369" y="279060"/>
                      <a:pt x="274488" y="6397"/>
                    </a:cubicBezTo>
                    <a:close/>
                    <a:moveTo>
                      <a:pt x="363885" y="4806"/>
                    </a:moveTo>
                    <a:cubicBezTo>
                      <a:pt x="366045" y="2628"/>
                      <a:pt x="368205" y="2628"/>
                      <a:pt x="370364" y="4806"/>
                    </a:cubicBezTo>
                    <a:cubicBezTo>
                      <a:pt x="372524" y="6984"/>
                      <a:pt x="372524" y="9162"/>
                      <a:pt x="370364" y="11341"/>
                    </a:cubicBezTo>
                    <a:cubicBezTo>
                      <a:pt x="370364" y="11341"/>
                      <a:pt x="370364" y="11341"/>
                      <a:pt x="9688" y="375100"/>
                    </a:cubicBezTo>
                    <a:cubicBezTo>
                      <a:pt x="7528" y="377278"/>
                      <a:pt x="5368" y="377278"/>
                      <a:pt x="3208" y="375100"/>
                    </a:cubicBezTo>
                    <a:cubicBezTo>
                      <a:pt x="1049" y="372922"/>
                      <a:pt x="1049" y="370744"/>
                      <a:pt x="3208" y="368565"/>
                    </a:cubicBezTo>
                    <a:cubicBezTo>
                      <a:pt x="3208" y="368565"/>
                      <a:pt x="3208" y="368565"/>
                      <a:pt x="363885"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chemeClr val="bg2">
                  <a:lumMod val="85000"/>
                </a:schemeClr>
              </a:solidFill>
              <a:ln>
                <a:noFill/>
              </a:ln>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43" name="Oval 42">
                <a:extLst>
                  <a:ext uri="{FF2B5EF4-FFF2-40B4-BE49-F238E27FC236}">
                    <a16:creationId xmlns:a16="http://schemas.microsoft.com/office/drawing/2014/main" id="{F1BCC455-AE2B-3142-9EC6-1111A3297381}"/>
                  </a:ext>
                </a:extLst>
              </p:cNvPr>
              <p:cNvSpPr/>
              <p:nvPr/>
            </p:nvSpPr>
            <p:spPr>
              <a:xfrm>
                <a:off x="1667473" y="1736204"/>
                <a:ext cx="1306650" cy="130665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44" name="Picture 43" descr="A picture containing lamp, light&#10;&#10;Description automatically generated">
                <a:extLst>
                  <a:ext uri="{FF2B5EF4-FFF2-40B4-BE49-F238E27FC236}">
                    <a16:creationId xmlns:a16="http://schemas.microsoft.com/office/drawing/2014/main" id="{709639C6-14C4-304B-8359-EA19156707EE}"/>
                  </a:ext>
                </a:extLst>
              </p:cNvPr>
              <p:cNvPicPr>
                <a:picLocks noChangeAspect="1"/>
              </p:cNvPicPr>
              <p:nvPr/>
            </p:nvPicPr>
            <p:blipFill>
              <a:blip r:embed="rId3">
                <a:grayscl/>
              </a:blip>
              <a:stretch>
                <a:fillRect/>
              </a:stretch>
            </p:blipFill>
            <p:spPr>
              <a:xfrm>
                <a:off x="2894742" y="1666343"/>
                <a:ext cx="586738" cy="586738"/>
              </a:xfrm>
              <a:prstGeom prst="rect">
                <a:avLst/>
              </a:prstGeom>
            </p:spPr>
          </p:pic>
          <p:grpSp>
            <p:nvGrpSpPr>
              <p:cNvPr id="45" name="Group 44">
                <a:extLst>
                  <a:ext uri="{FF2B5EF4-FFF2-40B4-BE49-F238E27FC236}">
                    <a16:creationId xmlns:a16="http://schemas.microsoft.com/office/drawing/2014/main" id="{5686FA4C-5A0C-824B-936B-54F80F53E600}"/>
                  </a:ext>
                </a:extLst>
              </p:cNvPr>
              <p:cNvGrpSpPr/>
              <p:nvPr/>
            </p:nvGrpSpPr>
            <p:grpSpPr>
              <a:xfrm>
                <a:off x="1667473" y="1879957"/>
                <a:ext cx="1883645" cy="1186422"/>
                <a:chOff x="1667473" y="1879957"/>
                <a:chExt cx="1883645" cy="1186422"/>
              </a:xfrm>
            </p:grpSpPr>
            <p:pic>
              <p:nvPicPr>
                <p:cNvPr id="69" name="Picture 68" descr="A picture containing animal, shellfish, black, white&#10;&#10;Description automatically generated">
                  <a:extLst>
                    <a:ext uri="{FF2B5EF4-FFF2-40B4-BE49-F238E27FC236}">
                      <a16:creationId xmlns:a16="http://schemas.microsoft.com/office/drawing/2014/main" id="{80A89503-20A9-1F46-AF83-AA754392842F}"/>
                    </a:ext>
                  </a:extLst>
                </p:cNvPr>
                <p:cNvPicPr>
                  <a:picLocks noChangeAspect="1"/>
                </p:cNvPicPr>
                <p:nvPr/>
              </p:nvPicPr>
              <p:blipFill rotWithShape="1">
                <a:blip r:embed="rId4">
                  <a:extLst>
                    <a:ext uri="{28A0092B-C50C-407E-A947-70E740481C1C}">
                      <a14:useLocalDpi xmlns:a14="http://schemas.microsoft.com/office/drawing/2010/main" val="0"/>
                    </a:ext>
                  </a:extLst>
                </a:blip>
                <a:srcRect l="65579" r="-1"/>
                <a:stretch/>
              </p:blipFill>
              <p:spPr>
                <a:xfrm>
                  <a:off x="2825105" y="1879957"/>
                  <a:ext cx="726013" cy="1186422"/>
                </a:xfrm>
                <a:custGeom>
                  <a:avLst/>
                  <a:gdLst>
                    <a:gd name="connsiteX0" fmla="*/ 9845 w 2701521"/>
                    <a:gd name="connsiteY0" fmla="*/ 0 h 1568036"/>
                    <a:gd name="connsiteX1" fmla="*/ 2701521 w 2701521"/>
                    <a:gd name="connsiteY1" fmla="*/ 0 h 1568036"/>
                    <a:gd name="connsiteX2" fmla="*/ 2701521 w 2701521"/>
                    <a:gd name="connsiteY2" fmla="*/ 1554551 h 1568036"/>
                    <a:gd name="connsiteX3" fmla="*/ 2683487 w 2701521"/>
                    <a:gd name="connsiteY3" fmla="*/ 1568036 h 1568036"/>
                    <a:gd name="connsiteX4" fmla="*/ 718679 w 2701521"/>
                    <a:gd name="connsiteY4" fmla="*/ 1568036 h 1568036"/>
                    <a:gd name="connsiteX5" fmla="*/ 619036 w 2701521"/>
                    <a:gd name="connsiteY5" fmla="*/ 1493524 h 1568036"/>
                    <a:gd name="connsiteX6" fmla="*/ 0 w 2701521"/>
                    <a:gd name="connsiteY6" fmla="*/ 180886 h 1568036"/>
                    <a:gd name="connsiteX7" fmla="*/ 8783 w 2701521"/>
                    <a:gd name="connsiteY7" fmla="*/ 6960 h 1568036"/>
                    <a:gd name="connsiteX8" fmla="*/ 9845 w 2701521"/>
                    <a:gd name="connsiteY8" fmla="*/ 0 h 156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1521" h="1568036">
                      <a:moveTo>
                        <a:pt x="9845" y="0"/>
                      </a:moveTo>
                      <a:lnTo>
                        <a:pt x="2701521" y="0"/>
                      </a:lnTo>
                      <a:lnTo>
                        <a:pt x="2701521" y="1554551"/>
                      </a:lnTo>
                      <a:lnTo>
                        <a:pt x="2683487" y="1568036"/>
                      </a:lnTo>
                      <a:lnTo>
                        <a:pt x="718679" y="1568036"/>
                      </a:lnTo>
                      <a:lnTo>
                        <a:pt x="619036" y="1493524"/>
                      </a:lnTo>
                      <a:cubicBezTo>
                        <a:pt x="240975" y="1181521"/>
                        <a:pt x="0" y="709345"/>
                        <a:pt x="0" y="180886"/>
                      </a:cubicBezTo>
                      <a:cubicBezTo>
                        <a:pt x="0" y="122168"/>
                        <a:pt x="2975" y="64146"/>
                        <a:pt x="8783" y="6960"/>
                      </a:cubicBezTo>
                      <a:lnTo>
                        <a:pt x="9845" y="0"/>
                      </a:lnTo>
                      <a:close/>
                    </a:path>
                  </a:pathLst>
                </a:custGeom>
              </p:spPr>
            </p:pic>
            <p:pic>
              <p:nvPicPr>
                <p:cNvPr id="70" name="Picture 69" descr="A picture containing animal, shellfish, black, white&#10;&#10;Description automatically generated">
                  <a:extLst>
                    <a:ext uri="{FF2B5EF4-FFF2-40B4-BE49-F238E27FC236}">
                      <a16:creationId xmlns:a16="http://schemas.microsoft.com/office/drawing/2014/main" id="{143E4D6C-4C84-9942-A2B6-B612583EA07D}"/>
                    </a:ext>
                  </a:extLst>
                </p:cNvPr>
                <p:cNvPicPr>
                  <a:picLocks noChangeAspect="1"/>
                </p:cNvPicPr>
                <p:nvPr/>
              </p:nvPicPr>
              <p:blipFill>
                <a:blip r:embed="rId4">
                  <a:extLst>
                    <a:ext uri="{28A0092B-C50C-407E-A947-70E740481C1C}">
                      <a14:useLocalDpi xmlns:a14="http://schemas.microsoft.com/office/drawing/2010/main" val="0"/>
                    </a:ext>
                  </a:extLst>
                </a:blip>
                <a:srcRect l="10694" r="27356" b="1983"/>
                <a:stretch>
                  <a:fillRect/>
                </a:stretch>
              </p:blipFill>
              <p:spPr>
                <a:xfrm>
                  <a:off x="1667473" y="1879958"/>
                  <a:ext cx="1306650" cy="1162897"/>
                </a:xfrm>
                <a:custGeom>
                  <a:avLst/>
                  <a:gdLst>
                    <a:gd name="connsiteX0" fmla="*/ 249049 w 1306650"/>
                    <a:gd name="connsiteY0" fmla="*/ 0 h 1162897"/>
                    <a:gd name="connsiteX1" fmla="*/ 1057601 w 1306650"/>
                    <a:gd name="connsiteY1" fmla="*/ 0 h 1162897"/>
                    <a:gd name="connsiteX2" fmla="*/ 1115295 w 1306650"/>
                    <a:gd name="connsiteY2" fmla="*/ 47602 h 1162897"/>
                    <a:gd name="connsiteX3" fmla="*/ 1306650 w 1306650"/>
                    <a:gd name="connsiteY3" fmla="*/ 509572 h 1162897"/>
                    <a:gd name="connsiteX4" fmla="*/ 653325 w 1306650"/>
                    <a:gd name="connsiteY4" fmla="*/ 1162897 h 1162897"/>
                    <a:gd name="connsiteX5" fmla="*/ 0 w 1306650"/>
                    <a:gd name="connsiteY5" fmla="*/ 509572 h 1162897"/>
                    <a:gd name="connsiteX6" fmla="*/ 191355 w 1306650"/>
                    <a:gd name="connsiteY6" fmla="*/ 47602 h 1162897"/>
                    <a:gd name="connsiteX7" fmla="*/ 249049 w 1306650"/>
                    <a:gd name="connsiteY7" fmla="*/ 0 h 1162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6650" h="1162897">
                      <a:moveTo>
                        <a:pt x="249049" y="0"/>
                      </a:moveTo>
                      <a:lnTo>
                        <a:pt x="1057601" y="0"/>
                      </a:lnTo>
                      <a:lnTo>
                        <a:pt x="1115295" y="47602"/>
                      </a:lnTo>
                      <a:cubicBezTo>
                        <a:pt x="1233524" y="165830"/>
                        <a:pt x="1306650" y="329162"/>
                        <a:pt x="1306650" y="509572"/>
                      </a:cubicBezTo>
                      <a:cubicBezTo>
                        <a:pt x="1306650" y="870393"/>
                        <a:pt x="1014146" y="1162897"/>
                        <a:pt x="653325" y="1162897"/>
                      </a:cubicBezTo>
                      <a:cubicBezTo>
                        <a:pt x="292504" y="1162897"/>
                        <a:pt x="0" y="870393"/>
                        <a:pt x="0" y="509572"/>
                      </a:cubicBezTo>
                      <a:cubicBezTo>
                        <a:pt x="0" y="329162"/>
                        <a:pt x="73126" y="165830"/>
                        <a:pt x="191355" y="47602"/>
                      </a:cubicBezTo>
                      <a:lnTo>
                        <a:pt x="249049" y="0"/>
                      </a:lnTo>
                      <a:close/>
                    </a:path>
                  </a:pathLst>
                </a:custGeom>
              </p:spPr>
            </p:pic>
          </p:grpSp>
          <p:sp>
            <p:nvSpPr>
              <p:cNvPr id="46" name="Freeform 202">
                <a:extLst>
                  <a:ext uri="{FF2B5EF4-FFF2-40B4-BE49-F238E27FC236}">
                    <a16:creationId xmlns:a16="http://schemas.microsoft.com/office/drawing/2014/main" id="{5A0FEBC8-BD8A-C248-A175-0CBF5D89104C}"/>
                  </a:ext>
                </a:extLst>
              </p:cNvPr>
              <p:cNvSpPr>
                <a:spLocks noEditPoints="1"/>
              </p:cNvSpPr>
              <p:nvPr/>
            </p:nvSpPr>
            <p:spPr bwMode="auto">
              <a:xfrm rot="5400000">
                <a:off x="2611201" y="1825146"/>
                <a:ext cx="276294" cy="326807"/>
              </a:xfrm>
              <a:custGeom>
                <a:avLst/>
                <a:gdLst>
                  <a:gd name="T0" fmla="*/ 21 w 266"/>
                  <a:gd name="T1" fmla="*/ 311 h 311"/>
                  <a:gd name="T2" fmla="*/ 11 w 266"/>
                  <a:gd name="T3" fmla="*/ 308 h 311"/>
                  <a:gd name="T4" fmla="*/ 0 w 266"/>
                  <a:gd name="T5" fmla="*/ 289 h 311"/>
                  <a:gd name="T6" fmla="*/ 0 w 266"/>
                  <a:gd name="T7" fmla="*/ 23 h 311"/>
                  <a:gd name="T8" fmla="*/ 11 w 266"/>
                  <a:gd name="T9" fmla="*/ 4 h 311"/>
                  <a:gd name="T10" fmla="*/ 32 w 266"/>
                  <a:gd name="T11" fmla="*/ 4 h 311"/>
                  <a:gd name="T12" fmla="*/ 256 w 266"/>
                  <a:gd name="T13" fmla="*/ 138 h 311"/>
                  <a:gd name="T14" fmla="*/ 266 w 266"/>
                  <a:gd name="T15" fmla="*/ 156 h 311"/>
                  <a:gd name="T16" fmla="*/ 256 w 266"/>
                  <a:gd name="T17" fmla="*/ 174 h 311"/>
                  <a:gd name="T18" fmla="*/ 32 w 266"/>
                  <a:gd name="T19" fmla="*/ 308 h 311"/>
                  <a:gd name="T20" fmla="*/ 21 w 266"/>
                  <a:gd name="T21" fmla="*/ 311 h 311"/>
                  <a:gd name="T22" fmla="*/ 21 w 266"/>
                  <a:gd name="T23" fmla="*/ 13 h 311"/>
                  <a:gd name="T24" fmla="*/ 17 w 266"/>
                  <a:gd name="T25" fmla="*/ 14 h 311"/>
                  <a:gd name="T26" fmla="*/ 12 w 266"/>
                  <a:gd name="T27" fmla="*/ 23 h 311"/>
                  <a:gd name="T28" fmla="*/ 12 w 266"/>
                  <a:gd name="T29" fmla="*/ 289 h 311"/>
                  <a:gd name="T30" fmla="*/ 17 w 266"/>
                  <a:gd name="T31" fmla="*/ 298 h 311"/>
                  <a:gd name="T32" fmla="*/ 26 w 266"/>
                  <a:gd name="T33" fmla="*/ 297 h 311"/>
                  <a:gd name="T34" fmla="*/ 250 w 266"/>
                  <a:gd name="T35" fmla="*/ 164 h 311"/>
                  <a:gd name="T36" fmla="*/ 254 w 266"/>
                  <a:gd name="T37" fmla="*/ 156 h 311"/>
                  <a:gd name="T38" fmla="*/ 250 w 266"/>
                  <a:gd name="T39" fmla="*/ 148 h 311"/>
                  <a:gd name="T40" fmla="*/ 250 w 266"/>
                  <a:gd name="T41" fmla="*/ 148 h 311"/>
                  <a:gd name="T42" fmla="*/ 26 w 266"/>
                  <a:gd name="T43" fmla="*/ 15 h 311"/>
                  <a:gd name="T44" fmla="*/ 21 w 266"/>
                  <a:gd name="T45" fmla="*/ 13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6" h="311">
                    <a:moveTo>
                      <a:pt x="21" y="311"/>
                    </a:moveTo>
                    <a:cubicBezTo>
                      <a:pt x="18" y="311"/>
                      <a:pt x="14" y="310"/>
                      <a:pt x="11" y="308"/>
                    </a:cubicBezTo>
                    <a:cubicBezTo>
                      <a:pt x="4" y="304"/>
                      <a:pt x="0" y="297"/>
                      <a:pt x="0" y="289"/>
                    </a:cubicBezTo>
                    <a:cubicBezTo>
                      <a:pt x="0" y="23"/>
                      <a:pt x="0" y="23"/>
                      <a:pt x="0" y="23"/>
                    </a:cubicBezTo>
                    <a:cubicBezTo>
                      <a:pt x="0" y="15"/>
                      <a:pt x="4" y="8"/>
                      <a:pt x="11" y="4"/>
                    </a:cubicBezTo>
                    <a:cubicBezTo>
                      <a:pt x="17" y="0"/>
                      <a:pt x="25" y="0"/>
                      <a:pt x="32" y="4"/>
                    </a:cubicBezTo>
                    <a:cubicBezTo>
                      <a:pt x="256" y="138"/>
                      <a:pt x="256" y="138"/>
                      <a:pt x="256" y="138"/>
                    </a:cubicBezTo>
                    <a:cubicBezTo>
                      <a:pt x="262" y="142"/>
                      <a:pt x="266" y="148"/>
                      <a:pt x="266" y="156"/>
                    </a:cubicBezTo>
                    <a:cubicBezTo>
                      <a:pt x="266" y="164"/>
                      <a:pt x="262" y="170"/>
                      <a:pt x="256" y="174"/>
                    </a:cubicBezTo>
                    <a:cubicBezTo>
                      <a:pt x="32" y="308"/>
                      <a:pt x="32" y="308"/>
                      <a:pt x="32" y="308"/>
                    </a:cubicBezTo>
                    <a:cubicBezTo>
                      <a:pt x="29" y="310"/>
                      <a:pt x="25" y="311"/>
                      <a:pt x="21" y="311"/>
                    </a:cubicBezTo>
                    <a:close/>
                    <a:moveTo>
                      <a:pt x="21" y="13"/>
                    </a:moveTo>
                    <a:cubicBezTo>
                      <a:pt x="20" y="13"/>
                      <a:pt x="18" y="14"/>
                      <a:pt x="17" y="14"/>
                    </a:cubicBezTo>
                    <a:cubicBezTo>
                      <a:pt x="14" y="16"/>
                      <a:pt x="12" y="19"/>
                      <a:pt x="12" y="23"/>
                    </a:cubicBezTo>
                    <a:cubicBezTo>
                      <a:pt x="12" y="289"/>
                      <a:pt x="12" y="289"/>
                      <a:pt x="12" y="289"/>
                    </a:cubicBezTo>
                    <a:cubicBezTo>
                      <a:pt x="12" y="293"/>
                      <a:pt x="14" y="296"/>
                      <a:pt x="17" y="298"/>
                    </a:cubicBezTo>
                    <a:cubicBezTo>
                      <a:pt x="20" y="299"/>
                      <a:pt x="23" y="299"/>
                      <a:pt x="26" y="297"/>
                    </a:cubicBezTo>
                    <a:cubicBezTo>
                      <a:pt x="250" y="164"/>
                      <a:pt x="250" y="164"/>
                      <a:pt x="250" y="164"/>
                    </a:cubicBezTo>
                    <a:cubicBezTo>
                      <a:pt x="252" y="162"/>
                      <a:pt x="254" y="159"/>
                      <a:pt x="254" y="156"/>
                    </a:cubicBezTo>
                    <a:cubicBezTo>
                      <a:pt x="254" y="153"/>
                      <a:pt x="252" y="150"/>
                      <a:pt x="250" y="148"/>
                    </a:cubicBezTo>
                    <a:cubicBezTo>
                      <a:pt x="250" y="148"/>
                      <a:pt x="250" y="148"/>
                      <a:pt x="250" y="148"/>
                    </a:cubicBezTo>
                    <a:cubicBezTo>
                      <a:pt x="26" y="15"/>
                      <a:pt x="26" y="15"/>
                      <a:pt x="26" y="15"/>
                    </a:cubicBezTo>
                    <a:cubicBezTo>
                      <a:pt x="25" y="14"/>
                      <a:pt x="23" y="13"/>
                      <a:pt x="21" y="13"/>
                    </a:cubicBezTo>
                    <a:close/>
                  </a:path>
                </a:pathLst>
              </a:custGeom>
              <a:solidFill>
                <a:srgbClr val="6CBD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47" name="Isosceles Triangle 22">
                <a:extLst>
                  <a:ext uri="{FF2B5EF4-FFF2-40B4-BE49-F238E27FC236}">
                    <a16:creationId xmlns:a16="http://schemas.microsoft.com/office/drawing/2014/main" id="{9BFEF018-9621-734D-99FB-659A3705A8EE}"/>
                  </a:ext>
                </a:extLst>
              </p:cNvPr>
              <p:cNvSpPr/>
              <p:nvPr/>
            </p:nvSpPr>
            <p:spPr>
              <a:xfrm flipV="1">
                <a:off x="2622656" y="1673005"/>
                <a:ext cx="260070" cy="230314"/>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accent1"/>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8" name="Isosceles Triangle 22">
                <a:extLst>
                  <a:ext uri="{FF2B5EF4-FFF2-40B4-BE49-F238E27FC236}">
                    <a16:creationId xmlns:a16="http://schemas.microsoft.com/office/drawing/2014/main" id="{F0CD32B8-82B6-9747-8B84-C79E08B324FA}"/>
                  </a:ext>
                </a:extLst>
              </p:cNvPr>
              <p:cNvSpPr/>
              <p:nvPr/>
            </p:nvSpPr>
            <p:spPr>
              <a:xfrm flipV="1">
                <a:off x="2622656" y="1515353"/>
                <a:ext cx="260070" cy="230314"/>
              </a:xfrm>
              <a:custGeom>
                <a:avLst/>
                <a:gdLst>
                  <a:gd name="connsiteX0" fmla="*/ 0 w 857250"/>
                  <a:gd name="connsiteY0" fmla="*/ 739009 h 739009"/>
                  <a:gd name="connsiteX1" fmla="*/ 428625 w 857250"/>
                  <a:gd name="connsiteY1" fmla="*/ 0 h 739009"/>
                  <a:gd name="connsiteX2" fmla="*/ 857250 w 857250"/>
                  <a:gd name="connsiteY2" fmla="*/ 739009 h 739009"/>
                  <a:gd name="connsiteX3" fmla="*/ 0 w 857250"/>
                  <a:gd name="connsiteY3" fmla="*/ 739009 h 739009"/>
                  <a:gd name="connsiteX0" fmla="*/ 0 w 857250"/>
                  <a:gd name="connsiteY0" fmla="*/ 739009 h 739009"/>
                  <a:gd name="connsiteX1" fmla="*/ 428625 w 857250"/>
                  <a:gd name="connsiteY1" fmla="*/ 0 h 739009"/>
                  <a:gd name="connsiteX2" fmla="*/ 490538 w 857250"/>
                  <a:gd name="connsiteY2" fmla="*/ 104775 h 739009"/>
                  <a:gd name="connsiteX3" fmla="*/ 857250 w 857250"/>
                  <a:gd name="connsiteY3" fmla="*/ 739009 h 739009"/>
                  <a:gd name="connsiteX4" fmla="*/ 0 w 857250"/>
                  <a:gd name="connsiteY4" fmla="*/ 739009 h 739009"/>
                  <a:gd name="connsiteX0" fmla="*/ 0 w 857250"/>
                  <a:gd name="connsiteY0" fmla="*/ 739009 h 739009"/>
                  <a:gd name="connsiteX1" fmla="*/ 369094 w 857250"/>
                  <a:gd name="connsiteY1" fmla="*/ 104775 h 739009"/>
                  <a:gd name="connsiteX2" fmla="*/ 428625 w 857250"/>
                  <a:gd name="connsiteY2" fmla="*/ 0 h 739009"/>
                  <a:gd name="connsiteX3" fmla="*/ 490538 w 857250"/>
                  <a:gd name="connsiteY3" fmla="*/ 104775 h 739009"/>
                  <a:gd name="connsiteX4" fmla="*/ 857250 w 857250"/>
                  <a:gd name="connsiteY4" fmla="*/ 739009 h 739009"/>
                  <a:gd name="connsiteX5" fmla="*/ 0 w 857250"/>
                  <a:gd name="connsiteY5" fmla="*/ 739009 h 739009"/>
                  <a:gd name="connsiteX0" fmla="*/ 0 w 857250"/>
                  <a:gd name="connsiteY0" fmla="*/ 739009 h 739009"/>
                  <a:gd name="connsiteX1" fmla="*/ 61913 w 857250"/>
                  <a:gd name="connsiteY1" fmla="*/ 633412 h 739009"/>
                  <a:gd name="connsiteX2" fmla="*/ 369094 w 857250"/>
                  <a:gd name="connsiteY2" fmla="*/ 104775 h 739009"/>
                  <a:gd name="connsiteX3" fmla="*/ 428625 w 857250"/>
                  <a:gd name="connsiteY3" fmla="*/ 0 h 739009"/>
                  <a:gd name="connsiteX4" fmla="*/ 490538 w 857250"/>
                  <a:gd name="connsiteY4" fmla="*/ 104775 h 739009"/>
                  <a:gd name="connsiteX5" fmla="*/ 857250 w 857250"/>
                  <a:gd name="connsiteY5" fmla="*/ 739009 h 739009"/>
                  <a:gd name="connsiteX6" fmla="*/ 0 w 857250"/>
                  <a:gd name="connsiteY6" fmla="*/ 739009 h 739009"/>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857250 w 857250"/>
                  <a:gd name="connsiteY5" fmla="*/ 739009 h 740568"/>
                  <a:gd name="connsiteX6" fmla="*/ 114300 w 857250"/>
                  <a:gd name="connsiteY6" fmla="*/ 740568 h 740568"/>
                  <a:gd name="connsiteX7" fmla="*/ 0 w 857250"/>
                  <a:gd name="connsiteY7"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114300 w 857250"/>
                  <a:gd name="connsiteY7" fmla="*/ 740568 h 740568"/>
                  <a:gd name="connsiteX8" fmla="*/ 0 w 857250"/>
                  <a:gd name="connsiteY8" fmla="*/ 739009 h 740568"/>
                  <a:gd name="connsiteX0" fmla="*/ 0 w 857250"/>
                  <a:gd name="connsiteY0" fmla="*/ 739009 h 740568"/>
                  <a:gd name="connsiteX1" fmla="*/ 61913 w 857250"/>
                  <a:gd name="connsiteY1" fmla="*/ 633412 h 740568"/>
                  <a:gd name="connsiteX2" fmla="*/ 369094 w 857250"/>
                  <a:gd name="connsiteY2" fmla="*/ 104775 h 740568"/>
                  <a:gd name="connsiteX3" fmla="*/ 428625 w 857250"/>
                  <a:gd name="connsiteY3" fmla="*/ 0 h 740568"/>
                  <a:gd name="connsiteX4" fmla="*/ 490538 w 857250"/>
                  <a:gd name="connsiteY4" fmla="*/ 104775 h 740568"/>
                  <a:gd name="connsiteX5" fmla="*/ 797719 w 857250"/>
                  <a:gd name="connsiteY5" fmla="*/ 638174 h 740568"/>
                  <a:gd name="connsiteX6" fmla="*/ 857250 w 857250"/>
                  <a:gd name="connsiteY6" fmla="*/ 739009 h 740568"/>
                  <a:gd name="connsiteX7" fmla="*/ 750094 w 857250"/>
                  <a:gd name="connsiteY7" fmla="*/ 738186 h 740568"/>
                  <a:gd name="connsiteX8" fmla="*/ 114300 w 857250"/>
                  <a:gd name="connsiteY8" fmla="*/ 740568 h 740568"/>
                  <a:gd name="connsiteX9" fmla="*/ 0 w 857250"/>
                  <a:gd name="connsiteY9" fmla="*/ 739009 h 740568"/>
                  <a:gd name="connsiteX0" fmla="*/ 0 w 797719"/>
                  <a:gd name="connsiteY0" fmla="*/ 739009 h 740568"/>
                  <a:gd name="connsiteX1" fmla="*/ 61913 w 797719"/>
                  <a:gd name="connsiteY1" fmla="*/ 633412 h 740568"/>
                  <a:gd name="connsiteX2" fmla="*/ 369094 w 797719"/>
                  <a:gd name="connsiteY2" fmla="*/ 104775 h 740568"/>
                  <a:gd name="connsiteX3" fmla="*/ 428625 w 797719"/>
                  <a:gd name="connsiteY3" fmla="*/ 0 h 740568"/>
                  <a:gd name="connsiteX4" fmla="*/ 490538 w 797719"/>
                  <a:gd name="connsiteY4" fmla="*/ 104775 h 740568"/>
                  <a:gd name="connsiteX5" fmla="*/ 797719 w 797719"/>
                  <a:gd name="connsiteY5" fmla="*/ 638174 h 740568"/>
                  <a:gd name="connsiteX6" fmla="*/ 750094 w 797719"/>
                  <a:gd name="connsiteY6" fmla="*/ 738186 h 740568"/>
                  <a:gd name="connsiteX7" fmla="*/ 114300 w 797719"/>
                  <a:gd name="connsiteY7" fmla="*/ 740568 h 740568"/>
                  <a:gd name="connsiteX8" fmla="*/ 0 w 797719"/>
                  <a:gd name="connsiteY8" fmla="*/ 739009 h 740568"/>
                  <a:gd name="connsiteX0" fmla="*/ 0 w 812104"/>
                  <a:gd name="connsiteY0" fmla="*/ 739009 h 740568"/>
                  <a:gd name="connsiteX1" fmla="*/ 61913 w 812104"/>
                  <a:gd name="connsiteY1" fmla="*/ 633412 h 740568"/>
                  <a:gd name="connsiteX2" fmla="*/ 369094 w 812104"/>
                  <a:gd name="connsiteY2" fmla="*/ 104775 h 740568"/>
                  <a:gd name="connsiteX3" fmla="*/ 428625 w 812104"/>
                  <a:gd name="connsiteY3" fmla="*/ 0 h 740568"/>
                  <a:gd name="connsiteX4" fmla="*/ 490538 w 812104"/>
                  <a:gd name="connsiteY4" fmla="*/ 104775 h 740568"/>
                  <a:gd name="connsiteX5" fmla="*/ 797719 w 812104"/>
                  <a:gd name="connsiteY5" fmla="*/ 638174 h 740568"/>
                  <a:gd name="connsiteX6" fmla="*/ 750094 w 812104"/>
                  <a:gd name="connsiteY6" fmla="*/ 738186 h 740568"/>
                  <a:gd name="connsiteX7" fmla="*/ 114300 w 812104"/>
                  <a:gd name="connsiteY7" fmla="*/ 740568 h 740568"/>
                  <a:gd name="connsiteX8" fmla="*/ 0 w 812104"/>
                  <a:gd name="connsiteY8" fmla="*/ 739009 h 740568"/>
                  <a:gd name="connsiteX0" fmla="*/ 0 w 818915"/>
                  <a:gd name="connsiteY0" fmla="*/ 739009 h 740568"/>
                  <a:gd name="connsiteX1" fmla="*/ 61913 w 818915"/>
                  <a:gd name="connsiteY1" fmla="*/ 633412 h 740568"/>
                  <a:gd name="connsiteX2" fmla="*/ 369094 w 818915"/>
                  <a:gd name="connsiteY2" fmla="*/ 104775 h 740568"/>
                  <a:gd name="connsiteX3" fmla="*/ 428625 w 818915"/>
                  <a:gd name="connsiteY3" fmla="*/ 0 h 740568"/>
                  <a:gd name="connsiteX4" fmla="*/ 490538 w 818915"/>
                  <a:gd name="connsiteY4" fmla="*/ 104775 h 740568"/>
                  <a:gd name="connsiteX5" fmla="*/ 797719 w 818915"/>
                  <a:gd name="connsiteY5" fmla="*/ 638174 h 740568"/>
                  <a:gd name="connsiteX6" fmla="*/ 750094 w 818915"/>
                  <a:gd name="connsiteY6" fmla="*/ 738186 h 740568"/>
                  <a:gd name="connsiteX7" fmla="*/ 114300 w 818915"/>
                  <a:gd name="connsiteY7" fmla="*/ 740568 h 740568"/>
                  <a:gd name="connsiteX8" fmla="*/ 0 w 818915"/>
                  <a:gd name="connsiteY8" fmla="*/ 739009 h 740568"/>
                  <a:gd name="connsiteX0" fmla="*/ 52387 w 757002"/>
                  <a:gd name="connsiteY0" fmla="*/ 740568 h 740568"/>
                  <a:gd name="connsiteX1" fmla="*/ 0 w 757002"/>
                  <a:gd name="connsiteY1" fmla="*/ 633412 h 740568"/>
                  <a:gd name="connsiteX2" fmla="*/ 307181 w 757002"/>
                  <a:gd name="connsiteY2" fmla="*/ 104775 h 740568"/>
                  <a:gd name="connsiteX3" fmla="*/ 366712 w 757002"/>
                  <a:gd name="connsiteY3" fmla="*/ 0 h 740568"/>
                  <a:gd name="connsiteX4" fmla="*/ 428625 w 757002"/>
                  <a:gd name="connsiteY4" fmla="*/ 104775 h 740568"/>
                  <a:gd name="connsiteX5" fmla="*/ 735806 w 757002"/>
                  <a:gd name="connsiteY5" fmla="*/ 638174 h 740568"/>
                  <a:gd name="connsiteX6" fmla="*/ 688181 w 757002"/>
                  <a:gd name="connsiteY6" fmla="*/ 738186 h 740568"/>
                  <a:gd name="connsiteX7" fmla="*/ 52387 w 757002"/>
                  <a:gd name="connsiteY7" fmla="*/ 740568 h 740568"/>
                  <a:gd name="connsiteX0" fmla="*/ 61912 w 766527"/>
                  <a:gd name="connsiteY0" fmla="*/ 740568 h 740568"/>
                  <a:gd name="connsiteX1" fmla="*/ 0 w 766527"/>
                  <a:gd name="connsiteY1" fmla="*/ 645318 h 740568"/>
                  <a:gd name="connsiteX2" fmla="*/ 316706 w 766527"/>
                  <a:gd name="connsiteY2" fmla="*/ 104775 h 740568"/>
                  <a:gd name="connsiteX3" fmla="*/ 376237 w 766527"/>
                  <a:gd name="connsiteY3" fmla="*/ 0 h 740568"/>
                  <a:gd name="connsiteX4" fmla="*/ 438150 w 766527"/>
                  <a:gd name="connsiteY4" fmla="*/ 104775 h 740568"/>
                  <a:gd name="connsiteX5" fmla="*/ 745331 w 766527"/>
                  <a:gd name="connsiteY5" fmla="*/ 638174 h 740568"/>
                  <a:gd name="connsiteX6" fmla="*/ 697706 w 766527"/>
                  <a:gd name="connsiteY6" fmla="*/ 738186 h 740568"/>
                  <a:gd name="connsiteX7" fmla="*/ 61912 w 766527"/>
                  <a:gd name="connsiteY7" fmla="*/ 740568 h 740568"/>
                  <a:gd name="connsiteX0" fmla="*/ 71526 w 776141"/>
                  <a:gd name="connsiteY0" fmla="*/ 740568 h 740568"/>
                  <a:gd name="connsiteX1" fmla="*/ 9614 w 776141"/>
                  <a:gd name="connsiteY1" fmla="*/ 645318 h 740568"/>
                  <a:gd name="connsiteX2" fmla="*/ 326320 w 776141"/>
                  <a:gd name="connsiteY2" fmla="*/ 104775 h 740568"/>
                  <a:gd name="connsiteX3" fmla="*/ 385851 w 776141"/>
                  <a:gd name="connsiteY3" fmla="*/ 0 h 740568"/>
                  <a:gd name="connsiteX4" fmla="*/ 447764 w 776141"/>
                  <a:gd name="connsiteY4" fmla="*/ 104775 h 740568"/>
                  <a:gd name="connsiteX5" fmla="*/ 754945 w 776141"/>
                  <a:gd name="connsiteY5" fmla="*/ 638174 h 740568"/>
                  <a:gd name="connsiteX6" fmla="*/ 707320 w 776141"/>
                  <a:gd name="connsiteY6" fmla="*/ 738186 h 740568"/>
                  <a:gd name="connsiteX7" fmla="*/ 71526 w 776141"/>
                  <a:gd name="connsiteY7" fmla="*/ 740568 h 740568"/>
                  <a:gd name="connsiteX0" fmla="*/ 78919 w 783534"/>
                  <a:gd name="connsiteY0" fmla="*/ 740568 h 740614"/>
                  <a:gd name="connsiteX1" fmla="*/ 17007 w 783534"/>
                  <a:gd name="connsiteY1" fmla="*/ 645318 h 740614"/>
                  <a:gd name="connsiteX2" fmla="*/ 333713 w 783534"/>
                  <a:gd name="connsiteY2" fmla="*/ 104775 h 740614"/>
                  <a:gd name="connsiteX3" fmla="*/ 393244 w 783534"/>
                  <a:gd name="connsiteY3" fmla="*/ 0 h 740614"/>
                  <a:gd name="connsiteX4" fmla="*/ 455157 w 783534"/>
                  <a:gd name="connsiteY4" fmla="*/ 104775 h 740614"/>
                  <a:gd name="connsiteX5" fmla="*/ 762338 w 783534"/>
                  <a:gd name="connsiteY5" fmla="*/ 638174 h 740614"/>
                  <a:gd name="connsiteX6" fmla="*/ 714713 w 783534"/>
                  <a:gd name="connsiteY6" fmla="*/ 738186 h 740614"/>
                  <a:gd name="connsiteX7" fmla="*/ 78919 w 783534"/>
                  <a:gd name="connsiteY7" fmla="*/ 740568 h 740614"/>
                  <a:gd name="connsiteX0" fmla="*/ 78919 w 783534"/>
                  <a:gd name="connsiteY0" fmla="*/ 635793 h 635839"/>
                  <a:gd name="connsiteX1" fmla="*/ 17007 w 783534"/>
                  <a:gd name="connsiteY1" fmla="*/ 540543 h 635839"/>
                  <a:gd name="connsiteX2" fmla="*/ 333713 w 783534"/>
                  <a:gd name="connsiteY2" fmla="*/ 0 h 635839"/>
                  <a:gd name="connsiteX3" fmla="*/ 455157 w 783534"/>
                  <a:gd name="connsiteY3" fmla="*/ 0 h 635839"/>
                  <a:gd name="connsiteX4" fmla="*/ 762338 w 783534"/>
                  <a:gd name="connsiteY4" fmla="*/ 533399 h 635839"/>
                  <a:gd name="connsiteX5" fmla="*/ 714713 w 783534"/>
                  <a:gd name="connsiteY5" fmla="*/ 633411 h 635839"/>
                  <a:gd name="connsiteX6" fmla="*/ 78919 w 783534"/>
                  <a:gd name="connsiteY6" fmla="*/ 635793 h 635839"/>
                  <a:gd name="connsiteX0" fmla="*/ 78919 w 783534"/>
                  <a:gd name="connsiteY0" fmla="*/ 667542 h 667588"/>
                  <a:gd name="connsiteX1" fmla="*/ 17007 w 783534"/>
                  <a:gd name="connsiteY1" fmla="*/ 572292 h 667588"/>
                  <a:gd name="connsiteX2" fmla="*/ 333713 w 783534"/>
                  <a:gd name="connsiteY2" fmla="*/ 31749 h 667588"/>
                  <a:gd name="connsiteX3" fmla="*/ 455157 w 783534"/>
                  <a:gd name="connsiteY3" fmla="*/ 31749 h 667588"/>
                  <a:gd name="connsiteX4" fmla="*/ 762338 w 783534"/>
                  <a:gd name="connsiteY4" fmla="*/ 565148 h 667588"/>
                  <a:gd name="connsiteX5" fmla="*/ 714713 w 783534"/>
                  <a:gd name="connsiteY5" fmla="*/ 665160 h 667588"/>
                  <a:gd name="connsiteX6" fmla="*/ 78919 w 783534"/>
                  <a:gd name="connsiteY6" fmla="*/ 667542 h 667588"/>
                  <a:gd name="connsiteX0" fmla="*/ 78919 w 783534"/>
                  <a:gd name="connsiteY0" fmla="*/ 691171 h 691217"/>
                  <a:gd name="connsiteX1" fmla="*/ 17007 w 783534"/>
                  <a:gd name="connsiteY1" fmla="*/ 595921 h 691217"/>
                  <a:gd name="connsiteX2" fmla="*/ 333713 w 783534"/>
                  <a:gd name="connsiteY2" fmla="*/ 55378 h 691217"/>
                  <a:gd name="connsiteX3" fmla="*/ 455157 w 783534"/>
                  <a:gd name="connsiteY3" fmla="*/ 55378 h 691217"/>
                  <a:gd name="connsiteX4" fmla="*/ 762338 w 783534"/>
                  <a:gd name="connsiteY4" fmla="*/ 588777 h 691217"/>
                  <a:gd name="connsiteX5" fmla="*/ 714713 w 783534"/>
                  <a:gd name="connsiteY5" fmla="*/ 688789 h 691217"/>
                  <a:gd name="connsiteX6" fmla="*/ 78919 w 783534"/>
                  <a:gd name="connsiteY6" fmla="*/ 691171 h 691217"/>
                  <a:gd name="connsiteX0" fmla="*/ 78919 w 783534"/>
                  <a:gd name="connsiteY0" fmla="*/ 693838 h 693884"/>
                  <a:gd name="connsiteX1" fmla="*/ 17007 w 783534"/>
                  <a:gd name="connsiteY1" fmla="*/ 598588 h 693884"/>
                  <a:gd name="connsiteX2" fmla="*/ 333713 w 783534"/>
                  <a:gd name="connsiteY2" fmla="*/ 58045 h 693884"/>
                  <a:gd name="connsiteX3" fmla="*/ 455157 w 783534"/>
                  <a:gd name="connsiteY3" fmla="*/ 58045 h 693884"/>
                  <a:gd name="connsiteX4" fmla="*/ 762338 w 783534"/>
                  <a:gd name="connsiteY4" fmla="*/ 591444 h 693884"/>
                  <a:gd name="connsiteX5" fmla="*/ 714713 w 783534"/>
                  <a:gd name="connsiteY5" fmla="*/ 691456 h 693884"/>
                  <a:gd name="connsiteX6" fmla="*/ 78919 w 783534"/>
                  <a:gd name="connsiteY6" fmla="*/ 693838 h 693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534" h="693884">
                    <a:moveTo>
                      <a:pt x="78919" y="693838"/>
                    </a:moveTo>
                    <a:cubicBezTo>
                      <a:pt x="3514" y="695425"/>
                      <a:pt x="-19506" y="656532"/>
                      <a:pt x="17007" y="598588"/>
                    </a:cubicBezTo>
                    <a:lnTo>
                      <a:pt x="333713" y="58045"/>
                    </a:lnTo>
                    <a:cubicBezTo>
                      <a:pt x="374195" y="-20535"/>
                      <a:pt x="417057" y="-18155"/>
                      <a:pt x="455157" y="58045"/>
                    </a:cubicBezTo>
                    <a:lnTo>
                      <a:pt x="762338" y="591444"/>
                    </a:lnTo>
                    <a:cubicBezTo>
                      <a:pt x="808375" y="648593"/>
                      <a:pt x="773450" y="691457"/>
                      <a:pt x="714713" y="691456"/>
                    </a:cubicBezTo>
                    <a:lnTo>
                      <a:pt x="78919" y="693838"/>
                    </a:lnTo>
                    <a:close/>
                  </a:path>
                </a:pathLst>
              </a:custGeom>
              <a:solidFill>
                <a:schemeClr val="tx2"/>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grpSp>
            <p:nvGrpSpPr>
              <p:cNvPr id="49" name="Group 48">
                <a:extLst>
                  <a:ext uri="{FF2B5EF4-FFF2-40B4-BE49-F238E27FC236}">
                    <a16:creationId xmlns:a16="http://schemas.microsoft.com/office/drawing/2014/main" id="{7D898C58-5AD1-EB42-B866-8B69FF32F1E1}"/>
                  </a:ext>
                </a:extLst>
              </p:cNvPr>
              <p:cNvGrpSpPr/>
              <p:nvPr/>
            </p:nvGrpSpPr>
            <p:grpSpPr>
              <a:xfrm rot="2946422">
                <a:off x="1225080" y="2142335"/>
                <a:ext cx="797673" cy="692665"/>
                <a:chOff x="2560638" y="2862263"/>
                <a:chExt cx="1314450" cy="1141412"/>
              </a:xfrm>
            </p:grpSpPr>
            <p:sp>
              <p:nvSpPr>
                <p:cNvPr id="50" name="Oval 189">
                  <a:extLst>
                    <a:ext uri="{FF2B5EF4-FFF2-40B4-BE49-F238E27FC236}">
                      <a16:creationId xmlns:a16="http://schemas.microsoft.com/office/drawing/2014/main" id="{F3AB80B6-2FDF-F343-9C52-D6DF3E011E08}"/>
                    </a:ext>
                  </a:extLst>
                </p:cNvPr>
                <p:cNvSpPr>
                  <a:spLocks noChangeArrowheads="1"/>
                </p:cNvSpPr>
                <p:nvPr/>
              </p:nvSpPr>
              <p:spPr bwMode="auto">
                <a:xfrm>
                  <a:off x="2560638" y="3646488"/>
                  <a:ext cx="73025"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1" name="Oval 190">
                  <a:extLst>
                    <a:ext uri="{FF2B5EF4-FFF2-40B4-BE49-F238E27FC236}">
                      <a16:creationId xmlns:a16="http://schemas.microsoft.com/office/drawing/2014/main" id="{D3B896C9-6B79-B34E-B004-5A5258467697}"/>
                    </a:ext>
                  </a:extLst>
                </p:cNvPr>
                <p:cNvSpPr>
                  <a:spLocks noChangeArrowheads="1"/>
                </p:cNvSpPr>
                <p:nvPr/>
              </p:nvSpPr>
              <p:spPr bwMode="auto">
                <a:xfrm>
                  <a:off x="2781301"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2" name="Oval 191">
                  <a:extLst>
                    <a:ext uri="{FF2B5EF4-FFF2-40B4-BE49-F238E27FC236}">
                      <a16:creationId xmlns:a16="http://schemas.microsoft.com/office/drawing/2014/main" id="{D80C65A0-200D-D948-9AD2-47510A1A2D72}"/>
                    </a:ext>
                  </a:extLst>
                </p:cNvPr>
                <p:cNvSpPr>
                  <a:spLocks noChangeArrowheads="1"/>
                </p:cNvSpPr>
                <p:nvPr/>
              </p:nvSpPr>
              <p:spPr bwMode="auto">
                <a:xfrm>
                  <a:off x="3265488" y="3646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3" name="Oval 192">
                  <a:extLst>
                    <a:ext uri="{FF2B5EF4-FFF2-40B4-BE49-F238E27FC236}">
                      <a16:creationId xmlns:a16="http://schemas.microsoft.com/office/drawing/2014/main" id="{F6DE2F59-8858-224F-9DAB-D469358744B1}"/>
                    </a:ext>
                  </a:extLst>
                </p:cNvPr>
                <p:cNvSpPr>
                  <a:spLocks noChangeArrowheads="1"/>
                </p:cNvSpPr>
                <p:nvPr/>
              </p:nvSpPr>
              <p:spPr bwMode="auto">
                <a:xfrm>
                  <a:off x="3265488" y="3398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4" name="Oval 193">
                  <a:extLst>
                    <a:ext uri="{FF2B5EF4-FFF2-40B4-BE49-F238E27FC236}">
                      <a16:creationId xmlns:a16="http://schemas.microsoft.com/office/drawing/2014/main" id="{DC6EC97E-7626-7541-85A9-E460F5E3FF52}"/>
                    </a:ext>
                  </a:extLst>
                </p:cNvPr>
                <p:cNvSpPr>
                  <a:spLocks noChangeArrowheads="1"/>
                </p:cNvSpPr>
                <p:nvPr/>
              </p:nvSpPr>
              <p:spPr bwMode="auto">
                <a:xfrm>
                  <a:off x="3505201" y="3138488"/>
                  <a:ext cx="74613" cy="77788"/>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5" name="Oval 194">
                  <a:extLst>
                    <a:ext uri="{FF2B5EF4-FFF2-40B4-BE49-F238E27FC236}">
                      <a16:creationId xmlns:a16="http://schemas.microsoft.com/office/drawing/2014/main" id="{B5F23E3D-F798-614C-B1A2-98DAFFECE9D1}"/>
                    </a:ext>
                  </a:extLst>
                </p:cNvPr>
                <p:cNvSpPr>
                  <a:spLocks noChangeArrowheads="1"/>
                </p:cNvSpPr>
                <p:nvPr/>
              </p:nvSpPr>
              <p:spPr bwMode="auto">
                <a:xfrm>
                  <a:off x="3505201" y="289083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6" name="Oval 195">
                  <a:extLst>
                    <a:ext uri="{FF2B5EF4-FFF2-40B4-BE49-F238E27FC236}">
                      <a16:creationId xmlns:a16="http://schemas.microsoft.com/office/drawing/2014/main" id="{F6AC6247-F40D-BC4D-BF02-6912583AD201}"/>
                    </a:ext>
                  </a:extLst>
                </p:cNvPr>
                <p:cNvSpPr>
                  <a:spLocks noChangeArrowheads="1"/>
                </p:cNvSpPr>
                <p:nvPr/>
              </p:nvSpPr>
              <p:spPr bwMode="auto">
                <a:xfrm>
                  <a:off x="3771901" y="3144838"/>
                  <a:ext cx="73025" cy="79375"/>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7" name="Oval 196">
                  <a:extLst>
                    <a:ext uri="{FF2B5EF4-FFF2-40B4-BE49-F238E27FC236}">
                      <a16:creationId xmlns:a16="http://schemas.microsoft.com/office/drawing/2014/main" id="{C0AA31E8-75A9-4744-8737-E7935E5BE101}"/>
                    </a:ext>
                  </a:extLst>
                </p:cNvPr>
                <p:cNvSpPr>
                  <a:spLocks noChangeArrowheads="1"/>
                </p:cNvSpPr>
                <p:nvPr/>
              </p:nvSpPr>
              <p:spPr bwMode="auto">
                <a:xfrm>
                  <a:off x="2560638" y="3900488"/>
                  <a:ext cx="73025"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8" name="Oval 197">
                  <a:extLst>
                    <a:ext uri="{FF2B5EF4-FFF2-40B4-BE49-F238E27FC236}">
                      <a16:creationId xmlns:a16="http://schemas.microsoft.com/office/drawing/2014/main" id="{7C787C5D-F06B-984A-979A-76280FE0ED78}"/>
                    </a:ext>
                  </a:extLst>
                </p:cNvPr>
                <p:cNvSpPr>
                  <a:spLocks noChangeArrowheads="1"/>
                </p:cNvSpPr>
                <p:nvPr/>
              </p:nvSpPr>
              <p:spPr bwMode="auto">
                <a:xfrm>
                  <a:off x="3265488"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59" name="Oval 198">
                  <a:extLst>
                    <a:ext uri="{FF2B5EF4-FFF2-40B4-BE49-F238E27FC236}">
                      <a16:creationId xmlns:a16="http://schemas.microsoft.com/office/drawing/2014/main" id="{F9DA3D19-855B-A340-973D-1F925356A0C7}"/>
                    </a:ext>
                  </a:extLst>
                </p:cNvPr>
                <p:cNvSpPr>
                  <a:spLocks noChangeArrowheads="1"/>
                </p:cNvSpPr>
                <p:nvPr/>
              </p:nvSpPr>
              <p:spPr bwMode="auto">
                <a:xfrm>
                  <a:off x="3505201" y="3900488"/>
                  <a:ext cx="74613" cy="74613"/>
                </a:xfrm>
                <a:prstGeom prst="ellipse">
                  <a:avLst/>
                </a:pr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0" name="Freeform 199">
                  <a:extLst>
                    <a:ext uri="{FF2B5EF4-FFF2-40B4-BE49-F238E27FC236}">
                      <a16:creationId xmlns:a16="http://schemas.microsoft.com/office/drawing/2014/main" id="{E6FFB642-AE7B-5340-9359-77F41E08E9BE}"/>
                    </a:ext>
                  </a:extLst>
                </p:cNvPr>
                <p:cNvSpPr>
                  <a:spLocks noEditPoints="1"/>
                </p:cNvSpPr>
                <p:nvPr/>
              </p:nvSpPr>
              <p:spPr bwMode="auto">
                <a:xfrm>
                  <a:off x="37417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1" name="Freeform 200">
                  <a:extLst>
                    <a:ext uri="{FF2B5EF4-FFF2-40B4-BE49-F238E27FC236}">
                      <a16:creationId xmlns:a16="http://schemas.microsoft.com/office/drawing/2014/main" id="{8949DA77-DC8D-3F46-8A7D-9C9694A2FF2C}"/>
                    </a:ext>
                  </a:extLst>
                </p:cNvPr>
                <p:cNvSpPr>
                  <a:spLocks noEditPoints="1"/>
                </p:cNvSpPr>
                <p:nvPr/>
              </p:nvSpPr>
              <p:spPr bwMode="auto">
                <a:xfrm>
                  <a:off x="3476626"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2" name="Freeform 201">
                  <a:extLst>
                    <a:ext uri="{FF2B5EF4-FFF2-40B4-BE49-F238E27FC236}">
                      <a16:creationId xmlns:a16="http://schemas.microsoft.com/office/drawing/2014/main" id="{D055444C-F0F0-614C-AE1B-8C37F1C77FB3}"/>
                    </a:ext>
                  </a:extLst>
                </p:cNvPr>
                <p:cNvSpPr>
                  <a:spLocks noEditPoints="1"/>
                </p:cNvSpPr>
                <p:nvPr/>
              </p:nvSpPr>
              <p:spPr bwMode="auto">
                <a:xfrm>
                  <a:off x="3476626" y="3368675"/>
                  <a:ext cx="131763"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3" name="Freeform 202">
                  <a:extLst>
                    <a:ext uri="{FF2B5EF4-FFF2-40B4-BE49-F238E27FC236}">
                      <a16:creationId xmlns:a16="http://schemas.microsoft.com/office/drawing/2014/main" id="{7EF12F94-9775-854A-9C6A-FD81534A893B}"/>
                    </a:ext>
                  </a:extLst>
                </p:cNvPr>
                <p:cNvSpPr>
                  <a:spLocks noEditPoints="1"/>
                </p:cNvSpPr>
                <p:nvPr/>
              </p:nvSpPr>
              <p:spPr bwMode="auto">
                <a:xfrm>
                  <a:off x="37417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4" name="Freeform 203">
                  <a:extLst>
                    <a:ext uri="{FF2B5EF4-FFF2-40B4-BE49-F238E27FC236}">
                      <a16:creationId xmlns:a16="http://schemas.microsoft.com/office/drawing/2014/main" id="{8B757C47-062F-B348-B049-BFF858B639CD}"/>
                    </a:ext>
                  </a:extLst>
                </p:cNvPr>
                <p:cNvSpPr>
                  <a:spLocks noEditPoints="1"/>
                </p:cNvSpPr>
                <p:nvPr/>
              </p:nvSpPr>
              <p:spPr bwMode="auto">
                <a:xfrm>
                  <a:off x="2992438"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5" name="Freeform 204">
                  <a:extLst>
                    <a:ext uri="{FF2B5EF4-FFF2-40B4-BE49-F238E27FC236}">
                      <a16:creationId xmlns:a16="http://schemas.microsoft.com/office/drawing/2014/main" id="{6F8090FC-01E3-964C-839A-D503B64AA663}"/>
                    </a:ext>
                  </a:extLst>
                </p:cNvPr>
                <p:cNvSpPr>
                  <a:spLocks noEditPoints="1"/>
                </p:cNvSpPr>
                <p:nvPr/>
              </p:nvSpPr>
              <p:spPr bwMode="auto">
                <a:xfrm>
                  <a:off x="3235326"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6" name="Freeform 205">
                  <a:extLst>
                    <a:ext uri="{FF2B5EF4-FFF2-40B4-BE49-F238E27FC236}">
                      <a16:creationId xmlns:a16="http://schemas.microsoft.com/office/drawing/2014/main" id="{8272C7BB-4BD5-5B4E-8820-4A4CB572E2FB}"/>
                    </a:ext>
                  </a:extLst>
                </p:cNvPr>
                <p:cNvSpPr>
                  <a:spLocks noEditPoints="1"/>
                </p:cNvSpPr>
                <p:nvPr/>
              </p:nvSpPr>
              <p:spPr bwMode="auto">
                <a:xfrm>
                  <a:off x="3235326"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7" name="Freeform 206">
                  <a:extLst>
                    <a:ext uri="{FF2B5EF4-FFF2-40B4-BE49-F238E27FC236}">
                      <a16:creationId xmlns:a16="http://schemas.microsoft.com/office/drawing/2014/main" id="{D22C53F5-0343-3A49-87FF-E684CF0776EB}"/>
                    </a:ext>
                  </a:extLst>
                </p:cNvPr>
                <p:cNvSpPr>
                  <a:spLocks noEditPoints="1"/>
                </p:cNvSpPr>
                <p:nvPr/>
              </p:nvSpPr>
              <p:spPr bwMode="auto">
                <a:xfrm>
                  <a:off x="37417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68" name="Freeform 207">
                  <a:extLst>
                    <a:ext uri="{FF2B5EF4-FFF2-40B4-BE49-F238E27FC236}">
                      <a16:creationId xmlns:a16="http://schemas.microsoft.com/office/drawing/2014/main" id="{B930B941-CAC4-B54C-A3B4-8900F2A0B448}"/>
                    </a:ext>
                  </a:extLst>
                </p:cNvPr>
                <p:cNvSpPr>
                  <a:spLocks noEditPoints="1"/>
                </p:cNvSpPr>
                <p:nvPr/>
              </p:nvSpPr>
              <p:spPr bwMode="auto">
                <a:xfrm>
                  <a:off x="2992438"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grpSp>
      <p:grpSp>
        <p:nvGrpSpPr>
          <p:cNvPr id="6" name="Group 5">
            <a:extLst>
              <a:ext uri="{FF2B5EF4-FFF2-40B4-BE49-F238E27FC236}">
                <a16:creationId xmlns:a16="http://schemas.microsoft.com/office/drawing/2014/main" id="{1B1AE95C-66BD-4642-B066-4712FB05A437}"/>
              </a:ext>
            </a:extLst>
          </p:cNvPr>
          <p:cNvGrpSpPr/>
          <p:nvPr/>
        </p:nvGrpSpPr>
        <p:grpSpPr>
          <a:xfrm>
            <a:off x="5428094" y="1209675"/>
            <a:ext cx="2109444" cy="2109444"/>
            <a:chOff x="5436032" y="1209675"/>
            <a:chExt cx="2109444" cy="2109444"/>
          </a:xfrm>
        </p:grpSpPr>
        <p:sp>
          <p:nvSpPr>
            <p:cNvPr id="71" name="Oval 70">
              <a:extLst>
                <a:ext uri="{FF2B5EF4-FFF2-40B4-BE49-F238E27FC236}">
                  <a16:creationId xmlns:a16="http://schemas.microsoft.com/office/drawing/2014/main" id="{65A685B9-E06C-884E-9FAF-7A6FF8C906A1}"/>
                </a:ext>
              </a:extLst>
            </p:cNvPr>
            <p:cNvSpPr>
              <a:spLocks noChangeAspect="1"/>
            </p:cNvSpPr>
            <p:nvPr/>
          </p:nvSpPr>
          <p:spPr>
            <a:xfrm>
              <a:off x="5436032" y="1209675"/>
              <a:ext cx="2109444" cy="2109444"/>
            </a:xfrm>
            <a:prstGeom prst="ellipse">
              <a:avLst/>
            </a:prstGeom>
            <a:solidFill>
              <a:schemeClr val="tx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25" name="Rectangle 24">
              <a:extLst>
                <a:ext uri="{FF2B5EF4-FFF2-40B4-BE49-F238E27FC236}">
                  <a16:creationId xmlns:a16="http://schemas.microsoft.com/office/drawing/2014/main" id="{98F7F106-8A91-9F4A-AC54-8871D272695B}"/>
                </a:ext>
              </a:extLst>
            </p:cNvPr>
            <p:cNvSpPr/>
            <p:nvPr/>
          </p:nvSpPr>
          <p:spPr>
            <a:xfrm>
              <a:off x="5682901" y="1382993"/>
              <a:ext cx="1615706" cy="65829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iscoSansTT ExtraLight"/>
                  <a:ea typeface="+mn-ea"/>
                  <a:cs typeface="+mn-cs"/>
                </a:rPr>
                <a:t>Security Choice Enterprise Agreement</a:t>
              </a:r>
            </a:p>
          </p:txBody>
        </p:sp>
        <p:grpSp>
          <p:nvGrpSpPr>
            <p:cNvPr id="72" name="Group 71">
              <a:extLst>
                <a:ext uri="{FF2B5EF4-FFF2-40B4-BE49-F238E27FC236}">
                  <a16:creationId xmlns:a16="http://schemas.microsoft.com/office/drawing/2014/main" id="{16BEDDEC-6311-084E-9922-7FAF7934630D}"/>
                </a:ext>
              </a:extLst>
            </p:cNvPr>
            <p:cNvGrpSpPr>
              <a:grpSpLocks noChangeAspect="1"/>
            </p:cNvGrpSpPr>
            <p:nvPr/>
          </p:nvGrpSpPr>
          <p:grpSpPr>
            <a:xfrm>
              <a:off x="5932044" y="1948662"/>
              <a:ext cx="1262190" cy="1086215"/>
              <a:chOff x="8981484" y="1318384"/>
              <a:chExt cx="1868045" cy="1607602"/>
            </a:xfrm>
          </p:grpSpPr>
          <p:pic>
            <p:nvPicPr>
              <p:cNvPr id="73" name="Picture 72" descr="A picture containing clock&#10;&#10;Description automatically generated">
                <a:extLst>
                  <a:ext uri="{FF2B5EF4-FFF2-40B4-BE49-F238E27FC236}">
                    <a16:creationId xmlns:a16="http://schemas.microsoft.com/office/drawing/2014/main" id="{F042CCD7-2FF4-A448-B341-81214D8743C3}"/>
                  </a:ext>
                </a:extLst>
              </p:cNvPr>
              <p:cNvPicPr>
                <a:picLocks noChangeAspect="1"/>
              </p:cNvPicPr>
              <p:nvPr/>
            </p:nvPicPr>
            <p:blipFill>
              <a:blip r:embed="rId5">
                <a:extLst>
                  <a:ext uri="{28A0092B-C50C-407E-A947-70E740481C1C}">
                    <a14:useLocalDpi xmlns:a14="http://schemas.microsoft.com/office/drawing/2010/main" val="0"/>
                  </a:ext>
                </a:extLst>
              </a:blip>
              <a:srcRect l="37261"/>
              <a:stretch>
                <a:fillRect/>
              </a:stretch>
            </p:blipFill>
            <p:spPr>
              <a:xfrm>
                <a:off x="9077093" y="1318384"/>
                <a:ext cx="1772436" cy="1589122"/>
              </a:xfrm>
              <a:custGeom>
                <a:avLst/>
                <a:gdLst>
                  <a:gd name="connsiteX0" fmla="*/ 763686 w 1772436"/>
                  <a:gd name="connsiteY0" fmla="*/ 0 h 1589122"/>
                  <a:gd name="connsiteX1" fmla="*/ 1772436 w 1772436"/>
                  <a:gd name="connsiteY1" fmla="*/ 0 h 1589122"/>
                  <a:gd name="connsiteX2" fmla="*/ 1772436 w 1772436"/>
                  <a:gd name="connsiteY2" fmla="*/ 1589122 h 1589122"/>
                  <a:gd name="connsiteX3" fmla="*/ 0 w 1772436"/>
                  <a:gd name="connsiteY3" fmla="*/ 1589122 h 1589122"/>
                  <a:gd name="connsiteX4" fmla="*/ 0 w 1772436"/>
                  <a:gd name="connsiteY4" fmla="*/ 1366471 h 1589122"/>
                  <a:gd name="connsiteX5" fmla="*/ 245103 w 1772436"/>
                  <a:gd name="connsiteY5" fmla="*/ 970963 h 1589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2436" h="1589122">
                    <a:moveTo>
                      <a:pt x="763686" y="0"/>
                    </a:moveTo>
                    <a:lnTo>
                      <a:pt x="1772436" y="0"/>
                    </a:lnTo>
                    <a:lnTo>
                      <a:pt x="1772436" y="1589122"/>
                    </a:lnTo>
                    <a:lnTo>
                      <a:pt x="0" y="1589122"/>
                    </a:lnTo>
                    <a:lnTo>
                      <a:pt x="0" y="1366471"/>
                    </a:lnTo>
                    <a:lnTo>
                      <a:pt x="245103" y="970963"/>
                    </a:lnTo>
                    <a:close/>
                  </a:path>
                </a:pathLst>
              </a:custGeom>
            </p:spPr>
          </p:pic>
          <p:grpSp>
            <p:nvGrpSpPr>
              <p:cNvPr id="74" name="Group 73">
                <a:extLst>
                  <a:ext uri="{FF2B5EF4-FFF2-40B4-BE49-F238E27FC236}">
                    <a16:creationId xmlns:a16="http://schemas.microsoft.com/office/drawing/2014/main" id="{A1E1908A-B3AE-9142-A24F-9E18C314AC00}"/>
                  </a:ext>
                </a:extLst>
              </p:cNvPr>
              <p:cNvGrpSpPr/>
              <p:nvPr/>
            </p:nvGrpSpPr>
            <p:grpSpPr>
              <a:xfrm>
                <a:off x="8981484" y="1694619"/>
                <a:ext cx="1049205" cy="1231367"/>
                <a:chOff x="8981484" y="1694619"/>
                <a:chExt cx="1049205" cy="1231367"/>
              </a:xfrm>
            </p:grpSpPr>
            <p:grpSp>
              <p:nvGrpSpPr>
                <p:cNvPr id="75" name="Group 74">
                  <a:extLst>
                    <a:ext uri="{FF2B5EF4-FFF2-40B4-BE49-F238E27FC236}">
                      <a16:creationId xmlns:a16="http://schemas.microsoft.com/office/drawing/2014/main" id="{BE617583-7BC2-5D40-9278-99A16C1E8CF6}"/>
                    </a:ext>
                  </a:extLst>
                </p:cNvPr>
                <p:cNvGrpSpPr/>
                <p:nvPr/>
              </p:nvGrpSpPr>
              <p:grpSpPr>
                <a:xfrm>
                  <a:off x="8981484" y="1694619"/>
                  <a:ext cx="812013" cy="819531"/>
                  <a:chOff x="2168526" y="4175125"/>
                  <a:chExt cx="685800" cy="692151"/>
                </a:xfrm>
              </p:grpSpPr>
              <p:sp>
                <p:nvSpPr>
                  <p:cNvPr id="93" name="Freeform 71">
                    <a:extLst>
                      <a:ext uri="{FF2B5EF4-FFF2-40B4-BE49-F238E27FC236}">
                        <a16:creationId xmlns:a16="http://schemas.microsoft.com/office/drawing/2014/main" id="{DCDDF86A-A815-D04C-9534-FAF74EF0DCD6}"/>
                      </a:ext>
                    </a:extLst>
                  </p:cNvPr>
                  <p:cNvSpPr>
                    <a:spLocks/>
                  </p:cNvSpPr>
                  <p:nvPr/>
                </p:nvSpPr>
                <p:spPr bwMode="auto">
                  <a:xfrm>
                    <a:off x="2503488" y="4175125"/>
                    <a:ext cx="15875"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4" name="Freeform 72">
                    <a:extLst>
                      <a:ext uri="{FF2B5EF4-FFF2-40B4-BE49-F238E27FC236}">
                        <a16:creationId xmlns:a16="http://schemas.microsoft.com/office/drawing/2014/main" id="{A0C7D53E-9653-0D47-9DFC-87D35BB6101D}"/>
                      </a:ext>
                    </a:extLst>
                  </p:cNvPr>
                  <p:cNvSpPr>
                    <a:spLocks/>
                  </p:cNvSpPr>
                  <p:nvPr/>
                </p:nvSpPr>
                <p:spPr bwMode="auto">
                  <a:xfrm>
                    <a:off x="2503488" y="4627563"/>
                    <a:ext cx="15875" cy="239713"/>
                  </a:xfrm>
                  <a:custGeom>
                    <a:avLst/>
                    <a:gdLst>
                      <a:gd name="T0" fmla="*/ 4 w 8"/>
                      <a:gd name="T1" fmla="*/ 110 h 110"/>
                      <a:gd name="T2" fmla="*/ 0 w 8"/>
                      <a:gd name="T3" fmla="*/ 106 h 110"/>
                      <a:gd name="T4" fmla="*/ 0 w 8"/>
                      <a:gd name="T5" fmla="*/ 4 h 110"/>
                      <a:gd name="T6" fmla="*/ 4 w 8"/>
                      <a:gd name="T7" fmla="*/ 0 h 110"/>
                      <a:gd name="T8" fmla="*/ 8 w 8"/>
                      <a:gd name="T9" fmla="*/ 4 h 110"/>
                      <a:gd name="T10" fmla="*/ 8 w 8"/>
                      <a:gd name="T11" fmla="*/ 106 h 110"/>
                      <a:gd name="T12" fmla="*/ 4 w 8"/>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8" h="110">
                        <a:moveTo>
                          <a:pt x="4" y="110"/>
                        </a:moveTo>
                        <a:cubicBezTo>
                          <a:pt x="2" y="110"/>
                          <a:pt x="0" y="108"/>
                          <a:pt x="0" y="106"/>
                        </a:cubicBezTo>
                        <a:cubicBezTo>
                          <a:pt x="0" y="4"/>
                          <a:pt x="0" y="4"/>
                          <a:pt x="0" y="4"/>
                        </a:cubicBezTo>
                        <a:cubicBezTo>
                          <a:pt x="0" y="2"/>
                          <a:pt x="2" y="0"/>
                          <a:pt x="4" y="0"/>
                        </a:cubicBezTo>
                        <a:cubicBezTo>
                          <a:pt x="6" y="0"/>
                          <a:pt x="8" y="2"/>
                          <a:pt x="8" y="4"/>
                        </a:cubicBezTo>
                        <a:cubicBezTo>
                          <a:pt x="8" y="106"/>
                          <a:pt x="8" y="106"/>
                          <a:pt x="8" y="106"/>
                        </a:cubicBezTo>
                        <a:cubicBezTo>
                          <a:pt x="8" y="108"/>
                          <a:pt x="6" y="110"/>
                          <a:pt x="4" y="11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5" name="Freeform 73">
                    <a:extLst>
                      <a:ext uri="{FF2B5EF4-FFF2-40B4-BE49-F238E27FC236}">
                        <a16:creationId xmlns:a16="http://schemas.microsoft.com/office/drawing/2014/main" id="{2C3A999B-F441-EB43-913E-A20FF8B280E6}"/>
                      </a:ext>
                    </a:extLst>
                  </p:cNvPr>
                  <p:cNvSpPr>
                    <a:spLocks/>
                  </p:cNvSpPr>
                  <p:nvPr/>
                </p:nvSpPr>
                <p:spPr bwMode="auto">
                  <a:xfrm>
                    <a:off x="2335213" y="4217988"/>
                    <a:ext cx="128588" cy="211138"/>
                  </a:xfrm>
                  <a:custGeom>
                    <a:avLst/>
                    <a:gdLst>
                      <a:gd name="T0" fmla="*/ 55 w 60"/>
                      <a:gd name="T1" fmla="*/ 97 h 97"/>
                      <a:gd name="T2" fmla="*/ 52 w 60"/>
                      <a:gd name="T3" fmla="*/ 95 h 97"/>
                      <a:gd name="T4" fmla="*/ 1 w 60"/>
                      <a:gd name="T5" fmla="*/ 7 h 97"/>
                      <a:gd name="T6" fmla="*/ 2 w 60"/>
                      <a:gd name="T7" fmla="*/ 1 h 97"/>
                      <a:gd name="T8" fmla="*/ 8 w 60"/>
                      <a:gd name="T9" fmla="*/ 3 h 97"/>
                      <a:gd name="T10" fmla="*/ 59 w 60"/>
                      <a:gd name="T11" fmla="*/ 91 h 97"/>
                      <a:gd name="T12" fmla="*/ 57 w 60"/>
                      <a:gd name="T13" fmla="*/ 96 h 97"/>
                      <a:gd name="T14" fmla="*/ 5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5" y="97"/>
                        </a:moveTo>
                        <a:cubicBezTo>
                          <a:pt x="54" y="97"/>
                          <a:pt x="53" y="96"/>
                          <a:pt x="52" y="95"/>
                        </a:cubicBezTo>
                        <a:cubicBezTo>
                          <a:pt x="1" y="7"/>
                          <a:pt x="1" y="7"/>
                          <a:pt x="1" y="7"/>
                        </a:cubicBezTo>
                        <a:cubicBezTo>
                          <a:pt x="0" y="5"/>
                          <a:pt x="0" y="2"/>
                          <a:pt x="2" y="1"/>
                        </a:cubicBezTo>
                        <a:cubicBezTo>
                          <a:pt x="4" y="0"/>
                          <a:pt x="7" y="1"/>
                          <a:pt x="8" y="3"/>
                        </a:cubicBezTo>
                        <a:cubicBezTo>
                          <a:pt x="59" y="91"/>
                          <a:pt x="59" y="91"/>
                          <a:pt x="59" y="91"/>
                        </a:cubicBezTo>
                        <a:cubicBezTo>
                          <a:pt x="60" y="93"/>
                          <a:pt x="59" y="95"/>
                          <a:pt x="57" y="96"/>
                        </a:cubicBezTo>
                        <a:cubicBezTo>
                          <a:pt x="57" y="97"/>
                          <a:pt x="56" y="97"/>
                          <a:pt x="55"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6" name="Freeform 74">
                    <a:extLst>
                      <a:ext uri="{FF2B5EF4-FFF2-40B4-BE49-F238E27FC236}">
                        <a16:creationId xmlns:a16="http://schemas.microsoft.com/office/drawing/2014/main" id="{AAAEEEC3-AE69-A748-AC45-06116E3E46DA}"/>
                      </a:ext>
                    </a:extLst>
                  </p:cNvPr>
                  <p:cNvSpPr>
                    <a:spLocks/>
                  </p:cNvSpPr>
                  <p:nvPr/>
                </p:nvSpPr>
                <p:spPr bwMode="auto">
                  <a:xfrm>
                    <a:off x="2559051" y="4610100"/>
                    <a:ext cx="128588" cy="211138"/>
                  </a:xfrm>
                  <a:custGeom>
                    <a:avLst/>
                    <a:gdLst>
                      <a:gd name="T0" fmla="*/ 56 w 60"/>
                      <a:gd name="T1" fmla="*/ 97 h 97"/>
                      <a:gd name="T2" fmla="*/ 52 w 60"/>
                      <a:gd name="T3" fmla="*/ 95 h 97"/>
                      <a:gd name="T4" fmla="*/ 1 w 60"/>
                      <a:gd name="T5" fmla="*/ 7 h 97"/>
                      <a:gd name="T6" fmla="*/ 3 w 60"/>
                      <a:gd name="T7" fmla="*/ 2 h 97"/>
                      <a:gd name="T8" fmla="*/ 8 w 60"/>
                      <a:gd name="T9" fmla="*/ 3 h 97"/>
                      <a:gd name="T10" fmla="*/ 59 w 60"/>
                      <a:gd name="T11" fmla="*/ 91 h 97"/>
                      <a:gd name="T12" fmla="*/ 58 w 60"/>
                      <a:gd name="T13" fmla="*/ 97 h 97"/>
                      <a:gd name="T14" fmla="*/ 56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6" y="97"/>
                        </a:moveTo>
                        <a:cubicBezTo>
                          <a:pt x="54" y="97"/>
                          <a:pt x="53" y="97"/>
                          <a:pt x="52" y="95"/>
                        </a:cubicBezTo>
                        <a:cubicBezTo>
                          <a:pt x="1" y="7"/>
                          <a:pt x="1" y="7"/>
                          <a:pt x="1" y="7"/>
                        </a:cubicBezTo>
                        <a:cubicBezTo>
                          <a:pt x="0" y="5"/>
                          <a:pt x="1" y="3"/>
                          <a:pt x="3" y="2"/>
                        </a:cubicBezTo>
                        <a:cubicBezTo>
                          <a:pt x="4" y="0"/>
                          <a:pt x="7" y="1"/>
                          <a:pt x="8" y="3"/>
                        </a:cubicBezTo>
                        <a:cubicBezTo>
                          <a:pt x="59" y="91"/>
                          <a:pt x="59" y="91"/>
                          <a:pt x="59" y="91"/>
                        </a:cubicBezTo>
                        <a:cubicBezTo>
                          <a:pt x="60" y="93"/>
                          <a:pt x="60" y="96"/>
                          <a:pt x="58" y="97"/>
                        </a:cubicBezTo>
                        <a:cubicBezTo>
                          <a:pt x="57" y="97"/>
                          <a:pt x="56" y="97"/>
                          <a:pt x="56"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7" name="Freeform 75">
                    <a:extLst>
                      <a:ext uri="{FF2B5EF4-FFF2-40B4-BE49-F238E27FC236}">
                        <a16:creationId xmlns:a16="http://schemas.microsoft.com/office/drawing/2014/main" id="{FC4643D2-D03B-1844-AC5B-ADACC14F3816}"/>
                      </a:ext>
                    </a:extLst>
                  </p:cNvPr>
                  <p:cNvSpPr>
                    <a:spLocks/>
                  </p:cNvSpPr>
                  <p:nvPr/>
                </p:nvSpPr>
                <p:spPr bwMode="auto">
                  <a:xfrm>
                    <a:off x="2212976" y="4343400"/>
                    <a:ext cx="209550" cy="127000"/>
                  </a:xfrm>
                  <a:custGeom>
                    <a:avLst/>
                    <a:gdLst>
                      <a:gd name="T0" fmla="*/ 93 w 98"/>
                      <a:gd name="T1" fmla="*/ 59 h 59"/>
                      <a:gd name="T2" fmla="*/ 91 w 98"/>
                      <a:gd name="T3" fmla="*/ 59 h 59"/>
                      <a:gd name="T4" fmla="*/ 3 w 98"/>
                      <a:gd name="T5" fmla="*/ 8 h 59"/>
                      <a:gd name="T6" fmla="*/ 1 w 98"/>
                      <a:gd name="T7" fmla="*/ 2 h 59"/>
                      <a:gd name="T8" fmla="*/ 7 w 98"/>
                      <a:gd name="T9" fmla="*/ 1 h 59"/>
                      <a:gd name="T10" fmla="*/ 95 w 98"/>
                      <a:gd name="T11" fmla="*/ 52 h 59"/>
                      <a:gd name="T12" fmla="*/ 96 w 98"/>
                      <a:gd name="T13" fmla="*/ 57 h 59"/>
                      <a:gd name="T14" fmla="*/ 93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93" y="59"/>
                        </a:moveTo>
                        <a:cubicBezTo>
                          <a:pt x="92" y="59"/>
                          <a:pt x="92" y="59"/>
                          <a:pt x="91" y="59"/>
                        </a:cubicBezTo>
                        <a:cubicBezTo>
                          <a:pt x="3" y="8"/>
                          <a:pt x="3" y="8"/>
                          <a:pt x="3" y="8"/>
                        </a:cubicBezTo>
                        <a:cubicBezTo>
                          <a:pt x="1" y="7"/>
                          <a:pt x="0" y="4"/>
                          <a:pt x="1" y="2"/>
                        </a:cubicBezTo>
                        <a:cubicBezTo>
                          <a:pt x="2" y="0"/>
                          <a:pt x="5" y="0"/>
                          <a:pt x="7" y="1"/>
                        </a:cubicBezTo>
                        <a:cubicBezTo>
                          <a:pt x="95" y="52"/>
                          <a:pt x="95" y="52"/>
                          <a:pt x="95" y="52"/>
                        </a:cubicBezTo>
                        <a:cubicBezTo>
                          <a:pt x="97" y="53"/>
                          <a:pt x="98" y="56"/>
                          <a:pt x="96" y="57"/>
                        </a:cubicBezTo>
                        <a:cubicBezTo>
                          <a:pt x="96" y="59"/>
                          <a:pt x="94" y="59"/>
                          <a:pt x="93" y="5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8" name="Freeform 76">
                    <a:extLst>
                      <a:ext uri="{FF2B5EF4-FFF2-40B4-BE49-F238E27FC236}">
                        <a16:creationId xmlns:a16="http://schemas.microsoft.com/office/drawing/2014/main" id="{49DE24C2-88B7-3D4A-8AF4-E7FC45186C66}"/>
                      </a:ext>
                    </a:extLst>
                  </p:cNvPr>
                  <p:cNvSpPr>
                    <a:spLocks/>
                  </p:cNvSpPr>
                  <p:nvPr/>
                </p:nvSpPr>
                <p:spPr bwMode="auto">
                  <a:xfrm>
                    <a:off x="2600326" y="4568825"/>
                    <a:ext cx="209550" cy="130175"/>
                  </a:xfrm>
                  <a:custGeom>
                    <a:avLst/>
                    <a:gdLst>
                      <a:gd name="T0" fmla="*/ 93 w 98"/>
                      <a:gd name="T1" fmla="*/ 60 h 60"/>
                      <a:gd name="T2" fmla="*/ 91 w 98"/>
                      <a:gd name="T3" fmla="*/ 59 h 60"/>
                      <a:gd name="T4" fmla="*/ 3 w 98"/>
                      <a:gd name="T5" fmla="*/ 8 h 60"/>
                      <a:gd name="T6" fmla="*/ 2 w 98"/>
                      <a:gd name="T7" fmla="*/ 3 h 60"/>
                      <a:gd name="T8" fmla="*/ 7 w 98"/>
                      <a:gd name="T9" fmla="*/ 1 h 60"/>
                      <a:gd name="T10" fmla="*/ 95 w 98"/>
                      <a:gd name="T11" fmla="*/ 52 h 60"/>
                      <a:gd name="T12" fmla="*/ 97 w 98"/>
                      <a:gd name="T13" fmla="*/ 58 h 60"/>
                      <a:gd name="T14" fmla="*/ 93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93" y="60"/>
                        </a:moveTo>
                        <a:cubicBezTo>
                          <a:pt x="93" y="60"/>
                          <a:pt x="92" y="59"/>
                          <a:pt x="91" y="59"/>
                        </a:cubicBezTo>
                        <a:cubicBezTo>
                          <a:pt x="3" y="8"/>
                          <a:pt x="3" y="8"/>
                          <a:pt x="3" y="8"/>
                        </a:cubicBezTo>
                        <a:cubicBezTo>
                          <a:pt x="1" y="7"/>
                          <a:pt x="0" y="4"/>
                          <a:pt x="2" y="3"/>
                        </a:cubicBezTo>
                        <a:cubicBezTo>
                          <a:pt x="3" y="1"/>
                          <a:pt x="5" y="0"/>
                          <a:pt x="7" y="1"/>
                        </a:cubicBezTo>
                        <a:cubicBezTo>
                          <a:pt x="95" y="52"/>
                          <a:pt x="95" y="52"/>
                          <a:pt x="95" y="52"/>
                        </a:cubicBezTo>
                        <a:cubicBezTo>
                          <a:pt x="97" y="53"/>
                          <a:pt x="98" y="56"/>
                          <a:pt x="97" y="58"/>
                        </a:cubicBezTo>
                        <a:cubicBezTo>
                          <a:pt x="96" y="59"/>
                          <a:pt x="95" y="60"/>
                          <a:pt x="93" y="6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9" name="Freeform 77">
                    <a:extLst>
                      <a:ext uri="{FF2B5EF4-FFF2-40B4-BE49-F238E27FC236}">
                        <a16:creationId xmlns:a16="http://schemas.microsoft.com/office/drawing/2014/main" id="{6B71E13F-CA6A-FF49-B6E1-3C8D2F938F21}"/>
                      </a:ext>
                    </a:extLst>
                  </p:cNvPr>
                  <p:cNvSpPr>
                    <a:spLocks/>
                  </p:cNvSpPr>
                  <p:nvPr/>
                </p:nvSpPr>
                <p:spPr bwMode="auto">
                  <a:xfrm>
                    <a:off x="2168526" y="4513263"/>
                    <a:ext cx="238125"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0" name="Freeform 78">
                    <a:extLst>
                      <a:ext uri="{FF2B5EF4-FFF2-40B4-BE49-F238E27FC236}">
                        <a16:creationId xmlns:a16="http://schemas.microsoft.com/office/drawing/2014/main" id="{A0831DB9-DB3B-2A48-8F71-89C7BA38FB06}"/>
                      </a:ext>
                    </a:extLst>
                  </p:cNvPr>
                  <p:cNvSpPr>
                    <a:spLocks/>
                  </p:cNvSpPr>
                  <p:nvPr/>
                </p:nvSpPr>
                <p:spPr bwMode="auto">
                  <a:xfrm>
                    <a:off x="2616201" y="4513263"/>
                    <a:ext cx="238125" cy="17463"/>
                  </a:xfrm>
                  <a:custGeom>
                    <a:avLst/>
                    <a:gdLst>
                      <a:gd name="T0" fmla="*/ 106 w 110"/>
                      <a:gd name="T1" fmla="*/ 8 h 8"/>
                      <a:gd name="T2" fmla="*/ 4 w 110"/>
                      <a:gd name="T3" fmla="*/ 8 h 8"/>
                      <a:gd name="T4" fmla="*/ 0 w 110"/>
                      <a:gd name="T5" fmla="*/ 4 h 8"/>
                      <a:gd name="T6" fmla="*/ 4 w 110"/>
                      <a:gd name="T7" fmla="*/ 0 h 8"/>
                      <a:gd name="T8" fmla="*/ 106 w 110"/>
                      <a:gd name="T9" fmla="*/ 0 h 8"/>
                      <a:gd name="T10" fmla="*/ 110 w 110"/>
                      <a:gd name="T11" fmla="*/ 4 h 8"/>
                      <a:gd name="T12" fmla="*/ 106 w 11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0" h="8">
                        <a:moveTo>
                          <a:pt x="106" y="8"/>
                        </a:moveTo>
                        <a:cubicBezTo>
                          <a:pt x="4" y="8"/>
                          <a:pt x="4" y="8"/>
                          <a:pt x="4" y="8"/>
                        </a:cubicBezTo>
                        <a:cubicBezTo>
                          <a:pt x="2" y="8"/>
                          <a:pt x="0" y="6"/>
                          <a:pt x="0" y="4"/>
                        </a:cubicBezTo>
                        <a:cubicBezTo>
                          <a:pt x="0" y="2"/>
                          <a:pt x="2" y="0"/>
                          <a:pt x="4" y="0"/>
                        </a:cubicBezTo>
                        <a:cubicBezTo>
                          <a:pt x="106" y="0"/>
                          <a:pt x="106" y="0"/>
                          <a:pt x="106" y="0"/>
                        </a:cubicBezTo>
                        <a:cubicBezTo>
                          <a:pt x="108" y="0"/>
                          <a:pt x="110" y="2"/>
                          <a:pt x="110" y="4"/>
                        </a:cubicBezTo>
                        <a:cubicBezTo>
                          <a:pt x="110" y="6"/>
                          <a:pt x="108" y="8"/>
                          <a:pt x="106" y="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1" name="Freeform 79">
                    <a:extLst>
                      <a:ext uri="{FF2B5EF4-FFF2-40B4-BE49-F238E27FC236}">
                        <a16:creationId xmlns:a16="http://schemas.microsoft.com/office/drawing/2014/main" id="{2C015A53-E2B1-3E42-A4A8-0ABA0DB6FB6F}"/>
                      </a:ext>
                    </a:extLst>
                  </p:cNvPr>
                  <p:cNvSpPr>
                    <a:spLocks/>
                  </p:cNvSpPr>
                  <p:nvPr/>
                </p:nvSpPr>
                <p:spPr bwMode="auto">
                  <a:xfrm>
                    <a:off x="2212976" y="4568825"/>
                    <a:ext cx="209550" cy="130175"/>
                  </a:xfrm>
                  <a:custGeom>
                    <a:avLst/>
                    <a:gdLst>
                      <a:gd name="T0" fmla="*/ 5 w 98"/>
                      <a:gd name="T1" fmla="*/ 60 h 60"/>
                      <a:gd name="T2" fmla="*/ 1 w 98"/>
                      <a:gd name="T3" fmla="*/ 58 h 60"/>
                      <a:gd name="T4" fmla="*/ 3 w 98"/>
                      <a:gd name="T5" fmla="*/ 52 h 60"/>
                      <a:gd name="T6" fmla="*/ 91 w 98"/>
                      <a:gd name="T7" fmla="*/ 1 h 60"/>
                      <a:gd name="T8" fmla="*/ 96 w 98"/>
                      <a:gd name="T9" fmla="*/ 3 h 60"/>
                      <a:gd name="T10" fmla="*/ 95 w 98"/>
                      <a:gd name="T11" fmla="*/ 8 h 60"/>
                      <a:gd name="T12" fmla="*/ 7 w 98"/>
                      <a:gd name="T13" fmla="*/ 59 h 60"/>
                      <a:gd name="T14" fmla="*/ 5 w 98"/>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60">
                        <a:moveTo>
                          <a:pt x="5" y="60"/>
                        </a:moveTo>
                        <a:cubicBezTo>
                          <a:pt x="3" y="60"/>
                          <a:pt x="2" y="59"/>
                          <a:pt x="1" y="58"/>
                        </a:cubicBezTo>
                        <a:cubicBezTo>
                          <a:pt x="0" y="56"/>
                          <a:pt x="1" y="53"/>
                          <a:pt x="3" y="52"/>
                        </a:cubicBezTo>
                        <a:cubicBezTo>
                          <a:pt x="91" y="1"/>
                          <a:pt x="91" y="1"/>
                          <a:pt x="91" y="1"/>
                        </a:cubicBezTo>
                        <a:cubicBezTo>
                          <a:pt x="93" y="0"/>
                          <a:pt x="95" y="1"/>
                          <a:pt x="96" y="3"/>
                        </a:cubicBezTo>
                        <a:cubicBezTo>
                          <a:pt x="98" y="4"/>
                          <a:pt x="97" y="7"/>
                          <a:pt x="95" y="8"/>
                        </a:cubicBezTo>
                        <a:cubicBezTo>
                          <a:pt x="7" y="59"/>
                          <a:pt x="7" y="59"/>
                          <a:pt x="7" y="59"/>
                        </a:cubicBezTo>
                        <a:cubicBezTo>
                          <a:pt x="6" y="59"/>
                          <a:pt x="5" y="60"/>
                          <a:pt x="5" y="60"/>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2" name="Freeform 80">
                    <a:extLst>
                      <a:ext uri="{FF2B5EF4-FFF2-40B4-BE49-F238E27FC236}">
                        <a16:creationId xmlns:a16="http://schemas.microsoft.com/office/drawing/2014/main" id="{85D2CBE1-B35F-404E-9EA7-743B34A7C194}"/>
                      </a:ext>
                    </a:extLst>
                  </p:cNvPr>
                  <p:cNvSpPr>
                    <a:spLocks/>
                  </p:cNvSpPr>
                  <p:nvPr/>
                </p:nvSpPr>
                <p:spPr bwMode="auto">
                  <a:xfrm>
                    <a:off x="2600326" y="4343400"/>
                    <a:ext cx="209550" cy="127000"/>
                  </a:xfrm>
                  <a:custGeom>
                    <a:avLst/>
                    <a:gdLst>
                      <a:gd name="T0" fmla="*/ 5 w 98"/>
                      <a:gd name="T1" fmla="*/ 59 h 59"/>
                      <a:gd name="T2" fmla="*/ 2 w 98"/>
                      <a:gd name="T3" fmla="*/ 57 h 59"/>
                      <a:gd name="T4" fmla="*/ 3 w 98"/>
                      <a:gd name="T5" fmla="*/ 52 h 59"/>
                      <a:gd name="T6" fmla="*/ 91 w 98"/>
                      <a:gd name="T7" fmla="*/ 1 h 59"/>
                      <a:gd name="T8" fmla="*/ 97 w 98"/>
                      <a:gd name="T9" fmla="*/ 2 h 59"/>
                      <a:gd name="T10" fmla="*/ 95 w 98"/>
                      <a:gd name="T11" fmla="*/ 8 h 59"/>
                      <a:gd name="T12" fmla="*/ 7 w 98"/>
                      <a:gd name="T13" fmla="*/ 59 h 59"/>
                      <a:gd name="T14" fmla="*/ 5 w 98"/>
                      <a:gd name="T15" fmla="*/ 5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59">
                        <a:moveTo>
                          <a:pt x="5" y="59"/>
                        </a:moveTo>
                        <a:cubicBezTo>
                          <a:pt x="4" y="59"/>
                          <a:pt x="2" y="59"/>
                          <a:pt x="2" y="57"/>
                        </a:cubicBezTo>
                        <a:cubicBezTo>
                          <a:pt x="0" y="56"/>
                          <a:pt x="1" y="53"/>
                          <a:pt x="3" y="52"/>
                        </a:cubicBezTo>
                        <a:cubicBezTo>
                          <a:pt x="91" y="1"/>
                          <a:pt x="91" y="1"/>
                          <a:pt x="91" y="1"/>
                        </a:cubicBezTo>
                        <a:cubicBezTo>
                          <a:pt x="93" y="0"/>
                          <a:pt x="96" y="0"/>
                          <a:pt x="97" y="2"/>
                        </a:cubicBezTo>
                        <a:cubicBezTo>
                          <a:pt x="98" y="4"/>
                          <a:pt x="97" y="7"/>
                          <a:pt x="95" y="8"/>
                        </a:cubicBezTo>
                        <a:cubicBezTo>
                          <a:pt x="7" y="59"/>
                          <a:pt x="7" y="59"/>
                          <a:pt x="7" y="59"/>
                        </a:cubicBezTo>
                        <a:cubicBezTo>
                          <a:pt x="6" y="59"/>
                          <a:pt x="6" y="59"/>
                          <a:pt x="5" y="5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3" name="Freeform 81">
                    <a:extLst>
                      <a:ext uri="{FF2B5EF4-FFF2-40B4-BE49-F238E27FC236}">
                        <a16:creationId xmlns:a16="http://schemas.microsoft.com/office/drawing/2014/main" id="{EB9BD0A2-C482-5141-B646-2FD404A2DE5F}"/>
                      </a:ext>
                    </a:extLst>
                  </p:cNvPr>
                  <p:cNvSpPr>
                    <a:spLocks/>
                  </p:cNvSpPr>
                  <p:nvPr/>
                </p:nvSpPr>
                <p:spPr bwMode="auto">
                  <a:xfrm>
                    <a:off x="2335213" y="4610100"/>
                    <a:ext cx="128588" cy="211138"/>
                  </a:xfrm>
                  <a:custGeom>
                    <a:avLst/>
                    <a:gdLst>
                      <a:gd name="T0" fmla="*/ 4 w 60"/>
                      <a:gd name="T1" fmla="*/ 97 h 97"/>
                      <a:gd name="T2" fmla="*/ 2 w 60"/>
                      <a:gd name="T3" fmla="*/ 97 h 97"/>
                      <a:gd name="T4" fmla="*/ 1 w 60"/>
                      <a:gd name="T5" fmla="*/ 91 h 97"/>
                      <a:gd name="T6" fmla="*/ 52 w 60"/>
                      <a:gd name="T7" fmla="*/ 3 h 97"/>
                      <a:gd name="T8" fmla="*/ 57 w 60"/>
                      <a:gd name="T9" fmla="*/ 2 h 97"/>
                      <a:gd name="T10" fmla="*/ 59 w 60"/>
                      <a:gd name="T11" fmla="*/ 7 h 97"/>
                      <a:gd name="T12" fmla="*/ 8 w 60"/>
                      <a:gd name="T13" fmla="*/ 95 h 97"/>
                      <a:gd name="T14" fmla="*/ 4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4" y="97"/>
                        </a:moveTo>
                        <a:cubicBezTo>
                          <a:pt x="4" y="97"/>
                          <a:pt x="3" y="97"/>
                          <a:pt x="2" y="97"/>
                        </a:cubicBezTo>
                        <a:cubicBezTo>
                          <a:pt x="0" y="96"/>
                          <a:pt x="0" y="93"/>
                          <a:pt x="1" y="91"/>
                        </a:cubicBezTo>
                        <a:cubicBezTo>
                          <a:pt x="52" y="3"/>
                          <a:pt x="52" y="3"/>
                          <a:pt x="52" y="3"/>
                        </a:cubicBezTo>
                        <a:cubicBezTo>
                          <a:pt x="53" y="1"/>
                          <a:pt x="56" y="0"/>
                          <a:pt x="57" y="2"/>
                        </a:cubicBezTo>
                        <a:cubicBezTo>
                          <a:pt x="59" y="3"/>
                          <a:pt x="60" y="5"/>
                          <a:pt x="59" y="7"/>
                        </a:cubicBezTo>
                        <a:cubicBezTo>
                          <a:pt x="8" y="95"/>
                          <a:pt x="8" y="95"/>
                          <a:pt x="8" y="95"/>
                        </a:cubicBezTo>
                        <a:cubicBezTo>
                          <a:pt x="7" y="97"/>
                          <a:pt x="6" y="97"/>
                          <a:pt x="4"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104" name="Freeform 82">
                    <a:extLst>
                      <a:ext uri="{FF2B5EF4-FFF2-40B4-BE49-F238E27FC236}">
                        <a16:creationId xmlns:a16="http://schemas.microsoft.com/office/drawing/2014/main" id="{6CD1B3F2-767C-E84B-9A39-6E49CB60A9C9}"/>
                      </a:ext>
                    </a:extLst>
                  </p:cNvPr>
                  <p:cNvSpPr>
                    <a:spLocks/>
                  </p:cNvSpPr>
                  <p:nvPr/>
                </p:nvSpPr>
                <p:spPr bwMode="auto">
                  <a:xfrm>
                    <a:off x="2559051" y="4217988"/>
                    <a:ext cx="128588" cy="211138"/>
                  </a:xfrm>
                  <a:custGeom>
                    <a:avLst/>
                    <a:gdLst>
                      <a:gd name="T0" fmla="*/ 5 w 60"/>
                      <a:gd name="T1" fmla="*/ 97 h 97"/>
                      <a:gd name="T2" fmla="*/ 3 w 60"/>
                      <a:gd name="T3" fmla="*/ 96 h 97"/>
                      <a:gd name="T4" fmla="*/ 1 w 60"/>
                      <a:gd name="T5" fmla="*/ 91 h 97"/>
                      <a:gd name="T6" fmla="*/ 52 w 60"/>
                      <a:gd name="T7" fmla="*/ 3 h 97"/>
                      <a:gd name="T8" fmla="*/ 58 w 60"/>
                      <a:gd name="T9" fmla="*/ 1 h 97"/>
                      <a:gd name="T10" fmla="*/ 59 w 60"/>
                      <a:gd name="T11" fmla="*/ 7 h 97"/>
                      <a:gd name="T12" fmla="*/ 8 w 60"/>
                      <a:gd name="T13" fmla="*/ 95 h 97"/>
                      <a:gd name="T14" fmla="*/ 5 w 60"/>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97">
                        <a:moveTo>
                          <a:pt x="5" y="97"/>
                        </a:moveTo>
                        <a:cubicBezTo>
                          <a:pt x="4" y="97"/>
                          <a:pt x="3" y="97"/>
                          <a:pt x="3" y="96"/>
                        </a:cubicBezTo>
                        <a:cubicBezTo>
                          <a:pt x="1" y="95"/>
                          <a:pt x="0" y="93"/>
                          <a:pt x="1" y="91"/>
                        </a:cubicBezTo>
                        <a:cubicBezTo>
                          <a:pt x="52" y="3"/>
                          <a:pt x="52" y="3"/>
                          <a:pt x="52" y="3"/>
                        </a:cubicBezTo>
                        <a:cubicBezTo>
                          <a:pt x="53" y="1"/>
                          <a:pt x="56" y="0"/>
                          <a:pt x="58" y="1"/>
                        </a:cubicBezTo>
                        <a:cubicBezTo>
                          <a:pt x="60" y="2"/>
                          <a:pt x="60" y="5"/>
                          <a:pt x="59" y="7"/>
                        </a:cubicBezTo>
                        <a:cubicBezTo>
                          <a:pt x="8" y="95"/>
                          <a:pt x="8" y="95"/>
                          <a:pt x="8" y="95"/>
                        </a:cubicBezTo>
                        <a:cubicBezTo>
                          <a:pt x="7" y="96"/>
                          <a:pt x="6" y="97"/>
                          <a:pt x="5" y="97"/>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nvGrpSpPr>
                <p:cNvPr id="77" name="Group 76">
                  <a:extLst>
                    <a:ext uri="{FF2B5EF4-FFF2-40B4-BE49-F238E27FC236}">
                      <a16:creationId xmlns:a16="http://schemas.microsoft.com/office/drawing/2014/main" id="{A10AEAD1-DDF7-744C-9759-502D85AA7B87}"/>
                    </a:ext>
                  </a:extLst>
                </p:cNvPr>
                <p:cNvGrpSpPr/>
                <p:nvPr/>
              </p:nvGrpSpPr>
              <p:grpSpPr>
                <a:xfrm rot="16200000">
                  <a:off x="9471503" y="2366800"/>
                  <a:ext cx="824260" cy="294112"/>
                  <a:chOff x="6334760" y="5808663"/>
                  <a:chExt cx="1554480" cy="554668"/>
                </a:xfrm>
              </p:grpSpPr>
              <p:sp>
                <p:nvSpPr>
                  <p:cNvPr id="79" name="Freeform 189">
                    <a:extLst>
                      <a:ext uri="{FF2B5EF4-FFF2-40B4-BE49-F238E27FC236}">
                        <a16:creationId xmlns:a16="http://schemas.microsoft.com/office/drawing/2014/main" id="{C7DBFBB0-5C98-2548-88CD-A09B91A7B3E0}"/>
                      </a:ext>
                    </a:extLst>
                  </p:cNvPr>
                  <p:cNvSpPr>
                    <a:spLocks/>
                  </p:cNvSpPr>
                  <p:nvPr/>
                </p:nvSpPr>
                <p:spPr bwMode="auto">
                  <a:xfrm>
                    <a:off x="6334760" y="5808663"/>
                    <a:ext cx="343474" cy="554668"/>
                  </a:xfrm>
                  <a:custGeom>
                    <a:avLst/>
                    <a:gdLst>
                      <a:gd name="T0" fmla="*/ 0 w 97"/>
                      <a:gd name="T1" fmla="*/ 0 h 157"/>
                      <a:gd name="T2" fmla="*/ 0 w 97"/>
                      <a:gd name="T3" fmla="*/ 157 h 157"/>
                      <a:gd name="T4" fmla="*/ 97 w 97"/>
                      <a:gd name="T5" fmla="*/ 99 h 157"/>
                      <a:gd name="T6" fmla="*/ 97 w 97"/>
                      <a:gd name="T7" fmla="*/ 58 h 157"/>
                      <a:gd name="T8" fmla="*/ 0 w 97"/>
                      <a:gd name="T9" fmla="*/ 0 h 157"/>
                    </a:gdLst>
                    <a:ahLst/>
                    <a:cxnLst>
                      <a:cxn ang="0">
                        <a:pos x="T0" y="T1"/>
                      </a:cxn>
                      <a:cxn ang="0">
                        <a:pos x="T2" y="T3"/>
                      </a:cxn>
                      <a:cxn ang="0">
                        <a:pos x="T4" y="T5"/>
                      </a:cxn>
                      <a:cxn ang="0">
                        <a:pos x="T6" y="T7"/>
                      </a:cxn>
                      <a:cxn ang="0">
                        <a:pos x="T8" y="T9"/>
                      </a:cxn>
                    </a:cxnLst>
                    <a:rect l="0" t="0" r="r" b="b"/>
                    <a:pathLst>
                      <a:path w="97" h="157">
                        <a:moveTo>
                          <a:pt x="0" y="0"/>
                        </a:moveTo>
                        <a:lnTo>
                          <a:pt x="0" y="157"/>
                        </a:lnTo>
                        <a:lnTo>
                          <a:pt x="97" y="99"/>
                        </a:lnTo>
                        <a:lnTo>
                          <a:pt x="97" y="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0" name="Freeform 191">
                    <a:extLst>
                      <a:ext uri="{FF2B5EF4-FFF2-40B4-BE49-F238E27FC236}">
                        <a16:creationId xmlns:a16="http://schemas.microsoft.com/office/drawing/2014/main" id="{71109698-D186-3C44-95D4-92496ED72823}"/>
                      </a:ext>
                    </a:extLst>
                  </p:cNvPr>
                  <p:cNvSpPr>
                    <a:spLocks/>
                  </p:cNvSpPr>
                  <p:nvPr/>
                </p:nvSpPr>
                <p:spPr bwMode="auto">
                  <a:xfrm>
                    <a:off x="6678232" y="5808663"/>
                    <a:ext cx="347014" cy="554668"/>
                  </a:xfrm>
                  <a:custGeom>
                    <a:avLst/>
                    <a:gdLst>
                      <a:gd name="T0" fmla="*/ 0 w 98"/>
                      <a:gd name="T1" fmla="*/ 0 h 157"/>
                      <a:gd name="T2" fmla="*/ 0 w 98"/>
                      <a:gd name="T3" fmla="*/ 58 h 157"/>
                      <a:gd name="T4" fmla="*/ 37 w 98"/>
                      <a:gd name="T5" fmla="*/ 78 h 157"/>
                      <a:gd name="T6" fmla="*/ 0 w 98"/>
                      <a:gd name="T7" fmla="*/ 99 h 157"/>
                      <a:gd name="T8" fmla="*/ 0 w 98"/>
                      <a:gd name="T9" fmla="*/ 157 h 157"/>
                      <a:gd name="T10" fmla="*/ 98 w 98"/>
                      <a:gd name="T11" fmla="*/ 99 h 157"/>
                      <a:gd name="T12" fmla="*/ 98 w 98"/>
                      <a:gd name="T13" fmla="*/ 58 h 157"/>
                      <a:gd name="T14" fmla="*/ 0 w 98"/>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57">
                        <a:moveTo>
                          <a:pt x="0" y="0"/>
                        </a:moveTo>
                        <a:lnTo>
                          <a:pt x="0" y="58"/>
                        </a:lnTo>
                        <a:lnTo>
                          <a:pt x="37" y="78"/>
                        </a:lnTo>
                        <a:lnTo>
                          <a:pt x="0" y="99"/>
                        </a:lnTo>
                        <a:lnTo>
                          <a:pt x="0" y="157"/>
                        </a:lnTo>
                        <a:lnTo>
                          <a:pt x="98" y="99"/>
                        </a:lnTo>
                        <a:lnTo>
                          <a:pt x="98" y="5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1" name="Freeform 192">
                    <a:extLst>
                      <a:ext uri="{FF2B5EF4-FFF2-40B4-BE49-F238E27FC236}">
                        <a16:creationId xmlns:a16="http://schemas.microsoft.com/office/drawing/2014/main" id="{992518F8-6FA6-B240-89D6-5FCDA0DEED27}"/>
                      </a:ext>
                    </a:extLst>
                  </p:cNvPr>
                  <p:cNvSpPr>
                    <a:spLocks/>
                  </p:cNvSpPr>
                  <p:nvPr/>
                </p:nvSpPr>
                <p:spPr bwMode="auto">
                  <a:xfrm>
                    <a:off x="6678232" y="6013572"/>
                    <a:ext cx="131017" cy="144850"/>
                  </a:xfrm>
                  <a:custGeom>
                    <a:avLst/>
                    <a:gdLst>
                      <a:gd name="T0" fmla="*/ 0 w 37"/>
                      <a:gd name="T1" fmla="*/ 0 h 41"/>
                      <a:gd name="T2" fmla="*/ 0 w 37"/>
                      <a:gd name="T3" fmla="*/ 41 h 41"/>
                      <a:gd name="T4" fmla="*/ 37 w 37"/>
                      <a:gd name="T5" fmla="*/ 20 h 41"/>
                      <a:gd name="T6" fmla="*/ 0 w 37"/>
                      <a:gd name="T7" fmla="*/ 0 h 41"/>
                    </a:gdLst>
                    <a:ahLst/>
                    <a:cxnLst>
                      <a:cxn ang="0">
                        <a:pos x="T0" y="T1"/>
                      </a:cxn>
                      <a:cxn ang="0">
                        <a:pos x="T2" y="T3"/>
                      </a:cxn>
                      <a:cxn ang="0">
                        <a:pos x="T4" y="T5"/>
                      </a:cxn>
                      <a:cxn ang="0">
                        <a:pos x="T6" y="T7"/>
                      </a:cxn>
                    </a:cxnLst>
                    <a:rect l="0" t="0" r="r" b="b"/>
                    <a:pathLst>
                      <a:path w="37" h="41">
                        <a:moveTo>
                          <a:pt x="0" y="0"/>
                        </a:moveTo>
                        <a:lnTo>
                          <a:pt x="0" y="41"/>
                        </a:lnTo>
                        <a:lnTo>
                          <a:pt x="37" y="20"/>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2" name="Freeform 193">
                    <a:extLst>
                      <a:ext uri="{FF2B5EF4-FFF2-40B4-BE49-F238E27FC236}">
                        <a16:creationId xmlns:a16="http://schemas.microsoft.com/office/drawing/2014/main" id="{3F6CDB85-1F5F-7040-82AA-6C54F0534939}"/>
                      </a:ext>
                    </a:extLst>
                  </p:cNvPr>
                  <p:cNvSpPr>
                    <a:spLocks/>
                  </p:cNvSpPr>
                  <p:nvPr/>
                </p:nvSpPr>
                <p:spPr bwMode="auto">
                  <a:xfrm>
                    <a:off x="6678232" y="6013572"/>
                    <a:ext cx="131017" cy="144850"/>
                  </a:xfrm>
                  <a:custGeom>
                    <a:avLst/>
                    <a:gdLst>
                      <a:gd name="T0" fmla="*/ 0 w 37"/>
                      <a:gd name="T1" fmla="*/ 0 h 41"/>
                      <a:gd name="T2" fmla="*/ 0 w 37"/>
                      <a:gd name="T3" fmla="*/ 41 h 41"/>
                      <a:gd name="T4" fmla="*/ 37 w 37"/>
                      <a:gd name="T5" fmla="*/ 20 h 41"/>
                      <a:gd name="T6" fmla="*/ 0 w 37"/>
                      <a:gd name="T7" fmla="*/ 0 h 41"/>
                    </a:gdLst>
                    <a:ahLst/>
                    <a:cxnLst>
                      <a:cxn ang="0">
                        <a:pos x="T0" y="T1"/>
                      </a:cxn>
                      <a:cxn ang="0">
                        <a:pos x="T2" y="T3"/>
                      </a:cxn>
                      <a:cxn ang="0">
                        <a:pos x="T4" y="T5"/>
                      </a:cxn>
                      <a:cxn ang="0">
                        <a:pos x="T6" y="T7"/>
                      </a:cxn>
                    </a:cxnLst>
                    <a:rect l="0" t="0" r="r" b="b"/>
                    <a:pathLst>
                      <a:path w="37" h="41">
                        <a:moveTo>
                          <a:pt x="0" y="0"/>
                        </a:moveTo>
                        <a:lnTo>
                          <a:pt x="0" y="41"/>
                        </a:lnTo>
                        <a:lnTo>
                          <a:pt x="37" y="20"/>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3" name="Freeform 195">
                    <a:extLst>
                      <a:ext uri="{FF2B5EF4-FFF2-40B4-BE49-F238E27FC236}">
                        <a16:creationId xmlns:a16="http://schemas.microsoft.com/office/drawing/2014/main" id="{2AF458BA-A95B-3341-AEC0-024F4548EA97}"/>
                      </a:ext>
                    </a:extLst>
                  </p:cNvPr>
                  <p:cNvSpPr>
                    <a:spLocks/>
                  </p:cNvSpPr>
                  <p:nvPr/>
                </p:nvSpPr>
                <p:spPr bwMode="auto">
                  <a:xfrm>
                    <a:off x="7025246" y="5808663"/>
                    <a:ext cx="389506" cy="554668"/>
                  </a:xfrm>
                  <a:custGeom>
                    <a:avLst/>
                    <a:gdLst>
                      <a:gd name="T0" fmla="*/ 0 w 110"/>
                      <a:gd name="T1" fmla="*/ 0 h 157"/>
                      <a:gd name="T2" fmla="*/ 0 w 110"/>
                      <a:gd name="T3" fmla="*/ 58 h 157"/>
                      <a:gd name="T4" fmla="*/ 36 w 110"/>
                      <a:gd name="T5" fmla="*/ 78 h 157"/>
                      <a:gd name="T6" fmla="*/ 0 w 110"/>
                      <a:gd name="T7" fmla="*/ 99 h 157"/>
                      <a:gd name="T8" fmla="*/ 0 w 110"/>
                      <a:gd name="T9" fmla="*/ 157 h 157"/>
                      <a:gd name="T10" fmla="*/ 110 w 110"/>
                      <a:gd name="T11" fmla="*/ 92 h 157"/>
                      <a:gd name="T12" fmla="*/ 110 w 110"/>
                      <a:gd name="T13" fmla="*/ 65 h 157"/>
                      <a:gd name="T14" fmla="*/ 0 w 11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57">
                        <a:moveTo>
                          <a:pt x="0" y="0"/>
                        </a:moveTo>
                        <a:lnTo>
                          <a:pt x="0" y="58"/>
                        </a:lnTo>
                        <a:lnTo>
                          <a:pt x="36" y="78"/>
                        </a:lnTo>
                        <a:lnTo>
                          <a:pt x="0" y="99"/>
                        </a:lnTo>
                        <a:lnTo>
                          <a:pt x="0" y="157"/>
                        </a:lnTo>
                        <a:lnTo>
                          <a:pt x="110" y="92"/>
                        </a:lnTo>
                        <a:lnTo>
                          <a:pt x="110" y="65"/>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4" name="Freeform 196">
                    <a:extLst>
                      <a:ext uri="{FF2B5EF4-FFF2-40B4-BE49-F238E27FC236}">
                        <a16:creationId xmlns:a16="http://schemas.microsoft.com/office/drawing/2014/main" id="{181BE53F-93CF-A648-B3AD-659E69083700}"/>
                      </a:ext>
                    </a:extLst>
                  </p:cNvPr>
                  <p:cNvSpPr>
                    <a:spLocks/>
                  </p:cNvSpPr>
                  <p:nvPr/>
                </p:nvSpPr>
                <p:spPr bwMode="auto">
                  <a:xfrm>
                    <a:off x="7025246" y="6013572"/>
                    <a:ext cx="127475" cy="144850"/>
                  </a:xfrm>
                  <a:custGeom>
                    <a:avLst/>
                    <a:gdLst>
                      <a:gd name="T0" fmla="*/ 0 w 36"/>
                      <a:gd name="T1" fmla="*/ 0 h 41"/>
                      <a:gd name="T2" fmla="*/ 0 w 36"/>
                      <a:gd name="T3" fmla="*/ 41 h 41"/>
                      <a:gd name="T4" fmla="*/ 36 w 36"/>
                      <a:gd name="T5" fmla="*/ 20 h 41"/>
                      <a:gd name="T6" fmla="*/ 0 w 36"/>
                      <a:gd name="T7" fmla="*/ 0 h 41"/>
                    </a:gdLst>
                    <a:ahLst/>
                    <a:cxnLst>
                      <a:cxn ang="0">
                        <a:pos x="T0" y="T1"/>
                      </a:cxn>
                      <a:cxn ang="0">
                        <a:pos x="T2" y="T3"/>
                      </a:cxn>
                      <a:cxn ang="0">
                        <a:pos x="T4" y="T5"/>
                      </a:cxn>
                      <a:cxn ang="0">
                        <a:pos x="T6" y="T7"/>
                      </a:cxn>
                    </a:cxnLst>
                    <a:rect l="0" t="0" r="r" b="b"/>
                    <a:pathLst>
                      <a:path w="36" h="41">
                        <a:moveTo>
                          <a:pt x="0" y="0"/>
                        </a:moveTo>
                        <a:lnTo>
                          <a:pt x="0" y="41"/>
                        </a:lnTo>
                        <a:lnTo>
                          <a:pt x="36" y="20"/>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5" name="Freeform 197">
                    <a:extLst>
                      <a:ext uri="{FF2B5EF4-FFF2-40B4-BE49-F238E27FC236}">
                        <a16:creationId xmlns:a16="http://schemas.microsoft.com/office/drawing/2014/main" id="{B8F77594-AAAF-3944-AA8F-BFFE2903BACD}"/>
                      </a:ext>
                    </a:extLst>
                  </p:cNvPr>
                  <p:cNvSpPr>
                    <a:spLocks/>
                  </p:cNvSpPr>
                  <p:nvPr/>
                </p:nvSpPr>
                <p:spPr bwMode="auto">
                  <a:xfrm>
                    <a:off x="7025246" y="6013572"/>
                    <a:ext cx="127475" cy="144850"/>
                  </a:xfrm>
                  <a:custGeom>
                    <a:avLst/>
                    <a:gdLst>
                      <a:gd name="T0" fmla="*/ 0 w 36"/>
                      <a:gd name="T1" fmla="*/ 0 h 41"/>
                      <a:gd name="T2" fmla="*/ 0 w 36"/>
                      <a:gd name="T3" fmla="*/ 41 h 41"/>
                      <a:gd name="T4" fmla="*/ 36 w 36"/>
                      <a:gd name="T5" fmla="*/ 20 h 41"/>
                      <a:gd name="T6" fmla="*/ 0 w 36"/>
                      <a:gd name="T7" fmla="*/ 0 h 41"/>
                    </a:gdLst>
                    <a:ahLst/>
                    <a:cxnLst>
                      <a:cxn ang="0">
                        <a:pos x="T0" y="T1"/>
                      </a:cxn>
                      <a:cxn ang="0">
                        <a:pos x="T2" y="T3"/>
                      </a:cxn>
                      <a:cxn ang="0">
                        <a:pos x="T4" y="T5"/>
                      </a:cxn>
                      <a:cxn ang="0">
                        <a:pos x="T6" y="T7"/>
                      </a:cxn>
                    </a:cxnLst>
                    <a:rect l="0" t="0" r="r" b="b"/>
                    <a:pathLst>
                      <a:path w="36" h="41">
                        <a:moveTo>
                          <a:pt x="0" y="0"/>
                        </a:moveTo>
                        <a:lnTo>
                          <a:pt x="0" y="41"/>
                        </a:lnTo>
                        <a:lnTo>
                          <a:pt x="36" y="20"/>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6" name="Freeform 199">
                    <a:extLst>
                      <a:ext uri="{FF2B5EF4-FFF2-40B4-BE49-F238E27FC236}">
                        <a16:creationId xmlns:a16="http://schemas.microsoft.com/office/drawing/2014/main" id="{12455B66-FC7C-AF44-B116-0EC4D2DCB94D}"/>
                      </a:ext>
                    </a:extLst>
                  </p:cNvPr>
                  <p:cNvSpPr>
                    <a:spLocks/>
                  </p:cNvSpPr>
                  <p:nvPr/>
                </p:nvSpPr>
                <p:spPr bwMode="auto">
                  <a:xfrm>
                    <a:off x="7414751" y="5808663"/>
                    <a:ext cx="474489" cy="554668"/>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34" h="157">
                        <a:moveTo>
                          <a:pt x="0" y="0"/>
                        </a:moveTo>
                        <a:lnTo>
                          <a:pt x="0" y="65"/>
                        </a:lnTo>
                        <a:lnTo>
                          <a:pt x="23" y="78"/>
                        </a:lnTo>
                        <a:lnTo>
                          <a:pt x="0" y="92"/>
                        </a:lnTo>
                        <a:lnTo>
                          <a:pt x="0" y="157"/>
                        </a:lnTo>
                        <a:lnTo>
                          <a:pt x="134" y="7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7" name="Freeform 200">
                    <a:extLst>
                      <a:ext uri="{FF2B5EF4-FFF2-40B4-BE49-F238E27FC236}">
                        <a16:creationId xmlns:a16="http://schemas.microsoft.com/office/drawing/2014/main" id="{F730131B-FD86-1B43-B0A1-FC01CBEBA2C1}"/>
                      </a:ext>
                    </a:extLst>
                  </p:cNvPr>
                  <p:cNvSpPr>
                    <a:spLocks/>
                  </p:cNvSpPr>
                  <p:nvPr/>
                </p:nvSpPr>
                <p:spPr bwMode="auto">
                  <a:xfrm>
                    <a:off x="7414751" y="6038303"/>
                    <a:ext cx="81443" cy="95390"/>
                  </a:xfrm>
                  <a:custGeom>
                    <a:avLst/>
                    <a:gdLst>
                      <a:gd name="T0" fmla="*/ 0 w 23"/>
                      <a:gd name="T1" fmla="*/ 0 h 27"/>
                      <a:gd name="T2" fmla="*/ 0 w 23"/>
                      <a:gd name="T3" fmla="*/ 27 h 27"/>
                      <a:gd name="T4" fmla="*/ 23 w 23"/>
                      <a:gd name="T5" fmla="*/ 13 h 27"/>
                      <a:gd name="T6" fmla="*/ 0 w 23"/>
                      <a:gd name="T7" fmla="*/ 0 h 27"/>
                    </a:gdLst>
                    <a:ahLst/>
                    <a:cxnLst>
                      <a:cxn ang="0">
                        <a:pos x="T0" y="T1"/>
                      </a:cxn>
                      <a:cxn ang="0">
                        <a:pos x="T2" y="T3"/>
                      </a:cxn>
                      <a:cxn ang="0">
                        <a:pos x="T4" y="T5"/>
                      </a:cxn>
                      <a:cxn ang="0">
                        <a:pos x="T6" y="T7"/>
                      </a:cxn>
                    </a:cxnLst>
                    <a:rect l="0" t="0" r="r" b="b"/>
                    <a:pathLst>
                      <a:path w="23" h="27">
                        <a:moveTo>
                          <a:pt x="0" y="0"/>
                        </a:moveTo>
                        <a:lnTo>
                          <a:pt x="0" y="27"/>
                        </a:lnTo>
                        <a:lnTo>
                          <a:pt x="23" y="13"/>
                        </a:lnTo>
                        <a:lnTo>
                          <a:pt x="0" y="0"/>
                        </a:lnTo>
                        <a:close/>
                      </a:path>
                    </a:pathLst>
                  </a:custGeom>
                  <a:solidFill>
                    <a:srgbClr val="2C8F16"/>
                  </a:solidFill>
                  <a:ln w="9525">
                    <a:solidFill>
                      <a:srgbClr val="2C8F16"/>
                    </a:solidFill>
                    <a:round/>
                    <a:headEnd/>
                    <a:tailEnd/>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8" name="Freeform 201">
                    <a:extLst>
                      <a:ext uri="{FF2B5EF4-FFF2-40B4-BE49-F238E27FC236}">
                        <a16:creationId xmlns:a16="http://schemas.microsoft.com/office/drawing/2014/main" id="{624879EC-86DF-0F41-AABF-36FFC38272EF}"/>
                      </a:ext>
                    </a:extLst>
                  </p:cNvPr>
                  <p:cNvSpPr>
                    <a:spLocks/>
                  </p:cNvSpPr>
                  <p:nvPr/>
                </p:nvSpPr>
                <p:spPr bwMode="auto">
                  <a:xfrm>
                    <a:off x="7414751" y="6038303"/>
                    <a:ext cx="81443" cy="95390"/>
                  </a:xfrm>
                  <a:custGeom>
                    <a:avLst/>
                    <a:gdLst>
                      <a:gd name="T0" fmla="*/ 0 w 23"/>
                      <a:gd name="T1" fmla="*/ 0 h 27"/>
                      <a:gd name="T2" fmla="*/ 0 w 23"/>
                      <a:gd name="T3" fmla="*/ 27 h 27"/>
                      <a:gd name="T4" fmla="*/ 23 w 23"/>
                      <a:gd name="T5" fmla="*/ 13 h 27"/>
                      <a:gd name="T6" fmla="*/ 0 w 23"/>
                      <a:gd name="T7" fmla="*/ 0 h 27"/>
                    </a:gdLst>
                    <a:ahLst/>
                    <a:cxnLst>
                      <a:cxn ang="0">
                        <a:pos x="T0" y="T1"/>
                      </a:cxn>
                      <a:cxn ang="0">
                        <a:pos x="T2" y="T3"/>
                      </a:cxn>
                      <a:cxn ang="0">
                        <a:pos x="T4" y="T5"/>
                      </a:cxn>
                      <a:cxn ang="0">
                        <a:pos x="T6" y="T7"/>
                      </a:cxn>
                    </a:cxnLst>
                    <a:rect l="0" t="0" r="r" b="b"/>
                    <a:pathLst>
                      <a:path w="23" h="27">
                        <a:moveTo>
                          <a:pt x="0" y="0"/>
                        </a:moveTo>
                        <a:lnTo>
                          <a:pt x="0" y="27"/>
                        </a:lnTo>
                        <a:lnTo>
                          <a:pt x="23" y="13"/>
                        </a:lnTo>
                        <a:lnTo>
                          <a:pt x="0" y="0"/>
                        </a:lnTo>
                      </a:path>
                    </a:pathLst>
                  </a:custGeom>
                  <a:noFill/>
                  <a:ln w="9525">
                    <a:solidFill>
                      <a:srgbClr val="2C8F16"/>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9" name="Freeform 188">
                    <a:extLst>
                      <a:ext uri="{FF2B5EF4-FFF2-40B4-BE49-F238E27FC236}">
                        <a16:creationId xmlns:a16="http://schemas.microsoft.com/office/drawing/2014/main" id="{EA8DA5E9-CD42-B240-A6DC-3FAFE212C1DF}"/>
                      </a:ext>
                    </a:extLst>
                  </p:cNvPr>
                  <p:cNvSpPr>
                    <a:spLocks/>
                  </p:cNvSpPr>
                  <p:nvPr/>
                </p:nvSpPr>
                <p:spPr bwMode="auto">
                  <a:xfrm>
                    <a:off x="6334760" y="5808663"/>
                    <a:ext cx="343474" cy="554668"/>
                  </a:xfrm>
                  <a:custGeom>
                    <a:avLst/>
                    <a:gdLst>
                      <a:gd name="T0" fmla="*/ 0 w 97"/>
                      <a:gd name="T1" fmla="*/ 0 h 157"/>
                      <a:gd name="T2" fmla="*/ 0 w 97"/>
                      <a:gd name="T3" fmla="*/ 157 h 157"/>
                      <a:gd name="T4" fmla="*/ 97 w 97"/>
                      <a:gd name="T5" fmla="*/ 99 h 157"/>
                      <a:gd name="T6" fmla="*/ 97 w 97"/>
                      <a:gd name="T7" fmla="*/ 58 h 157"/>
                      <a:gd name="T8" fmla="*/ 0 w 97"/>
                      <a:gd name="T9" fmla="*/ 0 h 157"/>
                    </a:gdLst>
                    <a:ahLst/>
                    <a:cxnLst>
                      <a:cxn ang="0">
                        <a:pos x="T0" y="T1"/>
                      </a:cxn>
                      <a:cxn ang="0">
                        <a:pos x="T2" y="T3"/>
                      </a:cxn>
                      <a:cxn ang="0">
                        <a:pos x="T4" y="T5"/>
                      </a:cxn>
                      <a:cxn ang="0">
                        <a:pos x="T6" y="T7"/>
                      </a:cxn>
                      <a:cxn ang="0">
                        <a:pos x="T8" y="T9"/>
                      </a:cxn>
                    </a:cxnLst>
                    <a:rect l="0" t="0" r="r" b="b"/>
                    <a:pathLst>
                      <a:path w="97" h="157">
                        <a:moveTo>
                          <a:pt x="0" y="0"/>
                        </a:moveTo>
                        <a:lnTo>
                          <a:pt x="0" y="157"/>
                        </a:lnTo>
                        <a:lnTo>
                          <a:pt x="97" y="99"/>
                        </a:lnTo>
                        <a:lnTo>
                          <a:pt x="97" y="5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0" name="Freeform 190">
                    <a:extLst>
                      <a:ext uri="{FF2B5EF4-FFF2-40B4-BE49-F238E27FC236}">
                        <a16:creationId xmlns:a16="http://schemas.microsoft.com/office/drawing/2014/main" id="{CB8E7C9D-E6A1-1741-92DE-79CE15C5AFD7}"/>
                      </a:ext>
                    </a:extLst>
                  </p:cNvPr>
                  <p:cNvSpPr>
                    <a:spLocks/>
                  </p:cNvSpPr>
                  <p:nvPr/>
                </p:nvSpPr>
                <p:spPr bwMode="auto">
                  <a:xfrm>
                    <a:off x="6678232" y="5808663"/>
                    <a:ext cx="347014" cy="554668"/>
                  </a:xfrm>
                  <a:custGeom>
                    <a:avLst/>
                    <a:gdLst>
                      <a:gd name="T0" fmla="*/ 0 w 98"/>
                      <a:gd name="T1" fmla="*/ 0 h 157"/>
                      <a:gd name="T2" fmla="*/ 0 w 98"/>
                      <a:gd name="T3" fmla="*/ 58 h 157"/>
                      <a:gd name="T4" fmla="*/ 37 w 98"/>
                      <a:gd name="T5" fmla="*/ 78 h 157"/>
                      <a:gd name="T6" fmla="*/ 0 w 98"/>
                      <a:gd name="T7" fmla="*/ 99 h 157"/>
                      <a:gd name="T8" fmla="*/ 0 w 98"/>
                      <a:gd name="T9" fmla="*/ 157 h 157"/>
                      <a:gd name="T10" fmla="*/ 98 w 98"/>
                      <a:gd name="T11" fmla="*/ 99 h 157"/>
                      <a:gd name="T12" fmla="*/ 98 w 98"/>
                      <a:gd name="T13" fmla="*/ 58 h 157"/>
                      <a:gd name="T14" fmla="*/ 0 w 98"/>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57">
                        <a:moveTo>
                          <a:pt x="0" y="0"/>
                        </a:moveTo>
                        <a:lnTo>
                          <a:pt x="0" y="58"/>
                        </a:lnTo>
                        <a:lnTo>
                          <a:pt x="37" y="78"/>
                        </a:lnTo>
                        <a:lnTo>
                          <a:pt x="0" y="99"/>
                        </a:lnTo>
                        <a:lnTo>
                          <a:pt x="0" y="157"/>
                        </a:lnTo>
                        <a:lnTo>
                          <a:pt x="98" y="99"/>
                        </a:lnTo>
                        <a:lnTo>
                          <a:pt x="98" y="5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1" name="Freeform 194">
                    <a:extLst>
                      <a:ext uri="{FF2B5EF4-FFF2-40B4-BE49-F238E27FC236}">
                        <a16:creationId xmlns:a16="http://schemas.microsoft.com/office/drawing/2014/main" id="{DADE1277-482B-484C-B6D4-6D0229549A4F}"/>
                      </a:ext>
                    </a:extLst>
                  </p:cNvPr>
                  <p:cNvSpPr>
                    <a:spLocks/>
                  </p:cNvSpPr>
                  <p:nvPr/>
                </p:nvSpPr>
                <p:spPr bwMode="auto">
                  <a:xfrm>
                    <a:off x="7025246" y="5808663"/>
                    <a:ext cx="389506" cy="554668"/>
                  </a:xfrm>
                  <a:custGeom>
                    <a:avLst/>
                    <a:gdLst>
                      <a:gd name="T0" fmla="*/ 0 w 110"/>
                      <a:gd name="T1" fmla="*/ 0 h 157"/>
                      <a:gd name="T2" fmla="*/ 0 w 110"/>
                      <a:gd name="T3" fmla="*/ 58 h 157"/>
                      <a:gd name="T4" fmla="*/ 36 w 110"/>
                      <a:gd name="T5" fmla="*/ 78 h 157"/>
                      <a:gd name="T6" fmla="*/ 0 w 110"/>
                      <a:gd name="T7" fmla="*/ 99 h 157"/>
                      <a:gd name="T8" fmla="*/ 0 w 110"/>
                      <a:gd name="T9" fmla="*/ 157 h 157"/>
                      <a:gd name="T10" fmla="*/ 110 w 110"/>
                      <a:gd name="T11" fmla="*/ 92 h 157"/>
                      <a:gd name="T12" fmla="*/ 110 w 110"/>
                      <a:gd name="T13" fmla="*/ 65 h 157"/>
                      <a:gd name="T14" fmla="*/ 0 w 110"/>
                      <a:gd name="T15" fmla="*/ 0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 h="157">
                        <a:moveTo>
                          <a:pt x="0" y="0"/>
                        </a:moveTo>
                        <a:lnTo>
                          <a:pt x="0" y="58"/>
                        </a:lnTo>
                        <a:lnTo>
                          <a:pt x="36" y="78"/>
                        </a:lnTo>
                        <a:lnTo>
                          <a:pt x="0" y="99"/>
                        </a:lnTo>
                        <a:lnTo>
                          <a:pt x="0" y="157"/>
                        </a:lnTo>
                        <a:lnTo>
                          <a:pt x="110" y="92"/>
                        </a:lnTo>
                        <a:lnTo>
                          <a:pt x="110" y="65"/>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92" name="Freeform 198">
                    <a:extLst>
                      <a:ext uri="{FF2B5EF4-FFF2-40B4-BE49-F238E27FC236}">
                        <a16:creationId xmlns:a16="http://schemas.microsoft.com/office/drawing/2014/main" id="{F97C2004-B338-2242-8E52-4465BA81B8D0}"/>
                      </a:ext>
                    </a:extLst>
                  </p:cNvPr>
                  <p:cNvSpPr>
                    <a:spLocks/>
                  </p:cNvSpPr>
                  <p:nvPr/>
                </p:nvSpPr>
                <p:spPr bwMode="auto">
                  <a:xfrm>
                    <a:off x="7414751" y="5808663"/>
                    <a:ext cx="474489" cy="554668"/>
                  </a:xfrm>
                  <a:custGeom>
                    <a:avLst/>
                    <a:gdLst>
                      <a:gd name="T0" fmla="*/ 0 w 134"/>
                      <a:gd name="T1" fmla="*/ 0 h 157"/>
                      <a:gd name="T2" fmla="*/ 0 w 134"/>
                      <a:gd name="T3" fmla="*/ 65 h 157"/>
                      <a:gd name="T4" fmla="*/ 23 w 134"/>
                      <a:gd name="T5" fmla="*/ 78 h 157"/>
                      <a:gd name="T6" fmla="*/ 0 w 134"/>
                      <a:gd name="T7" fmla="*/ 92 h 157"/>
                      <a:gd name="T8" fmla="*/ 0 w 134"/>
                      <a:gd name="T9" fmla="*/ 157 h 157"/>
                      <a:gd name="T10" fmla="*/ 134 w 134"/>
                      <a:gd name="T11" fmla="*/ 78 h 157"/>
                      <a:gd name="T12" fmla="*/ 0 w 134"/>
                      <a:gd name="T13" fmla="*/ 0 h 157"/>
                    </a:gdLst>
                    <a:ahLst/>
                    <a:cxnLst>
                      <a:cxn ang="0">
                        <a:pos x="T0" y="T1"/>
                      </a:cxn>
                      <a:cxn ang="0">
                        <a:pos x="T2" y="T3"/>
                      </a:cxn>
                      <a:cxn ang="0">
                        <a:pos x="T4" y="T5"/>
                      </a:cxn>
                      <a:cxn ang="0">
                        <a:pos x="T6" y="T7"/>
                      </a:cxn>
                      <a:cxn ang="0">
                        <a:pos x="T8" y="T9"/>
                      </a:cxn>
                      <a:cxn ang="0">
                        <a:pos x="T10" y="T11"/>
                      </a:cxn>
                      <a:cxn ang="0">
                        <a:pos x="T12" y="T13"/>
                      </a:cxn>
                    </a:cxnLst>
                    <a:rect l="0" t="0" r="r" b="b"/>
                    <a:pathLst>
                      <a:path w="134" h="157">
                        <a:moveTo>
                          <a:pt x="0" y="0"/>
                        </a:moveTo>
                        <a:lnTo>
                          <a:pt x="0" y="65"/>
                        </a:lnTo>
                        <a:lnTo>
                          <a:pt x="23" y="78"/>
                        </a:lnTo>
                        <a:lnTo>
                          <a:pt x="0" y="92"/>
                        </a:lnTo>
                        <a:lnTo>
                          <a:pt x="0" y="157"/>
                        </a:lnTo>
                        <a:lnTo>
                          <a:pt x="134" y="78"/>
                        </a:lnTo>
                        <a:lnTo>
                          <a:pt x="0" y="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grpSp>
          </p:grpSp>
        </p:grpSp>
      </p:grpSp>
    </p:spTree>
    <p:extLst>
      <p:ext uri="{BB962C8B-B14F-4D97-AF65-F5344CB8AC3E}">
        <p14:creationId xmlns:p14="http://schemas.microsoft.com/office/powerpoint/2010/main" val="37096801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14C75-9637-45BA-A744-02DA7F8136C6}"/>
              </a:ext>
            </a:extLst>
          </p:cNvPr>
          <p:cNvSpPr>
            <a:spLocks noGrp="1"/>
          </p:cNvSpPr>
          <p:nvPr>
            <p:ph type="title"/>
          </p:nvPr>
        </p:nvSpPr>
        <p:spPr/>
        <p:txBody>
          <a:bodyPr/>
          <a:lstStyle/>
          <a:p>
            <a:r>
              <a:rPr lang="en-US"/>
              <a:t>CISOs want to execute on a </a:t>
            </a:r>
            <a:r>
              <a:rPr lang="en-US">
                <a:solidFill>
                  <a:schemeClr val="tx2"/>
                </a:solidFill>
                <a:latin typeface="CiscoSansTT" panose="020B0503020201020303" pitchFamily="34" charset="0"/>
                <a:cs typeface="CiscoSansTT" panose="020B0503020201020303" pitchFamily="34" charset="0"/>
              </a:rPr>
              <a:t>clear plan </a:t>
            </a:r>
            <a:r>
              <a:rPr lang="en-US"/>
              <a:t>to deliver…</a:t>
            </a:r>
            <a:endParaRPr lang="en-US">
              <a:solidFill>
                <a:schemeClr val="accent6"/>
              </a:solidFill>
            </a:endParaRPr>
          </a:p>
        </p:txBody>
      </p:sp>
      <p:grpSp>
        <p:nvGrpSpPr>
          <p:cNvPr id="1509" name="Group 1508">
            <a:extLst>
              <a:ext uri="{FF2B5EF4-FFF2-40B4-BE49-F238E27FC236}">
                <a16:creationId xmlns:a16="http://schemas.microsoft.com/office/drawing/2014/main" id="{9D007C03-231D-3A43-8AD0-270371CF9598}"/>
              </a:ext>
            </a:extLst>
          </p:cNvPr>
          <p:cNvGrpSpPr/>
          <p:nvPr/>
        </p:nvGrpSpPr>
        <p:grpSpPr>
          <a:xfrm>
            <a:off x="6224134" y="1295712"/>
            <a:ext cx="1706241" cy="2216965"/>
            <a:chOff x="6224134" y="1295712"/>
            <a:chExt cx="1706241" cy="2216965"/>
          </a:xfrm>
        </p:grpSpPr>
        <p:sp>
          <p:nvSpPr>
            <p:cNvPr id="1510" name="Your future...">
              <a:extLst>
                <a:ext uri="{FF2B5EF4-FFF2-40B4-BE49-F238E27FC236}">
                  <a16:creationId xmlns:a16="http://schemas.microsoft.com/office/drawing/2014/main" id="{007EE231-EBF3-C742-B323-3087016D0986}"/>
                </a:ext>
              </a:extLst>
            </p:cNvPr>
            <p:cNvSpPr txBox="1">
              <a:spLocks/>
            </p:cNvSpPr>
            <p:nvPr/>
          </p:nvSpPr>
          <p:spPr bwMode="auto">
            <a:xfrm>
              <a:off x="6617599" y="3063964"/>
              <a:ext cx="919418" cy="44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mn-lt"/>
                </a:rPr>
                <a:t>Future</a:t>
              </a:r>
              <a:endParaRPr lang="en-US" sz="1800" b="0" i="0" u="none" strike="noStrike" kern="1200" cap="none" spc="0" normalizeH="0" baseline="0" noProof="0">
                <a:ln>
                  <a:noFill/>
                </a:ln>
                <a:effectLst/>
                <a:uLnTx/>
                <a:uFillTx/>
                <a:latin typeface="+mn-lt"/>
              </a:endParaRPr>
            </a:p>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mn-lt"/>
                </a:rPr>
                <a:t>protected</a:t>
              </a:r>
              <a:endParaRPr lang="en-US" sz="1800" b="0" i="0" u="none" strike="noStrike" kern="1200" cap="none" spc="0" normalizeH="0" baseline="0" noProof="0">
                <a:ln>
                  <a:noFill/>
                </a:ln>
                <a:effectLst/>
                <a:uLnTx/>
                <a:uFillTx/>
                <a:latin typeface="+mn-lt"/>
              </a:endParaRPr>
            </a:p>
          </p:txBody>
        </p:sp>
        <p:grpSp>
          <p:nvGrpSpPr>
            <p:cNvPr id="1511" name="Group 1510">
              <a:extLst>
                <a:ext uri="{FF2B5EF4-FFF2-40B4-BE49-F238E27FC236}">
                  <a16:creationId xmlns:a16="http://schemas.microsoft.com/office/drawing/2014/main" id="{CD1D89D0-8254-6C41-BD50-64D29FEEAAD5}"/>
                </a:ext>
              </a:extLst>
            </p:cNvPr>
            <p:cNvGrpSpPr>
              <a:grpSpLocks noChangeAspect="1"/>
            </p:cNvGrpSpPr>
            <p:nvPr/>
          </p:nvGrpSpPr>
          <p:grpSpPr>
            <a:xfrm>
              <a:off x="6224134" y="1295712"/>
              <a:ext cx="1706241" cy="1433100"/>
              <a:chOff x="5380355" y="1146403"/>
              <a:chExt cx="3458034" cy="2904434"/>
            </a:xfrm>
          </p:grpSpPr>
          <p:sp>
            <p:nvSpPr>
              <p:cNvPr id="1512" name="Oval 1511">
                <a:extLst>
                  <a:ext uri="{FF2B5EF4-FFF2-40B4-BE49-F238E27FC236}">
                    <a16:creationId xmlns:a16="http://schemas.microsoft.com/office/drawing/2014/main" id="{2FB5CB61-E901-3745-A880-D7D141D638A5}"/>
                  </a:ext>
                </a:extLst>
              </p:cNvPr>
              <p:cNvSpPr/>
              <p:nvPr/>
            </p:nvSpPr>
            <p:spPr>
              <a:xfrm>
                <a:off x="6002312" y="1281575"/>
                <a:ext cx="2647784" cy="2647784"/>
              </a:xfrm>
              <a:prstGeom prst="ellipse">
                <a:avLst/>
              </a:prstGeom>
              <a:solidFill>
                <a:srgbClr val="6BBF4E">
                  <a:lumMod val="20000"/>
                  <a:lumOff val="80000"/>
                </a:srgbClr>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grpSp>
            <p:nvGrpSpPr>
              <p:cNvPr id="1513" name="Group 1512">
                <a:extLst>
                  <a:ext uri="{FF2B5EF4-FFF2-40B4-BE49-F238E27FC236}">
                    <a16:creationId xmlns:a16="http://schemas.microsoft.com/office/drawing/2014/main" id="{B8904C23-FD9F-7440-8FF6-3783D50CCC7B}"/>
                  </a:ext>
                </a:extLst>
              </p:cNvPr>
              <p:cNvGrpSpPr/>
              <p:nvPr/>
            </p:nvGrpSpPr>
            <p:grpSpPr>
              <a:xfrm>
                <a:off x="5380355" y="2150357"/>
                <a:ext cx="1855353" cy="1727200"/>
                <a:chOff x="6860201" y="2704884"/>
                <a:chExt cx="1679289" cy="1563293"/>
              </a:xfrm>
            </p:grpSpPr>
            <p:cxnSp>
              <p:nvCxnSpPr>
                <p:cNvPr id="1736" name="Straight Connector 1735">
                  <a:extLst>
                    <a:ext uri="{FF2B5EF4-FFF2-40B4-BE49-F238E27FC236}">
                      <a16:creationId xmlns:a16="http://schemas.microsoft.com/office/drawing/2014/main" id="{205D13F8-590F-FC4E-8DFA-93DBC3A53231}"/>
                    </a:ext>
                  </a:extLst>
                </p:cNvPr>
                <p:cNvCxnSpPr/>
                <p:nvPr/>
              </p:nvCxnSpPr>
              <p:spPr>
                <a:xfrm flipV="1">
                  <a:off x="6860201" y="2704884"/>
                  <a:ext cx="1259378" cy="1212850"/>
                </a:xfrm>
                <a:prstGeom prst="line">
                  <a:avLst/>
                </a:prstGeom>
                <a:noFill/>
                <a:ln w="6350" cap="flat" cmpd="sng" algn="ctr">
                  <a:solidFill>
                    <a:srgbClr val="0D274D"/>
                  </a:solidFill>
                  <a:prstDash val="solid"/>
                  <a:miter lim="800000"/>
                </a:ln>
                <a:effectLst/>
              </p:spPr>
            </p:cxnSp>
            <p:cxnSp>
              <p:nvCxnSpPr>
                <p:cNvPr id="1737" name="Straight Connector 1736">
                  <a:extLst>
                    <a:ext uri="{FF2B5EF4-FFF2-40B4-BE49-F238E27FC236}">
                      <a16:creationId xmlns:a16="http://schemas.microsoft.com/office/drawing/2014/main" id="{7AC9DBE9-31B6-6245-A660-BCE2ADBD733C}"/>
                    </a:ext>
                  </a:extLst>
                </p:cNvPr>
                <p:cNvCxnSpPr/>
                <p:nvPr/>
              </p:nvCxnSpPr>
              <p:spPr>
                <a:xfrm flipV="1">
                  <a:off x="6888195" y="2728247"/>
                  <a:ext cx="1259378" cy="1212850"/>
                </a:xfrm>
                <a:prstGeom prst="line">
                  <a:avLst/>
                </a:prstGeom>
                <a:noFill/>
                <a:ln w="6350" cap="flat" cmpd="sng" algn="ctr">
                  <a:solidFill>
                    <a:srgbClr val="0D274D"/>
                  </a:solidFill>
                  <a:prstDash val="solid"/>
                  <a:miter lim="800000"/>
                </a:ln>
                <a:effectLst/>
              </p:spPr>
            </p:cxnSp>
            <p:cxnSp>
              <p:nvCxnSpPr>
                <p:cNvPr id="1738" name="Straight Connector 1737">
                  <a:extLst>
                    <a:ext uri="{FF2B5EF4-FFF2-40B4-BE49-F238E27FC236}">
                      <a16:creationId xmlns:a16="http://schemas.microsoft.com/office/drawing/2014/main" id="{78278183-C44B-CD4A-B7DB-0D940B41E041}"/>
                    </a:ext>
                  </a:extLst>
                </p:cNvPr>
                <p:cNvCxnSpPr/>
                <p:nvPr/>
              </p:nvCxnSpPr>
              <p:spPr>
                <a:xfrm flipV="1">
                  <a:off x="6972177" y="2798336"/>
                  <a:ext cx="1259378" cy="1212850"/>
                </a:xfrm>
                <a:prstGeom prst="line">
                  <a:avLst/>
                </a:prstGeom>
                <a:noFill/>
                <a:ln w="6350" cap="flat" cmpd="sng" algn="ctr">
                  <a:solidFill>
                    <a:srgbClr val="0D274D"/>
                  </a:solidFill>
                  <a:prstDash val="solid"/>
                  <a:miter lim="800000"/>
                </a:ln>
                <a:effectLst/>
              </p:spPr>
            </p:cxnSp>
            <p:cxnSp>
              <p:nvCxnSpPr>
                <p:cNvPr id="1739" name="Straight Connector 1738">
                  <a:extLst>
                    <a:ext uri="{FF2B5EF4-FFF2-40B4-BE49-F238E27FC236}">
                      <a16:creationId xmlns:a16="http://schemas.microsoft.com/office/drawing/2014/main" id="{D7E5BE4B-1FE3-834A-9E7D-A214161EF83B}"/>
                    </a:ext>
                  </a:extLst>
                </p:cNvPr>
                <p:cNvCxnSpPr/>
                <p:nvPr/>
              </p:nvCxnSpPr>
              <p:spPr>
                <a:xfrm flipV="1">
                  <a:off x="7028165" y="2845062"/>
                  <a:ext cx="1259378" cy="1212850"/>
                </a:xfrm>
                <a:prstGeom prst="line">
                  <a:avLst/>
                </a:prstGeom>
                <a:noFill/>
                <a:ln w="6350" cap="flat" cmpd="sng" algn="ctr">
                  <a:solidFill>
                    <a:srgbClr val="0D274D"/>
                  </a:solidFill>
                  <a:prstDash val="solid"/>
                  <a:miter lim="800000"/>
                </a:ln>
                <a:effectLst/>
              </p:spPr>
            </p:cxnSp>
            <p:cxnSp>
              <p:nvCxnSpPr>
                <p:cNvPr id="1740" name="Straight Connector 1739">
                  <a:extLst>
                    <a:ext uri="{FF2B5EF4-FFF2-40B4-BE49-F238E27FC236}">
                      <a16:creationId xmlns:a16="http://schemas.microsoft.com/office/drawing/2014/main" id="{D8C2A6B2-6944-6E4D-86F1-4632BF8972AE}"/>
                    </a:ext>
                  </a:extLst>
                </p:cNvPr>
                <p:cNvCxnSpPr/>
                <p:nvPr/>
              </p:nvCxnSpPr>
              <p:spPr>
                <a:xfrm flipV="1">
                  <a:off x="7084153" y="2891788"/>
                  <a:ext cx="1259378" cy="1212850"/>
                </a:xfrm>
                <a:prstGeom prst="line">
                  <a:avLst/>
                </a:prstGeom>
                <a:noFill/>
                <a:ln w="6350" cap="flat" cmpd="sng" algn="ctr">
                  <a:solidFill>
                    <a:srgbClr val="0D274D"/>
                  </a:solidFill>
                  <a:prstDash val="solid"/>
                  <a:miter lim="800000"/>
                </a:ln>
                <a:effectLst/>
              </p:spPr>
            </p:cxnSp>
            <p:cxnSp>
              <p:nvCxnSpPr>
                <p:cNvPr id="1741" name="Straight Connector 1740">
                  <a:extLst>
                    <a:ext uri="{FF2B5EF4-FFF2-40B4-BE49-F238E27FC236}">
                      <a16:creationId xmlns:a16="http://schemas.microsoft.com/office/drawing/2014/main" id="{FCB3CFED-09D1-154C-BF31-AFBA1A28BAD3}"/>
                    </a:ext>
                  </a:extLst>
                </p:cNvPr>
                <p:cNvCxnSpPr/>
                <p:nvPr/>
              </p:nvCxnSpPr>
              <p:spPr>
                <a:xfrm flipV="1">
                  <a:off x="7140141" y="2938514"/>
                  <a:ext cx="1259378" cy="1212850"/>
                </a:xfrm>
                <a:prstGeom prst="line">
                  <a:avLst/>
                </a:prstGeom>
                <a:noFill/>
                <a:ln w="6350" cap="flat" cmpd="sng" algn="ctr">
                  <a:solidFill>
                    <a:srgbClr val="0D274D"/>
                  </a:solidFill>
                  <a:prstDash val="solid"/>
                  <a:miter lim="800000"/>
                </a:ln>
                <a:effectLst/>
              </p:spPr>
            </p:cxnSp>
            <p:cxnSp>
              <p:nvCxnSpPr>
                <p:cNvPr id="1742" name="Straight Connector 1741">
                  <a:extLst>
                    <a:ext uri="{FF2B5EF4-FFF2-40B4-BE49-F238E27FC236}">
                      <a16:creationId xmlns:a16="http://schemas.microsoft.com/office/drawing/2014/main" id="{2E4229DC-0F47-0F40-AD0A-0686F0E6E1A4}"/>
                    </a:ext>
                  </a:extLst>
                </p:cNvPr>
                <p:cNvCxnSpPr/>
                <p:nvPr/>
              </p:nvCxnSpPr>
              <p:spPr>
                <a:xfrm flipV="1">
                  <a:off x="7196129" y="2985240"/>
                  <a:ext cx="1259378" cy="1212850"/>
                </a:xfrm>
                <a:prstGeom prst="line">
                  <a:avLst/>
                </a:prstGeom>
                <a:noFill/>
                <a:ln w="6350" cap="flat" cmpd="sng" algn="ctr">
                  <a:solidFill>
                    <a:srgbClr val="0D274D"/>
                  </a:solidFill>
                  <a:prstDash val="solid"/>
                  <a:miter lim="800000"/>
                </a:ln>
                <a:effectLst/>
              </p:spPr>
            </p:cxnSp>
            <p:cxnSp>
              <p:nvCxnSpPr>
                <p:cNvPr id="1743" name="Straight Connector 1742">
                  <a:extLst>
                    <a:ext uri="{FF2B5EF4-FFF2-40B4-BE49-F238E27FC236}">
                      <a16:creationId xmlns:a16="http://schemas.microsoft.com/office/drawing/2014/main" id="{8FA89824-E537-1A43-B1C8-13CCEF9E498F}"/>
                    </a:ext>
                  </a:extLst>
                </p:cNvPr>
                <p:cNvCxnSpPr/>
                <p:nvPr/>
              </p:nvCxnSpPr>
              <p:spPr>
                <a:xfrm flipV="1">
                  <a:off x="7252117" y="3031966"/>
                  <a:ext cx="1259378" cy="1212850"/>
                </a:xfrm>
                <a:prstGeom prst="line">
                  <a:avLst/>
                </a:prstGeom>
                <a:noFill/>
                <a:ln w="6350" cap="flat" cmpd="sng" algn="ctr">
                  <a:solidFill>
                    <a:srgbClr val="0D274D"/>
                  </a:solidFill>
                  <a:prstDash val="solid"/>
                  <a:miter lim="800000"/>
                </a:ln>
                <a:effectLst/>
              </p:spPr>
            </p:cxnSp>
            <p:cxnSp>
              <p:nvCxnSpPr>
                <p:cNvPr id="1744" name="Straight Connector 1743">
                  <a:extLst>
                    <a:ext uri="{FF2B5EF4-FFF2-40B4-BE49-F238E27FC236}">
                      <a16:creationId xmlns:a16="http://schemas.microsoft.com/office/drawing/2014/main" id="{99663BE5-CA42-3242-A2F5-55BBC14FCBD6}"/>
                    </a:ext>
                  </a:extLst>
                </p:cNvPr>
                <p:cNvCxnSpPr/>
                <p:nvPr/>
              </p:nvCxnSpPr>
              <p:spPr>
                <a:xfrm flipV="1">
                  <a:off x="6916189" y="2751610"/>
                  <a:ext cx="1259378" cy="1212850"/>
                </a:xfrm>
                <a:prstGeom prst="line">
                  <a:avLst/>
                </a:prstGeom>
                <a:noFill/>
                <a:ln w="6350" cap="flat" cmpd="sng" algn="ctr">
                  <a:solidFill>
                    <a:srgbClr val="0D274D"/>
                  </a:solidFill>
                  <a:prstDash val="solid"/>
                  <a:miter lim="800000"/>
                </a:ln>
                <a:effectLst/>
              </p:spPr>
            </p:cxnSp>
            <p:cxnSp>
              <p:nvCxnSpPr>
                <p:cNvPr id="1745" name="Straight Connector 1744">
                  <a:extLst>
                    <a:ext uri="{FF2B5EF4-FFF2-40B4-BE49-F238E27FC236}">
                      <a16:creationId xmlns:a16="http://schemas.microsoft.com/office/drawing/2014/main" id="{15503B32-3BC0-2042-8E4F-FBB6DBBF00C3}"/>
                    </a:ext>
                  </a:extLst>
                </p:cNvPr>
                <p:cNvCxnSpPr/>
                <p:nvPr/>
              </p:nvCxnSpPr>
              <p:spPr>
                <a:xfrm flipV="1">
                  <a:off x="6944183" y="2774973"/>
                  <a:ext cx="1259378" cy="1212850"/>
                </a:xfrm>
                <a:prstGeom prst="line">
                  <a:avLst/>
                </a:prstGeom>
                <a:noFill/>
                <a:ln w="6350" cap="flat" cmpd="sng" algn="ctr">
                  <a:solidFill>
                    <a:srgbClr val="0D274D"/>
                  </a:solidFill>
                  <a:prstDash val="solid"/>
                  <a:miter lim="800000"/>
                </a:ln>
                <a:effectLst/>
              </p:spPr>
            </p:cxnSp>
            <p:cxnSp>
              <p:nvCxnSpPr>
                <p:cNvPr id="1746" name="Straight Connector 1745">
                  <a:extLst>
                    <a:ext uri="{FF2B5EF4-FFF2-40B4-BE49-F238E27FC236}">
                      <a16:creationId xmlns:a16="http://schemas.microsoft.com/office/drawing/2014/main" id="{C47398B9-78A4-9B48-80E4-79E5BB0404F9}"/>
                    </a:ext>
                  </a:extLst>
                </p:cNvPr>
                <p:cNvCxnSpPr/>
                <p:nvPr/>
              </p:nvCxnSpPr>
              <p:spPr>
                <a:xfrm flipV="1">
                  <a:off x="7000171" y="2821699"/>
                  <a:ext cx="1259378" cy="1212850"/>
                </a:xfrm>
                <a:prstGeom prst="line">
                  <a:avLst/>
                </a:prstGeom>
                <a:noFill/>
                <a:ln w="6350" cap="flat" cmpd="sng" algn="ctr">
                  <a:solidFill>
                    <a:srgbClr val="0D274D"/>
                  </a:solidFill>
                  <a:prstDash val="solid"/>
                  <a:miter lim="800000"/>
                </a:ln>
                <a:effectLst/>
              </p:spPr>
            </p:cxnSp>
            <p:cxnSp>
              <p:nvCxnSpPr>
                <p:cNvPr id="1747" name="Straight Connector 1746">
                  <a:extLst>
                    <a:ext uri="{FF2B5EF4-FFF2-40B4-BE49-F238E27FC236}">
                      <a16:creationId xmlns:a16="http://schemas.microsoft.com/office/drawing/2014/main" id="{3BF96C08-746F-B842-B577-4EFDDA5D5A76}"/>
                    </a:ext>
                  </a:extLst>
                </p:cNvPr>
                <p:cNvCxnSpPr/>
                <p:nvPr/>
              </p:nvCxnSpPr>
              <p:spPr>
                <a:xfrm flipV="1">
                  <a:off x="7056159" y="2868425"/>
                  <a:ext cx="1259378" cy="1212850"/>
                </a:xfrm>
                <a:prstGeom prst="line">
                  <a:avLst/>
                </a:prstGeom>
                <a:noFill/>
                <a:ln w="6350" cap="flat" cmpd="sng" algn="ctr">
                  <a:solidFill>
                    <a:srgbClr val="0D274D"/>
                  </a:solidFill>
                  <a:prstDash val="solid"/>
                  <a:miter lim="800000"/>
                </a:ln>
                <a:effectLst/>
              </p:spPr>
            </p:cxnSp>
            <p:cxnSp>
              <p:nvCxnSpPr>
                <p:cNvPr id="1748" name="Straight Connector 1747">
                  <a:extLst>
                    <a:ext uri="{FF2B5EF4-FFF2-40B4-BE49-F238E27FC236}">
                      <a16:creationId xmlns:a16="http://schemas.microsoft.com/office/drawing/2014/main" id="{2D9C33F6-D43D-B143-8FF8-213506008EF8}"/>
                    </a:ext>
                  </a:extLst>
                </p:cNvPr>
                <p:cNvCxnSpPr/>
                <p:nvPr/>
              </p:nvCxnSpPr>
              <p:spPr>
                <a:xfrm flipV="1">
                  <a:off x="7112147" y="2915151"/>
                  <a:ext cx="1259378" cy="1212850"/>
                </a:xfrm>
                <a:prstGeom prst="line">
                  <a:avLst/>
                </a:prstGeom>
                <a:noFill/>
                <a:ln w="6350" cap="flat" cmpd="sng" algn="ctr">
                  <a:solidFill>
                    <a:srgbClr val="0D274D"/>
                  </a:solidFill>
                  <a:prstDash val="solid"/>
                  <a:miter lim="800000"/>
                </a:ln>
                <a:effectLst/>
              </p:spPr>
            </p:cxnSp>
            <p:cxnSp>
              <p:nvCxnSpPr>
                <p:cNvPr id="1749" name="Straight Connector 1748">
                  <a:extLst>
                    <a:ext uri="{FF2B5EF4-FFF2-40B4-BE49-F238E27FC236}">
                      <a16:creationId xmlns:a16="http://schemas.microsoft.com/office/drawing/2014/main" id="{333A22B3-1B71-4943-A32F-E40A78018501}"/>
                    </a:ext>
                  </a:extLst>
                </p:cNvPr>
                <p:cNvCxnSpPr/>
                <p:nvPr/>
              </p:nvCxnSpPr>
              <p:spPr>
                <a:xfrm flipV="1">
                  <a:off x="7168135" y="2961877"/>
                  <a:ext cx="1259378" cy="1212850"/>
                </a:xfrm>
                <a:prstGeom prst="line">
                  <a:avLst/>
                </a:prstGeom>
                <a:noFill/>
                <a:ln w="6350" cap="flat" cmpd="sng" algn="ctr">
                  <a:solidFill>
                    <a:srgbClr val="0D274D"/>
                  </a:solidFill>
                  <a:prstDash val="solid"/>
                  <a:miter lim="800000"/>
                </a:ln>
                <a:effectLst/>
              </p:spPr>
            </p:cxnSp>
            <p:cxnSp>
              <p:nvCxnSpPr>
                <p:cNvPr id="1750" name="Straight Connector 1749">
                  <a:extLst>
                    <a:ext uri="{FF2B5EF4-FFF2-40B4-BE49-F238E27FC236}">
                      <a16:creationId xmlns:a16="http://schemas.microsoft.com/office/drawing/2014/main" id="{2D32D4E9-7286-6746-B9E0-A916FE4CF5B5}"/>
                    </a:ext>
                  </a:extLst>
                </p:cNvPr>
                <p:cNvCxnSpPr/>
                <p:nvPr/>
              </p:nvCxnSpPr>
              <p:spPr>
                <a:xfrm flipV="1">
                  <a:off x="7224123" y="3008603"/>
                  <a:ext cx="1259378" cy="1212850"/>
                </a:xfrm>
                <a:prstGeom prst="line">
                  <a:avLst/>
                </a:prstGeom>
                <a:noFill/>
                <a:ln w="6350" cap="flat" cmpd="sng" algn="ctr">
                  <a:solidFill>
                    <a:srgbClr val="0D274D"/>
                  </a:solidFill>
                  <a:prstDash val="solid"/>
                  <a:miter lim="800000"/>
                </a:ln>
                <a:effectLst/>
              </p:spPr>
            </p:cxnSp>
            <p:cxnSp>
              <p:nvCxnSpPr>
                <p:cNvPr id="1751" name="Straight Connector 1750">
                  <a:extLst>
                    <a:ext uri="{FF2B5EF4-FFF2-40B4-BE49-F238E27FC236}">
                      <a16:creationId xmlns:a16="http://schemas.microsoft.com/office/drawing/2014/main" id="{C648D1D4-5F1F-2D4E-A277-C9AE932B0D83}"/>
                    </a:ext>
                  </a:extLst>
                </p:cNvPr>
                <p:cNvCxnSpPr/>
                <p:nvPr/>
              </p:nvCxnSpPr>
              <p:spPr>
                <a:xfrm flipV="1">
                  <a:off x="7280112" y="3055327"/>
                  <a:ext cx="1259378" cy="1212850"/>
                </a:xfrm>
                <a:prstGeom prst="line">
                  <a:avLst/>
                </a:prstGeom>
                <a:noFill/>
                <a:ln w="6350" cap="flat" cmpd="sng" algn="ctr">
                  <a:solidFill>
                    <a:srgbClr val="0D274D"/>
                  </a:solidFill>
                  <a:prstDash val="solid"/>
                  <a:miter lim="800000"/>
                </a:ln>
                <a:effectLst/>
              </p:spPr>
            </p:cxnSp>
          </p:grpSp>
          <p:sp>
            <p:nvSpPr>
              <p:cNvPr id="1514" name="Arc 1513">
                <a:extLst>
                  <a:ext uri="{FF2B5EF4-FFF2-40B4-BE49-F238E27FC236}">
                    <a16:creationId xmlns:a16="http://schemas.microsoft.com/office/drawing/2014/main" id="{BB722575-59F0-F349-BAE0-EA43604454A6}"/>
                  </a:ext>
                </a:extLst>
              </p:cNvPr>
              <p:cNvSpPr/>
              <p:nvPr/>
            </p:nvSpPr>
            <p:spPr>
              <a:xfrm flipH="1">
                <a:off x="5812807" y="1146403"/>
                <a:ext cx="2904434" cy="2904434"/>
              </a:xfrm>
              <a:prstGeom prst="arc">
                <a:avLst>
                  <a:gd name="adj1" fmla="val 10740278"/>
                  <a:gd name="adj2" fmla="val 17887486"/>
                </a:avLst>
              </a:prstGeom>
              <a:noFill/>
              <a:ln w="15875" cap="rnd"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15" name="Oval 1514">
                <a:extLst>
                  <a:ext uri="{FF2B5EF4-FFF2-40B4-BE49-F238E27FC236}">
                    <a16:creationId xmlns:a16="http://schemas.microsoft.com/office/drawing/2014/main" id="{0E6BC188-2B49-374F-97B9-386882935BE6}"/>
                  </a:ext>
                </a:extLst>
              </p:cNvPr>
              <p:cNvSpPr/>
              <p:nvPr/>
            </p:nvSpPr>
            <p:spPr>
              <a:xfrm>
                <a:off x="5941352" y="1281575"/>
                <a:ext cx="2647784" cy="2647784"/>
              </a:xfrm>
              <a:prstGeom prst="ellipse">
                <a:avLst/>
              </a:prstGeom>
              <a:solidFill>
                <a:srgbClr val="0D274D"/>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16" name="Oval 1515">
                <a:extLst>
                  <a:ext uri="{FF2B5EF4-FFF2-40B4-BE49-F238E27FC236}">
                    <a16:creationId xmlns:a16="http://schemas.microsoft.com/office/drawing/2014/main" id="{7704590F-77F2-024A-8620-FD749A5A109E}"/>
                  </a:ext>
                </a:extLst>
              </p:cNvPr>
              <p:cNvSpPr/>
              <p:nvPr/>
            </p:nvSpPr>
            <p:spPr>
              <a:xfrm>
                <a:off x="5699438" y="1423815"/>
                <a:ext cx="1025865" cy="1025865"/>
              </a:xfrm>
              <a:prstGeom prst="ellipse">
                <a:avLst/>
              </a:prstGeom>
              <a:solidFill>
                <a:srgbClr val="01BCEA"/>
              </a:solidFill>
              <a:ln w="25400" cap="flat" cmpd="sng" algn="ctr">
                <a:no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grpSp>
            <p:nvGrpSpPr>
              <p:cNvPr id="1517" name="Group 1516">
                <a:extLst>
                  <a:ext uri="{FF2B5EF4-FFF2-40B4-BE49-F238E27FC236}">
                    <a16:creationId xmlns:a16="http://schemas.microsoft.com/office/drawing/2014/main" id="{AEF1204C-3809-A449-AF8A-356ABA0542AA}"/>
                  </a:ext>
                </a:extLst>
              </p:cNvPr>
              <p:cNvGrpSpPr/>
              <p:nvPr/>
            </p:nvGrpSpPr>
            <p:grpSpPr>
              <a:xfrm rot="1430743">
                <a:off x="6552609" y="1841805"/>
                <a:ext cx="816998" cy="341297"/>
                <a:chOff x="4010392" y="4875092"/>
                <a:chExt cx="498334" cy="208179"/>
              </a:xfrm>
              <a:solidFill>
                <a:srgbClr val="74BF4B"/>
              </a:solidFill>
            </p:grpSpPr>
            <p:sp>
              <p:nvSpPr>
                <p:cNvPr id="1676" name="Freeform: Shape 520">
                  <a:extLst>
                    <a:ext uri="{FF2B5EF4-FFF2-40B4-BE49-F238E27FC236}">
                      <a16:creationId xmlns:a16="http://schemas.microsoft.com/office/drawing/2014/main" id="{AA675E60-8D7D-2341-8CC3-F0D6812DD4B5}"/>
                    </a:ext>
                  </a:extLst>
                </p:cNvPr>
                <p:cNvSpPr/>
                <p:nvPr/>
              </p:nvSpPr>
              <p:spPr>
                <a:xfrm>
                  <a:off x="4010536" y="4972383"/>
                  <a:ext cx="42922" cy="42922"/>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7" name="Freeform: Shape 521">
                  <a:extLst>
                    <a:ext uri="{FF2B5EF4-FFF2-40B4-BE49-F238E27FC236}">
                      <a16:creationId xmlns:a16="http://schemas.microsoft.com/office/drawing/2014/main" id="{C27A47F3-D49F-6344-8C40-B00720E230E6}"/>
                    </a:ext>
                  </a:extLst>
                </p:cNvPr>
                <p:cNvSpPr/>
                <p:nvPr/>
              </p:nvSpPr>
              <p:spPr>
                <a:xfrm>
                  <a:off x="4062044" y="497281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8" name="Freeform: Shape 522">
                  <a:extLst>
                    <a:ext uri="{FF2B5EF4-FFF2-40B4-BE49-F238E27FC236}">
                      <a16:creationId xmlns:a16="http://schemas.microsoft.com/office/drawing/2014/main" id="{A02E611C-0D7B-F945-8997-F884CB5684CF}"/>
                    </a:ext>
                  </a:extLst>
                </p:cNvPr>
                <p:cNvSpPr/>
                <p:nvPr/>
              </p:nvSpPr>
              <p:spPr>
                <a:xfrm>
                  <a:off x="4115125" y="4974966"/>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9" name="Freeform: Shape 523">
                  <a:extLst>
                    <a:ext uri="{FF2B5EF4-FFF2-40B4-BE49-F238E27FC236}">
                      <a16:creationId xmlns:a16="http://schemas.microsoft.com/office/drawing/2014/main" id="{1DE3C376-3166-8846-85A7-8A01730EBE8E}"/>
                    </a:ext>
                  </a:extLst>
                </p:cNvPr>
                <p:cNvSpPr/>
                <p:nvPr/>
              </p:nvSpPr>
              <p:spPr>
                <a:xfrm>
                  <a:off x="4166918" y="4974103"/>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0" name="Freeform: Shape 524">
                  <a:extLst>
                    <a:ext uri="{FF2B5EF4-FFF2-40B4-BE49-F238E27FC236}">
                      <a16:creationId xmlns:a16="http://schemas.microsoft.com/office/drawing/2014/main" id="{874F2286-9882-8C4D-86D5-209D14B8C19C}"/>
                    </a:ext>
                  </a:extLst>
                </p:cNvPr>
                <p:cNvSpPr/>
                <p:nvPr/>
              </p:nvSpPr>
              <p:spPr>
                <a:xfrm>
                  <a:off x="4219068" y="4975609"/>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1" name="Freeform: Shape 525">
                  <a:extLst>
                    <a:ext uri="{FF2B5EF4-FFF2-40B4-BE49-F238E27FC236}">
                      <a16:creationId xmlns:a16="http://schemas.microsoft.com/office/drawing/2014/main" id="{A0E4F391-DDBD-8D48-8173-587D199D582E}"/>
                    </a:ext>
                  </a:extLst>
                </p:cNvPr>
                <p:cNvSpPr/>
                <p:nvPr/>
              </p:nvSpPr>
              <p:spPr>
                <a:xfrm>
                  <a:off x="4271362" y="497538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2" name="Freeform: Shape 526">
                  <a:extLst>
                    <a:ext uri="{FF2B5EF4-FFF2-40B4-BE49-F238E27FC236}">
                      <a16:creationId xmlns:a16="http://schemas.microsoft.com/office/drawing/2014/main" id="{BF90354A-DC88-9846-A19D-D9943BF38A9F}"/>
                    </a:ext>
                  </a:extLst>
                </p:cNvPr>
                <p:cNvSpPr/>
                <p:nvPr/>
              </p:nvSpPr>
              <p:spPr>
                <a:xfrm>
                  <a:off x="4323513" y="4976791"/>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3" name="Freeform: Shape 527">
                  <a:extLst>
                    <a:ext uri="{FF2B5EF4-FFF2-40B4-BE49-F238E27FC236}">
                      <a16:creationId xmlns:a16="http://schemas.microsoft.com/office/drawing/2014/main" id="{21BAC6E0-05D7-5542-B456-8209D5C7FD2D}"/>
                    </a:ext>
                  </a:extLst>
                </p:cNvPr>
                <p:cNvSpPr/>
                <p:nvPr/>
              </p:nvSpPr>
              <p:spPr>
                <a:xfrm>
                  <a:off x="4375808" y="4976820"/>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4" name="Freeform: Shape 528">
                  <a:extLst>
                    <a:ext uri="{FF2B5EF4-FFF2-40B4-BE49-F238E27FC236}">
                      <a16:creationId xmlns:a16="http://schemas.microsoft.com/office/drawing/2014/main" id="{57ED7E99-43C8-DB43-851F-6EC5169FF522}"/>
                    </a:ext>
                  </a:extLst>
                </p:cNvPr>
                <p:cNvSpPr/>
                <p:nvPr/>
              </p:nvSpPr>
              <p:spPr>
                <a:xfrm>
                  <a:off x="4428601" y="4977249"/>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5" name="Freeform: Shape 529">
                  <a:extLst>
                    <a:ext uri="{FF2B5EF4-FFF2-40B4-BE49-F238E27FC236}">
                      <a16:creationId xmlns:a16="http://schemas.microsoft.com/office/drawing/2014/main" id="{3B6517D8-3C20-1F40-96DC-250569473D31}"/>
                    </a:ext>
                  </a:extLst>
                </p:cNvPr>
                <p:cNvSpPr/>
                <p:nvPr/>
              </p:nvSpPr>
              <p:spPr>
                <a:xfrm>
                  <a:off x="4480111" y="4977961"/>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6" name="Freeform: Shape 530">
                  <a:extLst>
                    <a:ext uri="{FF2B5EF4-FFF2-40B4-BE49-F238E27FC236}">
                      <a16:creationId xmlns:a16="http://schemas.microsoft.com/office/drawing/2014/main" id="{5CF24E44-8868-AD4A-B540-6187CC7F2144}"/>
                    </a:ext>
                  </a:extLst>
                </p:cNvPr>
                <p:cNvSpPr/>
                <p:nvPr/>
              </p:nvSpPr>
              <p:spPr>
                <a:xfrm>
                  <a:off x="4010396" y="500471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7" name="Freeform: Shape 531">
                  <a:extLst>
                    <a:ext uri="{FF2B5EF4-FFF2-40B4-BE49-F238E27FC236}">
                      <a16:creationId xmlns:a16="http://schemas.microsoft.com/office/drawing/2014/main" id="{08DBBCB8-4896-C543-8A22-D04933795C8B}"/>
                    </a:ext>
                  </a:extLst>
                </p:cNvPr>
                <p:cNvSpPr/>
                <p:nvPr/>
              </p:nvSpPr>
              <p:spPr>
                <a:xfrm>
                  <a:off x="4062048" y="5005150"/>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8" name="Freeform: Shape 532">
                  <a:extLst>
                    <a:ext uri="{FF2B5EF4-FFF2-40B4-BE49-F238E27FC236}">
                      <a16:creationId xmlns:a16="http://schemas.microsoft.com/office/drawing/2014/main" id="{E336B1AC-4E0E-8D4F-A2C5-996642CFE23B}"/>
                    </a:ext>
                  </a:extLst>
                </p:cNvPr>
                <p:cNvSpPr/>
                <p:nvPr/>
              </p:nvSpPr>
              <p:spPr>
                <a:xfrm>
                  <a:off x="4114841" y="500600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89" name="Freeform: Shape 533">
                  <a:extLst>
                    <a:ext uri="{FF2B5EF4-FFF2-40B4-BE49-F238E27FC236}">
                      <a16:creationId xmlns:a16="http://schemas.microsoft.com/office/drawing/2014/main" id="{6DFDB9C5-9748-A84A-A16A-13A5484F13AB}"/>
                    </a:ext>
                  </a:extLst>
                </p:cNvPr>
                <p:cNvSpPr/>
                <p:nvPr/>
              </p:nvSpPr>
              <p:spPr>
                <a:xfrm>
                  <a:off x="4166920" y="5006581"/>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0" name="Freeform: Shape 534">
                  <a:extLst>
                    <a:ext uri="{FF2B5EF4-FFF2-40B4-BE49-F238E27FC236}">
                      <a16:creationId xmlns:a16="http://schemas.microsoft.com/office/drawing/2014/main" id="{96FFC718-C5D6-C140-9AB3-9C450D960CC7}"/>
                    </a:ext>
                  </a:extLst>
                </p:cNvPr>
                <p:cNvSpPr/>
                <p:nvPr/>
              </p:nvSpPr>
              <p:spPr>
                <a:xfrm>
                  <a:off x="4219001" y="5007011"/>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1" name="Freeform: Shape 535">
                  <a:extLst>
                    <a:ext uri="{FF2B5EF4-FFF2-40B4-BE49-F238E27FC236}">
                      <a16:creationId xmlns:a16="http://schemas.microsoft.com/office/drawing/2014/main" id="{D08ED946-A8BD-3C4E-8FB5-EB0DDA7D0497}"/>
                    </a:ext>
                  </a:extLst>
                </p:cNvPr>
                <p:cNvSpPr/>
                <p:nvPr/>
              </p:nvSpPr>
              <p:spPr>
                <a:xfrm>
                  <a:off x="4271365" y="500786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2" name="Freeform: Shape 536">
                  <a:extLst>
                    <a:ext uri="{FF2B5EF4-FFF2-40B4-BE49-F238E27FC236}">
                      <a16:creationId xmlns:a16="http://schemas.microsoft.com/office/drawing/2014/main" id="{54D8EEEB-9EE1-D34A-B5B3-EDFA83FD216B}"/>
                    </a:ext>
                  </a:extLst>
                </p:cNvPr>
                <p:cNvSpPr/>
                <p:nvPr/>
              </p:nvSpPr>
              <p:spPr>
                <a:xfrm>
                  <a:off x="4323444" y="5008441"/>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3" name="Freeform: Shape 537">
                  <a:extLst>
                    <a:ext uri="{FF2B5EF4-FFF2-40B4-BE49-F238E27FC236}">
                      <a16:creationId xmlns:a16="http://schemas.microsoft.com/office/drawing/2014/main" id="{7FDA11DB-9DCB-7944-BE35-0DB811104808}"/>
                    </a:ext>
                  </a:extLst>
                </p:cNvPr>
                <p:cNvSpPr/>
                <p:nvPr/>
              </p:nvSpPr>
              <p:spPr>
                <a:xfrm>
                  <a:off x="4375809" y="5009155"/>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4" name="Freeform: Shape 538">
                  <a:extLst>
                    <a:ext uri="{FF2B5EF4-FFF2-40B4-BE49-F238E27FC236}">
                      <a16:creationId xmlns:a16="http://schemas.microsoft.com/office/drawing/2014/main" id="{CF8F95EC-D5BB-B74A-8A99-8B78972E7756}"/>
                    </a:ext>
                  </a:extLst>
                </p:cNvPr>
                <p:cNvSpPr/>
                <p:nvPr/>
              </p:nvSpPr>
              <p:spPr>
                <a:xfrm>
                  <a:off x="4428604" y="500972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5" name="Freeform: Shape 539">
                  <a:extLst>
                    <a:ext uri="{FF2B5EF4-FFF2-40B4-BE49-F238E27FC236}">
                      <a16:creationId xmlns:a16="http://schemas.microsoft.com/office/drawing/2014/main" id="{7CBA45DA-39A3-1344-AB76-9CEB6BE8846E}"/>
                    </a:ext>
                  </a:extLst>
                </p:cNvPr>
                <p:cNvSpPr/>
                <p:nvPr/>
              </p:nvSpPr>
              <p:spPr>
                <a:xfrm>
                  <a:off x="4479967" y="5010302"/>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6" name="Freeform: Shape 540">
                  <a:extLst>
                    <a:ext uri="{FF2B5EF4-FFF2-40B4-BE49-F238E27FC236}">
                      <a16:creationId xmlns:a16="http://schemas.microsoft.com/office/drawing/2014/main" id="{4644865B-FFB0-CF42-B2B2-EC3BDC53D74F}"/>
                    </a:ext>
                  </a:extLst>
                </p:cNvPr>
                <p:cNvSpPr/>
                <p:nvPr/>
              </p:nvSpPr>
              <p:spPr>
                <a:xfrm>
                  <a:off x="4010538" y="5037198"/>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7" name="Freeform: Shape 541">
                  <a:extLst>
                    <a:ext uri="{FF2B5EF4-FFF2-40B4-BE49-F238E27FC236}">
                      <a16:creationId xmlns:a16="http://schemas.microsoft.com/office/drawing/2014/main" id="{72E52A7E-5428-324F-AE40-AB054559E38D}"/>
                    </a:ext>
                  </a:extLst>
                </p:cNvPr>
                <p:cNvSpPr/>
                <p:nvPr/>
              </p:nvSpPr>
              <p:spPr>
                <a:xfrm>
                  <a:off x="4062048" y="5037629"/>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8" name="Freeform: Shape 542">
                  <a:extLst>
                    <a:ext uri="{FF2B5EF4-FFF2-40B4-BE49-F238E27FC236}">
                      <a16:creationId xmlns:a16="http://schemas.microsoft.com/office/drawing/2014/main" id="{A4B691EC-557C-9344-B2E1-E818A28398B7}"/>
                    </a:ext>
                  </a:extLst>
                </p:cNvPr>
                <p:cNvSpPr/>
                <p:nvPr/>
              </p:nvSpPr>
              <p:spPr>
                <a:xfrm>
                  <a:off x="4114841" y="5038486"/>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99" name="Freeform: Shape 543">
                  <a:extLst>
                    <a:ext uri="{FF2B5EF4-FFF2-40B4-BE49-F238E27FC236}">
                      <a16:creationId xmlns:a16="http://schemas.microsoft.com/office/drawing/2014/main" id="{C0D255FC-BC05-2049-9006-6ECE7FEC1617}"/>
                    </a:ext>
                  </a:extLst>
                </p:cNvPr>
                <p:cNvSpPr/>
                <p:nvPr/>
              </p:nvSpPr>
              <p:spPr>
                <a:xfrm>
                  <a:off x="4166922" y="5038917"/>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0" name="Freeform: Shape 544">
                  <a:extLst>
                    <a:ext uri="{FF2B5EF4-FFF2-40B4-BE49-F238E27FC236}">
                      <a16:creationId xmlns:a16="http://schemas.microsoft.com/office/drawing/2014/main" id="{A009A675-EF52-554A-94A0-7CF4DB9497AC}"/>
                    </a:ext>
                  </a:extLst>
                </p:cNvPr>
                <p:cNvSpPr/>
                <p:nvPr/>
              </p:nvSpPr>
              <p:spPr>
                <a:xfrm>
                  <a:off x="4219001" y="503948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1" name="Freeform: Shape 545">
                  <a:extLst>
                    <a:ext uri="{FF2B5EF4-FFF2-40B4-BE49-F238E27FC236}">
                      <a16:creationId xmlns:a16="http://schemas.microsoft.com/office/drawing/2014/main" id="{1917E192-7EEF-D44C-B6D1-9B2C455197C3}"/>
                    </a:ext>
                  </a:extLst>
                </p:cNvPr>
                <p:cNvSpPr/>
                <p:nvPr/>
              </p:nvSpPr>
              <p:spPr>
                <a:xfrm>
                  <a:off x="4271364" y="5040349"/>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2" name="Freeform: Shape 546">
                  <a:extLst>
                    <a:ext uri="{FF2B5EF4-FFF2-40B4-BE49-F238E27FC236}">
                      <a16:creationId xmlns:a16="http://schemas.microsoft.com/office/drawing/2014/main" id="{F8136419-4D05-C543-9DCD-EE6B764B1856}"/>
                    </a:ext>
                  </a:extLst>
                </p:cNvPr>
                <p:cNvSpPr/>
                <p:nvPr/>
              </p:nvSpPr>
              <p:spPr>
                <a:xfrm>
                  <a:off x="4323445" y="5040780"/>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3" name="Freeform: Shape 547">
                  <a:extLst>
                    <a:ext uri="{FF2B5EF4-FFF2-40B4-BE49-F238E27FC236}">
                      <a16:creationId xmlns:a16="http://schemas.microsoft.com/office/drawing/2014/main" id="{B9040172-A6B0-BB43-AC13-8BC625EAA46A}"/>
                    </a:ext>
                  </a:extLst>
                </p:cNvPr>
                <p:cNvSpPr/>
                <p:nvPr/>
              </p:nvSpPr>
              <p:spPr>
                <a:xfrm>
                  <a:off x="4375809" y="504163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4" name="Freeform: Shape 548">
                  <a:extLst>
                    <a:ext uri="{FF2B5EF4-FFF2-40B4-BE49-F238E27FC236}">
                      <a16:creationId xmlns:a16="http://schemas.microsoft.com/office/drawing/2014/main" id="{7ED4DF24-5220-AE48-84E1-1AE4CB0FF479}"/>
                    </a:ext>
                  </a:extLst>
                </p:cNvPr>
                <p:cNvSpPr/>
                <p:nvPr/>
              </p:nvSpPr>
              <p:spPr>
                <a:xfrm>
                  <a:off x="4429185" y="5042066"/>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5" name="Freeform: Shape 549">
                  <a:extLst>
                    <a:ext uri="{FF2B5EF4-FFF2-40B4-BE49-F238E27FC236}">
                      <a16:creationId xmlns:a16="http://schemas.microsoft.com/office/drawing/2014/main" id="{62260D36-F522-9D4A-8908-8AF88DD8955C}"/>
                    </a:ext>
                  </a:extLst>
                </p:cNvPr>
                <p:cNvSpPr/>
                <p:nvPr/>
              </p:nvSpPr>
              <p:spPr>
                <a:xfrm>
                  <a:off x="4480110" y="504277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6" name="Freeform: Shape 550">
                  <a:extLst>
                    <a:ext uri="{FF2B5EF4-FFF2-40B4-BE49-F238E27FC236}">
                      <a16:creationId xmlns:a16="http://schemas.microsoft.com/office/drawing/2014/main" id="{271DAE93-4EAB-CA46-B1AA-EE1BB3DA679C}"/>
                    </a:ext>
                  </a:extLst>
                </p:cNvPr>
                <p:cNvSpPr/>
                <p:nvPr/>
              </p:nvSpPr>
              <p:spPr>
                <a:xfrm>
                  <a:off x="4010538" y="4875092"/>
                  <a:ext cx="42922" cy="42922"/>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7" name="Freeform: Shape 551">
                  <a:extLst>
                    <a:ext uri="{FF2B5EF4-FFF2-40B4-BE49-F238E27FC236}">
                      <a16:creationId xmlns:a16="http://schemas.microsoft.com/office/drawing/2014/main" id="{4D810636-DA80-A145-9BE0-5A7DBF7679A5}"/>
                    </a:ext>
                  </a:extLst>
                </p:cNvPr>
                <p:cNvSpPr/>
                <p:nvPr/>
              </p:nvSpPr>
              <p:spPr>
                <a:xfrm>
                  <a:off x="4062048" y="48755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8" name="Freeform: Shape 552">
                  <a:extLst>
                    <a:ext uri="{FF2B5EF4-FFF2-40B4-BE49-F238E27FC236}">
                      <a16:creationId xmlns:a16="http://schemas.microsoft.com/office/drawing/2014/main" id="{BE3D226C-0059-0144-A150-403722E0D8F9}"/>
                    </a:ext>
                  </a:extLst>
                </p:cNvPr>
                <p:cNvSpPr/>
                <p:nvPr/>
              </p:nvSpPr>
              <p:spPr>
                <a:xfrm>
                  <a:off x="4115127" y="4877827"/>
                  <a:ext cx="42922" cy="42922"/>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09" name="Freeform: Shape 553">
                  <a:extLst>
                    <a:ext uri="{FF2B5EF4-FFF2-40B4-BE49-F238E27FC236}">
                      <a16:creationId xmlns:a16="http://schemas.microsoft.com/office/drawing/2014/main" id="{EA773D1C-4280-8340-A9C6-5838B5320CCA}"/>
                    </a:ext>
                  </a:extLst>
                </p:cNvPr>
                <p:cNvSpPr/>
                <p:nvPr/>
              </p:nvSpPr>
              <p:spPr>
                <a:xfrm>
                  <a:off x="4166922" y="4876832"/>
                  <a:ext cx="42922" cy="42922"/>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0" name="Freeform: Shape 554">
                  <a:extLst>
                    <a:ext uri="{FF2B5EF4-FFF2-40B4-BE49-F238E27FC236}">
                      <a16:creationId xmlns:a16="http://schemas.microsoft.com/office/drawing/2014/main" id="{7F7D93A7-2C4E-D94E-B47A-95ED32847C0C}"/>
                    </a:ext>
                  </a:extLst>
                </p:cNvPr>
                <p:cNvSpPr/>
                <p:nvPr/>
              </p:nvSpPr>
              <p:spPr>
                <a:xfrm>
                  <a:off x="4219001" y="4877399"/>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1" name="Freeform: Shape 555">
                  <a:extLst>
                    <a:ext uri="{FF2B5EF4-FFF2-40B4-BE49-F238E27FC236}">
                      <a16:creationId xmlns:a16="http://schemas.microsoft.com/office/drawing/2014/main" id="{F0CBD131-C676-9C4C-8E0C-A1A82B71E2A9}"/>
                    </a:ext>
                  </a:extLst>
                </p:cNvPr>
                <p:cNvSpPr/>
                <p:nvPr/>
              </p:nvSpPr>
              <p:spPr>
                <a:xfrm>
                  <a:off x="4271365" y="4878261"/>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2" name="Freeform: Shape 556">
                  <a:extLst>
                    <a:ext uri="{FF2B5EF4-FFF2-40B4-BE49-F238E27FC236}">
                      <a16:creationId xmlns:a16="http://schemas.microsoft.com/office/drawing/2014/main" id="{FE7857AD-CE06-B945-941F-60CA3D9D5140}"/>
                    </a:ext>
                  </a:extLst>
                </p:cNvPr>
                <p:cNvSpPr/>
                <p:nvPr/>
              </p:nvSpPr>
              <p:spPr>
                <a:xfrm>
                  <a:off x="4323445" y="4878694"/>
                  <a:ext cx="28615" cy="28616"/>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3" name="Freeform: Shape 557">
                  <a:extLst>
                    <a:ext uri="{FF2B5EF4-FFF2-40B4-BE49-F238E27FC236}">
                      <a16:creationId xmlns:a16="http://schemas.microsoft.com/office/drawing/2014/main" id="{AE44E488-D6DA-EA41-BC76-D1A95340E871}"/>
                    </a:ext>
                  </a:extLst>
                </p:cNvPr>
                <p:cNvSpPr/>
                <p:nvPr/>
              </p:nvSpPr>
              <p:spPr>
                <a:xfrm>
                  <a:off x="4375808" y="4879540"/>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4" name="Freeform: Shape 558">
                  <a:extLst>
                    <a:ext uri="{FF2B5EF4-FFF2-40B4-BE49-F238E27FC236}">
                      <a16:creationId xmlns:a16="http://schemas.microsoft.com/office/drawing/2014/main" id="{E0AED7F3-95B5-F748-BF6C-F997CB2E3966}"/>
                    </a:ext>
                  </a:extLst>
                </p:cNvPr>
                <p:cNvSpPr/>
                <p:nvPr/>
              </p:nvSpPr>
              <p:spPr>
                <a:xfrm>
                  <a:off x="4427888" y="4879883"/>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5" name="Freeform: Shape 559">
                  <a:extLst>
                    <a:ext uri="{FF2B5EF4-FFF2-40B4-BE49-F238E27FC236}">
                      <a16:creationId xmlns:a16="http://schemas.microsoft.com/office/drawing/2014/main" id="{44251FFB-6D55-7D47-9B3A-E77FF21FE65E}"/>
                    </a:ext>
                  </a:extLst>
                </p:cNvPr>
                <p:cNvSpPr/>
                <p:nvPr/>
              </p:nvSpPr>
              <p:spPr>
                <a:xfrm>
                  <a:off x="4480110" y="4880686"/>
                  <a:ext cx="28615" cy="28616"/>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6" name="Freeform: Shape 560">
                  <a:extLst>
                    <a:ext uri="{FF2B5EF4-FFF2-40B4-BE49-F238E27FC236}">
                      <a16:creationId xmlns:a16="http://schemas.microsoft.com/office/drawing/2014/main" id="{C28EC98B-7D46-3242-9808-850B9B999882}"/>
                    </a:ext>
                  </a:extLst>
                </p:cNvPr>
                <p:cNvSpPr/>
                <p:nvPr/>
              </p:nvSpPr>
              <p:spPr>
                <a:xfrm>
                  <a:off x="4010395" y="4907453"/>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7" name="Freeform: Shape 561">
                  <a:extLst>
                    <a:ext uri="{FF2B5EF4-FFF2-40B4-BE49-F238E27FC236}">
                      <a16:creationId xmlns:a16="http://schemas.microsoft.com/office/drawing/2014/main" id="{0A549BB9-35BD-1A41-A5DF-70034C8DA206}"/>
                    </a:ext>
                  </a:extLst>
                </p:cNvPr>
                <p:cNvSpPr/>
                <p:nvPr/>
              </p:nvSpPr>
              <p:spPr>
                <a:xfrm>
                  <a:off x="4062045" y="4908014"/>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8" name="Freeform: Shape 562">
                  <a:extLst>
                    <a:ext uri="{FF2B5EF4-FFF2-40B4-BE49-F238E27FC236}">
                      <a16:creationId xmlns:a16="http://schemas.microsoft.com/office/drawing/2014/main" id="{1F3666E4-1DCA-2245-9DCA-B94064590C42}"/>
                    </a:ext>
                  </a:extLst>
                </p:cNvPr>
                <p:cNvSpPr/>
                <p:nvPr/>
              </p:nvSpPr>
              <p:spPr>
                <a:xfrm>
                  <a:off x="4114840" y="4908737"/>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19" name="Freeform: Shape 563">
                  <a:extLst>
                    <a:ext uri="{FF2B5EF4-FFF2-40B4-BE49-F238E27FC236}">
                      <a16:creationId xmlns:a16="http://schemas.microsoft.com/office/drawing/2014/main" id="{5415F99F-A587-7942-9666-7ED97235F372}"/>
                    </a:ext>
                  </a:extLst>
                </p:cNvPr>
                <p:cNvSpPr/>
                <p:nvPr/>
              </p:nvSpPr>
              <p:spPr>
                <a:xfrm>
                  <a:off x="4166919" y="4909320"/>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0" name="Freeform: Shape 564">
                  <a:extLst>
                    <a:ext uri="{FF2B5EF4-FFF2-40B4-BE49-F238E27FC236}">
                      <a16:creationId xmlns:a16="http://schemas.microsoft.com/office/drawing/2014/main" id="{B5B29FF1-66F8-8A41-9DED-CFE2F094E0E5}"/>
                    </a:ext>
                  </a:extLst>
                </p:cNvPr>
                <p:cNvSpPr/>
                <p:nvPr/>
              </p:nvSpPr>
              <p:spPr>
                <a:xfrm>
                  <a:off x="4219069" y="4910826"/>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1" name="Freeform: Shape 565">
                  <a:extLst>
                    <a:ext uri="{FF2B5EF4-FFF2-40B4-BE49-F238E27FC236}">
                      <a16:creationId xmlns:a16="http://schemas.microsoft.com/office/drawing/2014/main" id="{0CBBC12C-8438-314A-8D0C-829AF65AF6C9}"/>
                    </a:ext>
                  </a:extLst>
                </p:cNvPr>
                <p:cNvSpPr/>
                <p:nvPr/>
              </p:nvSpPr>
              <p:spPr>
                <a:xfrm>
                  <a:off x="4271363" y="4910613"/>
                  <a:ext cx="42922" cy="42923"/>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2" name="Freeform: Shape 566">
                  <a:extLst>
                    <a:ext uri="{FF2B5EF4-FFF2-40B4-BE49-F238E27FC236}">
                      <a16:creationId xmlns:a16="http://schemas.microsoft.com/office/drawing/2014/main" id="{AFD3757D-3D51-B945-B342-39C3C546D5E5}"/>
                    </a:ext>
                  </a:extLst>
                </p:cNvPr>
                <p:cNvSpPr/>
                <p:nvPr/>
              </p:nvSpPr>
              <p:spPr>
                <a:xfrm>
                  <a:off x="4323513" y="4912016"/>
                  <a:ext cx="28615" cy="28616"/>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3" name="Freeform: Shape 567">
                  <a:extLst>
                    <a:ext uri="{FF2B5EF4-FFF2-40B4-BE49-F238E27FC236}">
                      <a16:creationId xmlns:a16="http://schemas.microsoft.com/office/drawing/2014/main" id="{D4B90000-0BDB-F14A-9635-7AF2B1508E41}"/>
                    </a:ext>
                  </a:extLst>
                </p:cNvPr>
                <p:cNvSpPr/>
                <p:nvPr/>
              </p:nvSpPr>
              <p:spPr>
                <a:xfrm>
                  <a:off x="4375808" y="4911917"/>
                  <a:ext cx="28615" cy="28616"/>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4" name="Freeform: Shape 568">
                  <a:extLst>
                    <a:ext uri="{FF2B5EF4-FFF2-40B4-BE49-F238E27FC236}">
                      <a16:creationId xmlns:a16="http://schemas.microsoft.com/office/drawing/2014/main" id="{1D36A9B2-1E99-5144-BDFA-3842F3180F4B}"/>
                    </a:ext>
                  </a:extLst>
                </p:cNvPr>
                <p:cNvSpPr/>
                <p:nvPr/>
              </p:nvSpPr>
              <p:spPr>
                <a:xfrm>
                  <a:off x="4428603" y="4912506"/>
                  <a:ext cx="28615" cy="28616"/>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5" name="Freeform: Shape 569">
                  <a:extLst>
                    <a:ext uri="{FF2B5EF4-FFF2-40B4-BE49-F238E27FC236}">
                      <a16:creationId xmlns:a16="http://schemas.microsoft.com/office/drawing/2014/main" id="{4D46D315-1340-9A48-B05E-BC4E6BB33190}"/>
                    </a:ext>
                  </a:extLst>
                </p:cNvPr>
                <p:cNvSpPr/>
                <p:nvPr/>
              </p:nvSpPr>
              <p:spPr>
                <a:xfrm>
                  <a:off x="4480108" y="4913206"/>
                  <a:ext cx="28615" cy="28616"/>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6" name="Freeform: Shape 570">
                  <a:extLst>
                    <a:ext uri="{FF2B5EF4-FFF2-40B4-BE49-F238E27FC236}">
                      <a16:creationId xmlns:a16="http://schemas.microsoft.com/office/drawing/2014/main" id="{5B568CF0-3ACA-E643-9F1A-D2F593A05F36}"/>
                    </a:ext>
                  </a:extLst>
                </p:cNvPr>
                <p:cNvSpPr/>
                <p:nvPr/>
              </p:nvSpPr>
              <p:spPr>
                <a:xfrm>
                  <a:off x="4010392" y="4939942"/>
                  <a:ext cx="42922" cy="42923"/>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7" name="Freeform: Shape 571">
                  <a:extLst>
                    <a:ext uri="{FF2B5EF4-FFF2-40B4-BE49-F238E27FC236}">
                      <a16:creationId xmlns:a16="http://schemas.microsoft.com/office/drawing/2014/main" id="{E0B2796F-B97F-354A-B6D1-4FD52F5C41C9}"/>
                    </a:ext>
                  </a:extLst>
                </p:cNvPr>
                <p:cNvSpPr/>
                <p:nvPr/>
              </p:nvSpPr>
              <p:spPr>
                <a:xfrm>
                  <a:off x="4062046" y="4940357"/>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8" name="Freeform: Shape 572">
                  <a:extLst>
                    <a:ext uri="{FF2B5EF4-FFF2-40B4-BE49-F238E27FC236}">
                      <a16:creationId xmlns:a16="http://schemas.microsoft.com/office/drawing/2014/main" id="{7C25648C-788B-AC43-ACDA-A6ABBFB16857}"/>
                    </a:ext>
                  </a:extLst>
                </p:cNvPr>
                <p:cNvSpPr/>
                <p:nvPr/>
              </p:nvSpPr>
              <p:spPr>
                <a:xfrm>
                  <a:off x="4114836" y="4941205"/>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29" name="Freeform: Shape 573">
                  <a:extLst>
                    <a:ext uri="{FF2B5EF4-FFF2-40B4-BE49-F238E27FC236}">
                      <a16:creationId xmlns:a16="http://schemas.microsoft.com/office/drawing/2014/main" id="{B092D856-4E16-FC40-B302-E7A09798574C}"/>
                    </a:ext>
                  </a:extLst>
                </p:cNvPr>
                <p:cNvSpPr/>
                <p:nvPr/>
              </p:nvSpPr>
              <p:spPr>
                <a:xfrm>
                  <a:off x="4166917" y="4941787"/>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0" name="Freeform: Shape 574">
                  <a:extLst>
                    <a:ext uri="{FF2B5EF4-FFF2-40B4-BE49-F238E27FC236}">
                      <a16:creationId xmlns:a16="http://schemas.microsoft.com/office/drawing/2014/main" id="{25B65AD6-4301-D64C-9E93-D1AA8D1D5AD2}"/>
                    </a:ext>
                  </a:extLst>
                </p:cNvPr>
                <p:cNvSpPr/>
                <p:nvPr/>
              </p:nvSpPr>
              <p:spPr>
                <a:xfrm>
                  <a:off x="4218997" y="4942195"/>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1" name="Freeform: Shape 575">
                  <a:extLst>
                    <a:ext uri="{FF2B5EF4-FFF2-40B4-BE49-F238E27FC236}">
                      <a16:creationId xmlns:a16="http://schemas.microsoft.com/office/drawing/2014/main" id="{C5C1D74F-548D-274B-BB12-ED6B892BB13B}"/>
                    </a:ext>
                  </a:extLst>
                </p:cNvPr>
                <p:cNvSpPr/>
                <p:nvPr/>
              </p:nvSpPr>
              <p:spPr>
                <a:xfrm>
                  <a:off x="4271359"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2" name="Freeform: Shape 576">
                  <a:extLst>
                    <a:ext uri="{FF2B5EF4-FFF2-40B4-BE49-F238E27FC236}">
                      <a16:creationId xmlns:a16="http://schemas.microsoft.com/office/drawing/2014/main" id="{193A80C2-811F-1147-9186-AC066F5E5BA9}"/>
                    </a:ext>
                  </a:extLst>
                </p:cNvPr>
                <p:cNvSpPr/>
                <p:nvPr/>
              </p:nvSpPr>
              <p:spPr>
                <a:xfrm>
                  <a:off x="4323513"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3" name="Freeform: Shape 577">
                  <a:extLst>
                    <a:ext uri="{FF2B5EF4-FFF2-40B4-BE49-F238E27FC236}">
                      <a16:creationId xmlns:a16="http://schemas.microsoft.com/office/drawing/2014/main" id="{07D04A2E-6641-BD48-A85B-3EAC27802F81}"/>
                    </a:ext>
                  </a:extLst>
                </p:cNvPr>
                <p:cNvSpPr/>
                <p:nvPr/>
              </p:nvSpPr>
              <p:spPr>
                <a:xfrm>
                  <a:off x="4375812"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4" name="Freeform: Shape 578">
                  <a:extLst>
                    <a:ext uri="{FF2B5EF4-FFF2-40B4-BE49-F238E27FC236}">
                      <a16:creationId xmlns:a16="http://schemas.microsoft.com/office/drawing/2014/main" id="{672698B0-D518-D342-B088-F145B6E79C93}"/>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735" name="Freeform: Shape 579">
                  <a:extLst>
                    <a:ext uri="{FF2B5EF4-FFF2-40B4-BE49-F238E27FC236}">
                      <a16:creationId xmlns:a16="http://schemas.microsoft.com/office/drawing/2014/main" id="{3E87CE85-F890-3D41-B674-AB3251FE3760}"/>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grpSp>
          <p:grpSp>
            <p:nvGrpSpPr>
              <p:cNvPr id="1518" name="Group 1517">
                <a:extLst>
                  <a:ext uri="{FF2B5EF4-FFF2-40B4-BE49-F238E27FC236}">
                    <a16:creationId xmlns:a16="http://schemas.microsoft.com/office/drawing/2014/main" id="{4B86DB42-F6E8-1E4C-B348-DBDC33523470}"/>
                  </a:ext>
                </a:extLst>
              </p:cNvPr>
              <p:cNvGrpSpPr/>
              <p:nvPr/>
            </p:nvGrpSpPr>
            <p:grpSpPr>
              <a:xfrm rot="1348360">
                <a:off x="6291529" y="2458550"/>
                <a:ext cx="816983" cy="341277"/>
                <a:chOff x="4010404" y="4875001"/>
                <a:chExt cx="498331" cy="208165"/>
              </a:xfrm>
              <a:solidFill>
                <a:srgbClr val="74BF4B"/>
              </a:solidFill>
            </p:grpSpPr>
            <p:sp>
              <p:nvSpPr>
                <p:cNvPr id="1616" name="Freeform: Shape 460">
                  <a:extLst>
                    <a:ext uri="{FF2B5EF4-FFF2-40B4-BE49-F238E27FC236}">
                      <a16:creationId xmlns:a16="http://schemas.microsoft.com/office/drawing/2014/main" id="{197E4975-2AC8-7E4D-B63A-E7768835585E}"/>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7" name="Freeform: Shape 461">
                  <a:extLst>
                    <a:ext uri="{FF2B5EF4-FFF2-40B4-BE49-F238E27FC236}">
                      <a16:creationId xmlns:a16="http://schemas.microsoft.com/office/drawing/2014/main" id="{79C7FA94-3005-A446-981A-2390AE6A74F4}"/>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8" name="Freeform: Shape 462">
                  <a:extLst>
                    <a:ext uri="{FF2B5EF4-FFF2-40B4-BE49-F238E27FC236}">
                      <a16:creationId xmlns:a16="http://schemas.microsoft.com/office/drawing/2014/main" id="{D9185D2F-3F57-2643-9263-90331E4332E8}"/>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9" name="Freeform: Shape 463">
                  <a:extLst>
                    <a:ext uri="{FF2B5EF4-FFF2-40B4-BE49-F238E27FC236}">
                      <a16:creationId xmlns:a16="http://schemas.microsoft.com/office/drawing/2014/main" id="{37CF3652-C4C2-9B49-B799-7278DAC1D991}"/>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0" name="Freeform: Shape 464">
                  <a:extLst>
                    <a:ext uri="{FF2B5EF4-FFF2-40B4-BE49-F238E27FC236}">
                      <a16:creationId xmlns:a16="http://schemas.microsoft.com/office/drawing/2014/main" id="{BE4AF353-80AC-DC4D-AB11-6CC56799730F}"/>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1" name="Freeform: Shape 465">
                  <a:extLst>
                    <a:ext uri="{FF2B5EF4-FFF2-40B4-BE49-F238E27FC236}">
                      <a16:creationId xmlns:a16="http://schemas.microsoft.com/office/drawing/2014/main" id="{E4AFB607-7B65-354E-941A-A3650C43C82A}"/>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2" name="Freeform: Shape 466">
                  <a:extLst>
                    <a:ext uri="{FF2B5EF4-FFF2-40B4-BE49-F238E27FC236}">
                      <a16:creationId xmlns:a16="http://schemas.microsoft.com/office/drawing/2014/main" id="{65715214-2FF5-AE48-BE92-213A753CA0DF}"/>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3" name="Freeform: Shape 467">
                  <a:extLst>
                    <a:ext uri="{FF2B5EF4-FFF2-40B4-BE49-F238E27FC236}">
                      <a16:creationId xmlns:a16="http://schemas.microsoft.com/office/drawing/2014/main" id="{D7987199-A43B-344C-83DD-D2B37F2E4E83}"/>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4" name="Freeform: Shape 468">
                  <a:extLst>
                    <a:ext uri="{FF2B5EF4-FFF2-40B4-BE49-F238E27FC236}">
                      <a16:creationId xmlns:a16="http://schemas.microsoft.com/office/drawing/2014/main" id="{FA322688-8905-2847-8DEC-22281B05A300}"/>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5" name="Freeform: Shape 469">
                  <a:extLst>
                    <a:ext uri="{FF2B5EF4-FFF2-40B4-BE49-F238E27FC236}">
                      <a16:creationId xmlns:a16="http://schemas.microsoft.com/office/drawing/2014/main" id="{5A69436D-6607-5241-BE2C-141D28D0EC8A}"/>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6" name="Freeform: Shape 470">
                  <a:extLst>
                    <a:ext uri="{FF2B5EF4-FFF2-40B4-BE49-F238E27FC236}">
                      <a16:creationId xmlns:a16="http://schemas.microsoft.com/office/drawing/2014/main" id="{98F0A8FC-B1DA-5542-B5A0-23541CA8CDAB}"/>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7" name="Freeform: Shape 471">
                  <a:extLst>
                    <a:ext uri="{FF2B5EF4-FFF2-40B4-BE49-F238E27FC236}">
                      <a16:creationId xmlns:a16="http://schemas.microsoft.com/office/drawing/2014/main" id="{E62D14E3-C6A0-0E46-9F03-083B6A46D6D6}"/>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8" name="Freeform: Shape 472">
                  <a:extLst>
                    <a:ext uri="{FF2B5EF4-FFF2-40B4-BE49-F238E27FC236}">
                      <a16:creationId xmlns:a16="http://schemas.microsoft.com/office/drawing/2014/main" id="{0CEA9AE7-771F-3E4F-8096-03A0EFE50819}"/>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29" name="Freeform: Shape 473">
                  <a:extLst>
                    <a:ext uri="{FF2B5EF4-FFF2-40B4-BE49-F238E27FC236}">
                      <a16:creationId xmlns:a16="http://schemas.microsoft.com/office/drawing/2014/main" id="{29E02D77-63E0-4C4E-AC6A-F9B2AC99B292}"/>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0" name="Freeform: Shape 474">
                  <a:extLst>
                    <a:ext uri="{FF2B5EF4-FFF2-40B4-BE49-F238E27FC236}">
                      <a16:creationId xmlns:a16="http://schemas.microsoft.com/office/drawing/2014/main" id="{6AE733A6-2238-E445-9C69-EE093BEC7C04}"/>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1" name="Freeform: Shape 475">
                  <a:extLst>
                    <a:ext uri="{FF2B5EF4-FFF2-40B4-BE49-F238E27FC236}">
                      <a16:creationId xmlns:a16="http://schemas.microsoft.com/office/drawing/2014/main" id="{5D99EE3C-6D3C-1646-8674-1FEE5A57D7CF}"/>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2" name="Freeform: Shape 476">
                  <a:extLst>
                    <a:ext uri="{FF2B5EF4-FFF2-40B4-BE49-F238E27FC236}">
                      <a16:creationId xmlns:a16="http://schemas.microsoft.com/office/drawing/2014/main" id="{585F5B61-8278-B947-A78F-2FD53C29B99C}"/>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3" name="Freeform: Shape 477">
                  <a:extLst>
                    <a:ext uri="{FF2B5EF4-FFF2-40B4-BE49-F238E27FC236}">
                      <a16:creationId xmlns:a16="http://schemas.microsoft.com/office/drawing/2014/main" id="{0E375ECD-8767-8249-8BEC-1FBC12F65471}"/>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4" name="Freeform: Shape 478">
                  <a:extLst>
                    <a:ext uri="{FF2B5EF4-FFF2-40B4-BE49-F238E27FC236}">
                      <a16:creationId xmlns:a16="http://schemas.microsoft.com/office/drawing/2014/main" id="{E3F12262-0AE4-C247-8A54-A383597CDF3D}"/>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5" name="Freeform: Shape 479">
                  <a:extLst>
                    <a:ext uri="{FF2B5EF4-FFF2-40B4-BE49-F238E27FC236}">
                      <a16:creationId xmlns:a16="http://schemas.microsoft.com/office/drawing/2014/main" id="{4BBD20E4-EED8-C941-A9E4-00E456907EFF}"/>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6" name="Freeform: Shape 480">
                  <a:extLst>
                    <a:ext uri="{FF2B5EF4-FFF2-40B4-BE49-F238E27FC236}">
                      <a16:creationId xmlns:a16="http://schemas.microsoft.com/office/drawing/2014/main" id="{D505291D-CDFE-8F4E-8E65-A83C686788DA}"/>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7" name="Freeform: Shape 481">
                  <a:extLst>
                    <a:ext uri="{FF2B5EF4-FFF2-40B4-BE49-F238E27FC236}">
                      <a16:creationId xmlns:a16="http://schemas.microsoft.com/office/drawing/2014/main" id="{90C75922-2A46-884B-8C67-A79FBCCA07F6}"/>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8" name="Freeform: Shape 482">
                  <a:extLst>
                    <a:ext uri="{FF2B5EF4-FFF2-40B4-BE49-F238E27FC236}">
                      <a16:creationId xmlns:a16="http://schemas.microsoft.com/office/drawing/2014/main" id="{26AE0BBA-85FD-C648-BD0C-BDF8CBFFB8C2}"/>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39" name="Freeform: Shape 483">
                  <a:extLst>
                    <a:ext uri="{FF2B5EF4-FFF2-40B4-BE49-F238E27FC236}">
                      <a16:creationId xmlns:a16="http://schemas.microsoft.com/office/drawing/2014/main" id="{7AA56513-3EE0-004C-8CB5-37816A6093CF}"/>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0" name="Freeform: Shape 484">
                  <a:extLst>
                    <a:ext uri="{FF2B5EF4-FFF2-40B4-BE49-F238E27FC236}">
                      <a16:creationId xmlns:a16="http://schemas.microsoft.com/office/drawing/2014/main" id="{9DCB278C-4D40-F546-969E-D13594851DCB}"/>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1" name="Freeform: Shape 485">
                  <a:extLst>
                    <a:ext uri="{FF2B5EF4-FFF2-40B4-BE49-F238E27FC236}">
                      <a16:creationId xmlns:a16="http://schemas.microsoft.com/office/drawing/2014/main" id="{EBB382FC-6981-0D42-896E-184F2706E024}"/>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2" name="Freeform: Shape 486">
                  <a:extLst>
                    <a:ext uri="{FF2B5EF4-FFF2-40B4-BE49-F238E27FC236}">
                      <a16:creationId xmlns:a16="http://schemas.microsoft.com/office/drawing/2014/main" id="{C9EF166E-60E3-4743-9A98-E84FBB021342}"/>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3" name="Freeform: Shape 487">
                  <a:extLst>
                    <a:ext uri="{FF2B5EF4-FFF2-40B4-BE49-F238E27FC236}">
                      <a16:creationId xmlns:a16="http://schemas.microsoft.com/office/drawing/2014/main" id="{916F8356-7A4B-6B43-A052-1F69C75102B7}"/>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4" name="Freeform: Shape 488">
                  <a:extLst>
                    <a:ext uri="{FF2B5EF4-FFF2-40B4-BE49-F238E27FC236}">
                      <a16:creationId xmlns:a16="http://schemas.microsoft.com/office/drawing/2014/main" id="{E86EF627-88AE-3042-BEFE-3D7426B6959C}"/>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5" name="Freeform: Shape 489">
                  <a:extLst>
                    <a:ext uri="{FF2B5EF4-FFF2-40B4-BE49-F238E27FC236}">
                      <a16:creationId xmlns:a16="http://schemas.microsoft.com/office/drawing/2014/main" id="{42672384-A7C8-CD43-8A05-A2936E3E17D4}"/>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6" name="Freeform: Shape 490">
                  <a:extLst>
                    <a:ext uri="{FF2B5EF4-FFF2-40B4-BE49-F238E27FC236}">
                      <a16:creationId xmlns:a16="http://schemas.microsoft.com/office/drawing/2014/main" id="{8E613373-817E-2445-B7E5-EDA832483AE8}"/>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7" name="Freeform: Shape 491">
                  <a:extLst>
                    <a:ext uri="{FF2B5EF4-FFF2-40B4-BE49-F238E27FC236}">
                      <a16:creationId xmlns:a16="http://schemas.microsoft.com/office/drawing/2014/main" id="{2A1532D9-5D10-F240-BFBC-F80A83FD1016}"/>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8" name="Freeform: Shape 492">
                  <a:extLst>
                    <a:ext uri="{FF2B5EF4-FFF2-40B4-BE49-F238E27FC236}">
                      <a16:creationId xmlns:a16="http://schemas.microsoft.com/office/drawing/2014/main" id="{6D4942E8-165A-3C4B-86E4-EB1AD63436C0}"/>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49" name="Freeform: Shape 493">
                  <a:extLst>
                    <a:ext uri="{FF2B5EF4-FFF2-40B4-BE49-F238E27FC236}">
                      <a16:creationId xmlns:a16="http://schemas.microsoft.com/office/drawing/2014/main" id="{5F077354-3F40-9446-B6F0-DA63100B5894}"/>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0" name="Freeform: Shape 494">
                  <a:extLst>
                    <a:ext uri="{FF2B5EF4-FFF2-40B4-BE49-F238E27FC236}">
                      <a16:creationId xmlns:a16="http://schemas.microsoft.com/office/drawing/2014/main" id="{8CEBB10F-3E00-A943-9A19-950394AA4EC3}"/>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1" name="Freeform: Shape 495">
                  <a:extLst>
                    <a:ext uri="{FF2B5EF4-FFF2-40B4-BE49-F238E27FC236}">
                      <a16:creationId xmlns:a16="http://schemas.microsoft.com/office/drawing/2014/main" id="{AEF45714-7F7C-6B43-BE99-FA50D701D017}"/>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2" name="Freeform: Shape 496">
                  <a:extLst>
                    <a:ext uri="{FF2B5EF4-FFF2-40B4-BE49-F238E27FC236}">
                      <a16:creationId xmlns:a16="http://schemas.microsoft.com/office/drawing/2014/main" id="{CC41BB97-9965-4741-B4F9-DC262F069FD2}"/>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3" name="Freeform: Shape 497">
                  <a:extLst>
                    <a:ext uri="{FF2B5EF4-FFF2-40B4-BE49-F238E27FC236}">
                      <a16:creationId xmlns:a16="http://schemas.microsoft.com/office/drawing/2014/main" id="{5D4F4803-D0A6-ED42-92B9-744D6B62A614}"/>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4" name="Freeform: Shape 498">
                  <a:extLst>
                    <a:ext uri="{FF2B5EF4-FFF2-40B4-BE49-F238E27FC236}">
                      <a16:creationId xmlns:a16="http://schemas.microsoft.com/office/drawing/2014/main" id="{0616AE99-F089-E64A-ADC1-8E23DAAEC907}"/>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5" name="Freeform: Shape 499">
                  <a:extLst>
                    <a:ext uri="{FF2B5EF4-FFF2-40B4-BE49-F238E27FC236}">
                      <a16:creationId xmlns:a16="http://schemas.microsoft.com/office/drawing/2014/main" id="{293E08E9-474B-AA43-B657-995A0F561E4A}"/>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6" name="Freeform: Shape 500">
                  <a:extLst>
                    <a:ext uri="{FF2B5EF4-FFF2-40B4-BE49-F238E27FC236}">
                      <a16:creationId xmlns:a16="http://schemas.microsoft.com/office/drawing/2014/main" id="{286764E2-BD43-7141-8BA1-4C42120D2D47}"/>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7" name="Freeform: Shape 501">
                  <a:extLst>
                    <a:ext uri="{FF2B5EF4-FFF2-40B4-BE49-F238E27FC236}">
                      <a16:creationId xmlns:a16="http://schemas.microsoft.com/office/drawing/2014/main" id="{A39FD85F-00BD-0044-9C4A-D6CA4C84C336}"/>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8" name="Freeform: Shape 502">
                  <a:extLst>
                    <a:ext uri="{FF2B5EF4-FFF2-40B4-BE49-F238E27FC236}">
                      <a16:creationId xmlns:a16="http://schemas.microsoft.com/office/drawing/2014/main" id="{2E40FAF5-4D8E-C54F-B856-788291BD4C3C}"/>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59" name="Freeform: Shape 503">
                  <a:extLst>
                    <a:ext uri="{FF2B5EF4-FFF2-40B4-BE49-F238E27FC236}">
                      <a16:creationId xmlns:a16="http://schemas.microsoft.com/office/drawing/2014/main" id="{0CA4D495-0348-E844-9216-D4CE1BD36B1C}"/>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0" name="Freeform: Shape 504">
                  <a:extLst>
                    <a:ext uri="{FF2B5EF4-FFF2-40B4-BE49-F238E27FC236}">
                      <a16:creationId xmlns:a16="http://schemas.microsoft.com/office/drawing/2014/main" id="{A615DF4D-8729-7F4C-A3AA-6AF09DD62252}"/>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1" name="Freeform: Shape 505">
                  <a:extLst>
                    <a:ext uri="{FF2B5EF4-FFF2-40B4-BE49-F238E27FC236}">
                      <a16:creationId xmlns:a16="http://schemas.microsoft.com/office/drawing/2014/main" id="{5D005F75-CA1B-3C45-AF80-6D84EF281CB6}"/>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2" name="Freeform: Shape 506">
                  <a:extLst>
                    <a:ext uri="{FF2B5EF4-FFF2-40B4-BE49-F238E27FC236}">
                      <a16:creationId xmlns:a16="http://schemas.microsoft.com/office/drawing/2014/main" id="{827EF701-3564-6B4C-88A7-3209CA4CB187}"/>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3" name="Freeform: Shape 507">
                  <a:extLst>
                    <a:ext uri="{FF2B5EF4-FFF2-40B4-BE49-F238E27FC236}">
                      <a16:creationId xmlns:a16="http://schemas.microsoft.com/office/drawing/2014/main" id="{DC08A715-6364-1047-A18E-9074FB0D906F}"/>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4" name="Freeform: Shape 508">
                  <a:extLst>
                    <a:ext uri="{FF2B5EF4-FFF2-40B4-BE49-F238E27FC236}">
                      <a16:creationId xmlns:a16="http://schemas.microsoft.com/office/drawing/2014/main" id="{E866307B-B53C-654D-B77C-98CD9F1E3D9E}"/>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5" name="Freeform: Shape 509">
                  <a:extLst>
                    <a:ext uri="{FF2B5EF4-FFF2-40B4-BE49-F238E27FC236}">
                      <a16:creationId xmlns:a16="http://schemas.microsoft.com/office/drawing/2014/main" id="{0CC880DD-F5BD-5147-80DE-B509BE7825AE}"/>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6" name="Freeform: Shape 510">
                  <a:extLst>
                    <a:ext uri="{FF2B5EF4-FFF2-40B4-BE49-F238E27FC236}">
                      <a16:creationId xmlns:a16="http://schemas.microsoft.com/office/drawing/2014/main" id="{17F07463-C088-2A48-A1F2-FC8606D9085B}"/>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7" name="Freeform: Shape 511">
                  <a:extLst>
                    <a:ext uri="{FF2B5EF4-FFF2-40B4-BE49-F238E27FC236}">
                      <a16:creationId xmlns:a16="http://schemas.microsoft.com/office/drawing/2014/main" id="{CD12535F-FD8E-4E4C-B420-9811D2718841}"/>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8" name="Freeform: Shape 512">
                  <a:extLst>
                    <a:ext uri="{FF2B5EF4-FFF2-40B4-BE49-F238E27FC236}">
                      <a16:creationId xmlns:a16="http://schemas.microsoft.com/office/drawing/2014/main" id="{0798DA48-AF75-734A-B19F-DABA6F0B96B5}"/>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69" name="Freeform: Shape 513">
                  <a:extLst>
                    <a:ext uri="{FF2B5EF4-FFF2-40B4-BE49-F238E27FC236}">
                      <a16:creationId xmlns:a16="http://schemas.microsoft.com/office/drawing/2014/main" id="{8F865B6B-45AE-3540-9C08-043D5ED56AB6}"/>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0" name="Freeform: Shape 514">
                  <a:extLst>
                    <a:ext uri="{FF2B5EF4-FFF2-40B4-BE49-F238E27FC236}">
                      <a16:creationId xmlns:a16="http://schemas.microsoft.com/office/drawing/2014/main" id="{ABB87599-E6CD-064A-A33D-ADDE41980712}"/>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1" name="Freeform: Shape 515">
                  <a:extLst>
                    <a:ext uri="{FF2B5EF4-FFF2-40B4-BE49-F238E27FC236}">
                      <a16:creationId xmlns:a16="http://schemas.microsoft.com/office/drawing/2014/main" id="{C78C52F9-9605-2544-B546-DFDA46BBA6D8}"/>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2" name="Freeform: Shape 516">
                  <a:extLst>
                    <a:ext uri="{FF2B5EF4-FFF2-40B4-BE49-F238E27FC236}">
                      <a16:creationId xmlns:a16="http://schemas.microsoft.com/office/drawing/2014/main" id="{C782B4EF-371E-CE41-AD6E-BC5038AE73BD}"/>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3" name="Freeform: Shape 517">
                  <a:extLst>
                    <a:ext uri="{FF2B5EF4-FFF2-40B4-BE49-F238E27FC236}">
                      <a16:creationId xmlns:a16="http://schemas.microsoft.com/office/drawing/2014/main" id="{A44C2FF0-7E29-474B-9687-96315F75CFA9}"/>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4" name="Freeform: Shape 518">
                  <a:extLst>
                    <a:ext uri="{FF2B5EF4-FFF2-40B4-BE49-F238E27FC236}">
                      <a16:creationId xmlns:a16="http://schemas.microsoft.com/office/drawing/2014/main" id="{479A69FB-F076-F343-906C-989155A3DB11}"/>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75" name="Freeform: Shape 519">
                  <a:extLst>
                    <a:ext uri="{FF2B5EF4-FFF2-40B4-BE49-F238E27FC236}">
                      <a16:creationId xmlns:a16="http://schemas.microsoft.com/office/drawing/2014/main" id="{62AADEC9-7FF1-8C4E-99B0-1CAE7BB30774}"/>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grpSp>
          <p:grpSp>
            <p:nvGrpSpPr>
              <p:cNvPr id="1519" name="Group 1518">
                <a:extLst>
                  <a:ext uri="{FF2B5EF4-FFF2-40B4-BE49-F238E27FC236}">
                    <a16:creationId xmlns:a16="http://schemas.microsoft.com/office/drawing/2014/main" id="{6EE4B8E6-2F4B-924F-AB05-BE3BD9BA4149}"/>
                  </a:ext>
                </a:extLst>
              </p:cNvPr>
              <p:cNvGrpSpPr/>
              <p:nvPr/>
            </p:nvGrpSpPr>
            <p:grpSpPr>
              <a:xfrm rot="1348360">
                <a:off x="6419092" y="2147058"/>
                <a:ext cx="816983" cy="341277"/>
                <a:chOff x="4010404" y="4875001"/>
                <a:chExt cx="498331" cy="208165"/>
              </a:xfrm>
              <a:solidFill>
                <a:srgbClr val="74BF4B"/>
              </a:solidFill>
            </p:grpSpPr>
            <p:sp>
              <p:nvSpPr>
                <p:cNvPr id="1556" name="Freeform: Shape 400">
                  <a:extLst>
                    <a:ext uri="{FF2B5EF4-FFF2-40B4-BE49-F238E27FC236}">
                      <a16:creationId xmlns:a16="http://schemas.microsoft.com/office/drawing/2014/main" id="{E3A71CD0-FDEC-1547-B9EF-B0F72FDD8E74}"/>
                    </a:ext>
                  </a:extLst>
                </p:cNvPr>
                <p:cNvSpPr/>
                <p:nvPr/>
              </p:nvSpPr>
              <p:spPr>
                <a:xfrm>
                  <a:off x="4010546" y="4972281"/>
                  <a:ext cx="42922" cy="42921"/>
                </a:xfrm>
                <a:custGeom>
                  <a:avLst/>
                  <a:gdLst>
                    <a:gd name="connsiteX0" fmla="*/ 33123 w 42922"/>
                    <a:gd name="connsiteY0" fmla="*/ 24539 h 42922"/>
                    <a:gd name="connsiteX1" fmla="*/ 24683 w 42922"/>
                    <a:gd name="connsiteY1" fmla="*/ 16096 h 42922"/>
                    <a:gd name="connsiteX2" fmla="*/ 24539 w 42922"/>
                    <a:gd name="connsiteY2" fmla="*/ 16097 h 42922"/>
                    <a:gd name="connsiteX3" fmla="*/ 16097 w 42922"/>
                    <a:gd name="connsiteY3" fmla="*/ 24250 h 42922"/>
                    <a:gd name="connsiteX4" fmla="*/ 16097 w 42922"/>
                    <a:gd name="connsiteY4" fmla="*/ 24539 h 42922"/>
                    <a:gd name="connsiteX5" fmla="*/ 24394 w 42922"/>
                    <a:gd name="connsiteY5" fmla="*/ 33122 h 42922"/>
                    <a:gd name="connsiteX6" fmla="*/ 24539 w 42922"/>
                    <a:gd name="connsiteY6" fmla="*/ 33123 h 42922"/>
                    <a:gd name="connsiteX7" fmla="*/ 33123 w 42922"/>
                    <a:gd name="connsiteY7" fmla="*/ 2453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539"/>
                      </a:moveTo>
                      <a:cubicBezTo>
                        <a:pt x="33123" y="19877"/>
                        <a:pt x="29344" y="16097"/>
                        <a:pt x="24683" y="16096"/>
                      </a:cubicBezTo>
                      <a:cubicBezTo>
                        <a:pt x="24634" y="16096"/>
                        <a:pt x="24587" y="16096"/>
                        <a:pt x="24539" y="16097"/>
                      </a:cubicBezTo>
                      <a:cubicBezTo>
                        <a:pt x="19956" y="16017"/>
                        <a:pt x="16177" y="19667"/>
                        <a:pt x="16097" y="24250"/>
                      </a:cubicBezTo>
                      <a:cubicBezTo>
                        <a:pt x="16096" y="24346"/>
                        <a:pt x="16096" y="24443"/>
                        <a:pt x="16097" y="24539"/>
                      </a:cubicBezTo>
                      <a:cubicBezTo>
                        <a:pt x="16018" y="29200"/>
                        <a:pt x="19733" y="33043"/>
                        <a:pt x="24394" y="33122"/>
                      </a:cubicBezTo>
                      <a:cubicBezTo>
                        <a:pt x="24443" y="33123"/>
                        <a:pt x="24490" y="33123"/>
                        <a:pt x="24539" y="33123"/>
                      </a:cubicBezTo>
                      <a:cubicBezTo>
                        <a:pt x="29280" y="33123"/>
                        <a:pt x="33123" y="29280"/>
                        <a:pt x="33123" y="2453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7" name="Freeform: Shape 401">
                  <a:extLst>
                    <a:ext uri="{FF2B5EF4-FFF2-40B4-BE49-F238E27FC236}">
                      <a16:creationId xmlns:a16="http://schemas.microsoft.com/office/drawing/2014/main" id="{2ADDAF8B-02D2-C54F-8C68-BD99794BA28B}"/>
                    </a:ext>
                  </a:extLst>
                </p:cNvPr>
                <p:cNvSpPr/>
                <p:nvPr/>
              </p:nvSpPr>
              <p:spPr>
                <a:xfrm>
                  <a:off x="4062055" y="4972713"/>
                  <a:ext cx="42922" cy="42921"/>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6"/>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8" name="Freeform: Shape 402">
                  <a:extLst>
                    <a:ext uri="{FF2B5EF4-FFF2-40B4-BE49-F238E27FC236}">
                      <a16:creationId xmlns:a16="http://schemas.microsoft.com/office/drawing/2014/main" id="{458D354C-4BF0-E84A-9B43-130FB97EA83B}"/>
                    </a:ext>
                  </a:extLst>
                </p:cNvPr>
                <p:cNvSpPr/>
                <p:nvPr/>
              </p:nvSpPr>
              <p:spPr>
                <a:xfrm>
                  <a:off x="4115135" y="497486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9" name="Freeform: Shape 403">
                  <a:extLst>
                    <a:ext uri="{FF2B5EF4-FFF2-40B4-BE49-F238E27FC236}">
                      <a16:creationId xmlns:a16="http://schemas.microsoft.com/office/drawing/2014/main" id="{A143E25D-75D0-B94E-BB37-E2CC47BF7CD0}"/>
                    </a:ext>
                  </a:extLst>
                </p:cNvPr>
                <p:cNvSpPr/>
                <p:nvPr/>
              </p:nvSpPr>
              <p:spPr>
                <a:xfrm>
                  <a:off x="4166928" y="4974001"/>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0" name="Freeform: Shape 404">
                  <a:extLst>
                    <a:ext uri="{FF2B5EF4-FFF2-40B4-BE49-F238E27FC236}">
                      <a16:creationId xmlns:a16="http://schemas.microsoft.com/office/drawing/2014/main" id="{963047FE-074D-C74E-A461-99F5C26554B1}"/>
                    </a:ext>
                  </a:extLst>
                </p:cNvPr>
                <p:cNvSpPr/>
                <p:nvPr/>
              </p:nvSpPr>
              <p:spPr>
                <a:xfrm>
                  <a:off x="4219079" y="4975507"/>
                  <a:ext cx="42922" cy="42921"/>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1" name="Freeform: Shape 405">
                  <a:extLst>
                    <a:ext uri="{FF2B5EF4-FFF2-40B4-BE49-F238E27FC236}">
                      <a16:creationId xmlns:a16="http://schemas.microsoft.com/office/drawing/2014/main" id="{FBCF1519-8FB1-5242-9BAD-6497279F6546}"/>
                    </a:ext>
                  </a:extLst>
                </p:cNvPr>
                <p:cNvSpPr/>
                <p:nvPr/>
              </p:nvSpPr>
              <p:spPr>
                <a:xfrm>
                  <a:off x="4271373" y="4975287"/>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2" name="Freeform: Shape 406">
                  <a:extLst>
                    <a:ext uri="{FF2B5EF4-FFF2-40B4-BE49-F238E27FC236}">
                      <a16:creationId xmlns:a16="http://schemas.microsoft.com/office/drawing/2014/main" id="{A64F2C19-7842-AE41-933B-7D79A251EFC2}"/>
                    </a:ext>
                  </a:extLst>
                </p:cNvPr>
                <p:cNvSpPr/>
                <p:nvPr/>
              </p:nvSpPr>
              <p:spPr>
                <a:xfrm>
                  <a:off x="4323524" y="497669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3" name="Freeform: Shape 407">
                  <a:extLst>
                    <a:ext uri="{FF2B5EF4-FFF2-40B4-BE49-F238E27FC236}">
                      <a16:creationId xmlns:a16="http://schemas.microsoft.com/office/drawing/2014/main" id="{C34F4534-C97D-774E-B412-FF48F3609B68}"/>
                    </a:ext>
                  </a:extLst>
                </p:cNvPr>
                <p:cNvSpPr/>
                <p:nvPr/>
              </p:nvSpPr>
              <p:spPr>
                <a:xfrm>
                  <a:off x="4375820" y="4976717"/>
                  <a:ext cx="28615" cy="28615"/>
                </a:xfrm>
                <a:custGeom>
                  <a:avLst/>
                  <a:gdLst>
                    <a:gd name="connsiteX0" fmla="*/ 24392 w 28614"/>
                    <a:gd name="connsiteY0" fmla="*/ 20102 h 28614"/>
                    <a:gd name="connsiteX1" fmla="*/ 20103 w 28614"/>
                    <a:gd name="connsiteY1" fmla="*/ 16098 h 28614"/>
                    <a:gd name="connsiteX2" fmla="*/ 16098 w 28614"/>
                    <a:gd name="connsiteY2" fmla="*/ 20388 h 28614"/>
                    <a:gd name="connsiteX3" fmla="*/ 20243 w 28614"/>
                    <a:gd name="connsiteY3" fmla="*/ 24394 h 28614"/>
                    <a:gd name="connsiteX4" fmla="*/ 24395 w 28614"/>
                    <a:gd name="connsiteY4" fmla="*/ 20248 h 28614"/>
                    <a:gd name="connsiteX5" fmla="*/ 24392 w 28614"/>
                    <a:gd name="connsiteY5" fmla="*/ 20102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4392" y="20102"/>
                      </a:moveTo>
                      <a:cubicBezTo>
                        <a:pt x="24314" y="17811"/>
                        <a:pt x="22392" y="16018"/>
                        <a:pt x="20103" y="16098"/>
                      </a:cubicBezTo>
                      <a:cubicBezTo>
                        <a:pt x="17812" y="16177"/>
                        <a:pt x="16020" y="18097"/>
                        <a:pt x="16098" y="20388"/>
                      </a:cubicBezTo>
                      <a:cubicBezTo>
                        <a:pt x="16176" y="22621"/>
                        <a:pt x="18008" y="24393"/>
                        <a:pt x="20243" y="24394"/>
                      </a:cubicBezTo>
                      <a:cubicBezTo>
                        <a:pt x="22535" y="24395"/>
                        <a:pt x="24394" y="22538"/>
                        <a:pt x="24395" y="20248"/>
                      </a:cubicBezTo>
                      <a:cubicBezTo>
                        <a:pt x="24395" y="20199"/>
                        <a:pt x="24394" y="20150"/>
                        <a:pt x="24392" y="2010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4" name="Freeform: Shape 408">
                  <a:extLst>
                    <a:ext uri="{FF2B5EF4-FFF2-40B4-BE49-F238E27FC236}">
                      <a16:creationId xmlns:a16="http://schemas.microsoft.com/office/drawing/2014/main" id="{34BF4AC6-5BD4-9146-9D1C-CD7AE8132AE1}"/>
                    </a:ext>
                  </a:extLst>
                </p:cNvPr>
                <p:cNvSpPr/>
                <p:nvPr/>
              </p:nvSpPr>
              <p:spPr>
                <a:xfrm>
                  <a:off x="4428613" y="4977147"/>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728" y="16169"/>
                        <a:pt x="16169" y="17728"/>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5" name="Freeform: Shape 409">
                  <a:extLst>
                    <a:ext uri="{FF2B5EF4-FFF2-40B4-BE49-F238E27FC236}">
                      <a16:creationId xmlns:a16="http://schemas.microsoft.com/office/drawing/2014/main" id="{A22E5E17-F608-194C-B3D6-6171EC3FB73D}"/>
                    </a:ext>
                  </a:extLst>
                </p:cNvPr>
                <p:cNvSpPr/>
                <p:nvPr/>
              </p:nvSpPr>
              <p:spPr>
                <a:xfrm>
                  <a:off x="4480119" y="4977859"/>
                  <a:ext cx="28615" cy="28615"/>
                </a:xfrm>
                <a:custGeom>
                  <a:avLst/>
                  <a:gdLst>
                    <a:gd name="connsiteX0" fmla="*/ 21962 w 28614"/>
                    <a:gd name="connsiteY0" fmla="*/ 18961 h 28614"/>
                    <a:gd name="connsiteX1" fmla="*/ 19100 w 28614"/>
                    <a:gd name="connsiteY1" fmla="*/ 16100 h 28614"/>
                    <a:gd name="connsiteX2" fmla="*/ 16100 w 28614"/>
                    <a:gd name="connsiteY2" fmla="*/ 18814 h 28614"/>
                    <a:gd name="connsiteX3" fmla="*/ 16096 w 28614"/>
                    <a:gd name="connsiteY3" fmla="*/ 18961 h 28614"/>
                    <a:gd name="connsiteX4" fmla="*/ 19100 w 28614"/>
                    <a:gd name="connsiteY4" fmla="*/ 21966 h 28614"/>
                    <a:gd name="connsiteX5" fmla="*/ 21966 w 28614"/>
                    <a:gd name="connsiteY5" fmla="*/ 19107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4"/>
                      </a:cubicBezTo>
                      <a:cubicBezTo>
                        <a:pt x="16097" y="18864"/>
                        <a:pt x="16096" y="18912"/>
                        <a:pt x="16096" y="18961"/>
                      </a:cubicBezTo>
                      <a:cubicBezTo>
                        <a:pt x="16096" y="20621"/>
                        <a:pt x="17441" y="21966"/>
                        <a:pt x="19100" y="21966"/>
                      </a:cubicBezTo>
                      <a:cubicBezTo>
                        <a:pt x="20682" y="21967"/>
                        <a:pt x="21963" y="20688"/>
                        <a:pt x="21966" y="19107"/>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6" name="Freeform: Shape 410">
                  <a:extLst>
                    <a:ext uri="{FF2B5EF4-FFF2-40B4-BE49-F238E27FC236}">
                      <a16:creationId xmlns:a16="http://schemas.microsoft.com/office/drawing/2014/main" id="{9B9EE651-9349-6444-829A-3E0BD9D8B8E8}"/>
                    </a:ext>
                  </a:extLst>
                </p:cNvPr>
                <p:cNvSpPr/>
                <p:nvPr/>
              </p:nvSpPr>
              <p:spPr>
                <a:xfrm>
                  <a:off x="4010404" y="5004617"/>
                  <a:ext cx="42922" cy="42921"/>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7" name="Freeform: Shape 411">
                  <a:extLst>
                    <a:ext uri="{FF2B5EF4-FFF2-40B4-BE49-F238E27FC236}">
                      <a16:creationId xmlns:a16="http://schemas.microsoft.com/office/drawing/2014/main" id="{D419C840-4A1F-4948-AA81-53F54BFE02B5}"/>
                    </a:ext>
                  </a:extLst>
                </p:cNvPr>
                <p:cNvSpPr/>
                <p:nvPr/>
              </p:nvSpPr>
              <p:spPr>
                <a:xfrm>
                  <a:off x="4062057" y="5005047"/>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96" y="32119"/>
                        <a:pt x="32119" y="28596"/>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8" name="Freeform: Shape 412">
                  <a:extLst>
                    <a:ext uri="{FF2B5EF4-FFF2-40B4-BE49-F238E27FC236}">
                      <a16:creationId xmlns:a16="http://schemas.microsoft.com/office/drawing/2014/main" id="{76CFC70A-DA2C-0B4C-9A36-FDC7DB218E14}"/>
                    </a:ext>
                  </a:extLst>
                </p:cNvPr>
                <p:cNvSpPr/>
                <p:nvPr/>
              </p:nvSpPr>
              <p:spPr>
                <a:xfrm>
                  <a:off x="4114849" y="5005905"/>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69" name="Freeform: Shape 413">
                  <a:extLst>
                    <a:ext uri="{FF2B5EF4-FFF2-40B4-BE49-F238E27FC236}">
                      <a16:creationId xmlns:a16="http://schemas.microsoft.com/office/drawing/2014/main" id="{6FFA8128-D484-994E-A78C-B32FB723A673}"/>
                    </a:ext>
                  </a:extLst>
                </p:cNvPr>
                <p:cNvSpPr/>
                <p:nvPr/>
              </p:nvSpPr>
              <p:spPr>
                <a:xfrm>
                  <a:off x="4166929" y="5006479"/>
                  <a:ext cx="42922" cy="42921"/>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0" name="Freeform: Shape 414">
                  <a:extLst>
                    <a:ext uri="{FF2B5EF4-FFF2-40B4-BE49-F238E27FC236}">
                      <a16:creationId xmlns:a16="http://schemas.microsoft.com/office/drawing/2014/main" id="{A203EF59-C166-144E-9A1C-AF2F39390F1D}"/>
                    </a:ext>
                  </a:extLst>
                </p:cNvPr>
                <p:cNvSpPr/>
                <p:nvPr/>
              </p:nvSpPr>
              <p:spPr>
                <a:xfrm>
                  <a:off x="4219009" y="5006907"/>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1" name="Freeform: Shape 415">
                  <a:extLst>
                    <a:ext uri="{FF2B5EF4-FFF2-40B4-BE49-F238E27FC236}">
                      <a16:creationId xmlns:a16="http://schemas.microsoft.com/office/drawing/2014/main" id="{A1BB354D-2A36-EA49-9088-0C6B429133D2}"/>
                    </a:ext>
                  </a:extLst>
                </p:cNvPr>
                <p:cNvSpPr/>
                <p:nvPr/>
              </p:nvSpPr>
              <p:spPr>
                <a:xfrm>
                  <a:off x="4271373" y="5007764"/>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2" name="Freeform: Shape 416">
                  <a:extLst>
                    <a:ext uri="{FF2B5EF4-FFF2-40B4-BE49-F238E27FC236}">
                      <a16:creationId xmlns:a16="http://schemas.microsoft.com/office/drawing/2014/main" id="{1AD4A310-9F87-E149-BA8D-65CB77104F33}"/>
                    </a:ext>
                  </a:extLst>
                </p:cNvPr>
                <p:cNvSpPr/>
                <p:nvPr/>
              </p:nvSpPr>
              <p:spPr>
                <a:xfrm>
                  <a:off x="4323452" y="5008338"/>
                  <a:ext cx="28615" cy="28615"/>
                </a:xfrm>
                <a:custGeom>
                  <a:avLst/>
                  <a:gdLst>
                    <a:gd name="connsiteX0" fmla="*/ 25825 w 28614"/>
                    <a:gd name="connsiteY0" fmla="*/ 20959 h 28614"/>
                    <a:gd name="connsiteX1" fmla="*/ 20959 w 28614"/>
                    <a:gd name="connsiteY1" fmla="*/ 16096 h 28614"/>
                    <a:gd name="connsiteX2" fmla="*/ 16096 w 28614"/>
                    <a:gd name="connsiteY2" fmla="*/ 20963 h 28614"/>
                    <a:gd name="connsiteX3" fmla="*/ 20963 w 28614"/>
                    <a:gd name="connsiteY3" fmla="*/ 25825 h 28614"/>
                    <a:gd name="connsiteX4" fmla="*/ 21104 w 28614"/>
                    <a:gd name="connsiteY4" fmla="*/ 25824 h 28614"/>
                    <a:gd name="connsiteX5" fmla="*/ 25825 w 28614"/>
                    <a:gd name="connsiteY5" fmla="*/ 20959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5" y="20959"/>
                      </a:moveTo>
                      <a:cubicBezTo>
                        <a:pt x="25824" y="18272"/>
                        <a:pt x="23644" y="16096"/>
                        <a:pt x="20959" y="16096"/>
                      </a:cubicBezTo>
                      <a:cubicBezTo>
                        <a:pt x="18272" y="16097"/>
                        <a:pt x="16094" y="18276"/>
                        <a:pt x="16096" y="20963"/>
                      </a:cubicBezTo>
                      <a:cubicBezTo>
                        <a:pt x="16097" y="23650"/>
                        <a:pt x="18276" y="25826"/>
                        <a:pt x="20963" y="25825"/>
                      </a:cubicBezTo>
                      <a:cubicBezTo>
                        <a:pt x="21009" y="25825"/>
                        <a:pt x="21056" y="25825"/>
                        <a:pt x="21104" y="25824"/>
                      </a:cubicBezTo>
                      <a:cubicBezTo>
                        <a:pt x="23735" y="25746"/>
                        <a:pt x="25826" y="23590"/>
                        <a:pt x="25825" y="2095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3" name="Freeform: Shape 417">
                  <a:extLst>
                    <a:ext uri="{FF2B5EF4-FFF2-40B4-BE49-F238E27FC236}">
                      <a16:creationId xmlns:a16="http://schemas.microsoft.com/office/drawing/2014/main" id="{7AD0E6DD-D725-2745-A27B-32504F2D74DB}"/>
                    </a:ext>
                  </a:extLst>
                </p:cNvPr>
                <p:cNvSpPr/>
                <p:nvPr/>
              </p:nvSpPr>
              <p:spPr>
                <a:xfrm>
                  <a:off x="4375817" y="5009052"/>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4" name="Freeform: Shape 418">
                  <a:extLst>
                    <a:ext uri="{FF2B5EF4-FFF2-40B4-BE49-F238E27FC236}">
                      <a16:creationId xmlns:a16="http://schemas.microsoft.com/office/drawing/2014/main" id="{32C9E6F0-B18A-A042-B070-6643E0429667}"/>
                    </a:ext>
                  </a:extLst>
                </p:cNvPr>
                <p:cNvSpPr/>
                <p:nvPr/>
              </p:nvSpPr>
              <p:spPr>
                <a:xfrm>
                  <a:off x="4428613" y="5009625"/>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5" name="Freeform: Shape 419">
                  <a:extLst>
                    <a:ext uri="{FF2B5EF4-FFF2-40B4-BE49-F238E27FC236}">
                      <a16:creationId xmlns:a16="http://schemas.microsoft.com/office/drawing/2014/main" id="{CCDF521E-451F-FF49-B820-1BBDEC96AE99}"/>
                    </a:ext>
                  </a:extLst>
                </p:cNvPr>
                <p:cNvSpPr/>
                <p:nvPr/>
              </p:nvSpPr>
              <p:spPr>
                <a:xfrm>
                  <a:off x="4479977" y="5010199"/>
                  <a:ext cx="28615" cy="28615"/>
                </a:xfrm>
                <a:custGeom>
                  <a:avLst/>
                  <a:gdLst>
                    <a:gd name="connsiteX0" fmla="*/ 22105 w 28614"/>
                    <a:gd name="connsiteY0" fmla="*/ 19098 h 28614"/>
                    <a:gd name="connsiteX1" fmla="*/ 19098 w 28614"/>
                    <a:gd name="connsiteY1" fmla="*/ 16096 h 28614"/>
                    <a:gd name="connsiteX2" fmla="*/ 16096 w 28614"/>
                    <a:gd name="connsiteY2" fmla="*/ 19105 h 28614"/>
                    <a:gd name="connsiteX3" fmla="*/ 19103 w 28614"/>
                    <a:gd name="connsiteY3" fmla="*/ 22105 h 28614"/>
                    <a:gd name="connsiteX4" fmla="*/ 19244 w 28614"/>
                    <a:gd name="connsiteY4" fmla="*/ 22102 h 28614"/>
                    <a:gd name="connsiteX5" fmla="*/ 22105 w 28614"/>
                    <a:gd name="connsiteY5" fmla="*/ 19098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2105" y="19098"/>
                      </a:moveTo>
                      <a:cubicBezTo>
                        <a:pt x="22104" y="17438"/>
                        <a:pt x="20756" y="16094"/>
                        <a:pt x="19098" y="16096"/>
                      </a:cubicBezTo>
                      <a:cubicBezTo>
                        <a:pt x="17438" y="16099"/>
                        <a:pt x="16094" y="17445"/>
                        <a:pt x="16096" y="19105"/>
                      </a:cubicBezTo>
                      <a:cubicBezTo>
                        <a:pt x="16097" y="20764"/>
                        <a:pt x="17445" y="22108"/>
                        <a:pt x="19103" y="22105"/>
                      </a:cubicBezTo>
                      <a:cubicBezTo>
                        <a:pt x="19151" y="22105"/>
                        <a:pt x="19196" y="22105"/>
                        <a:pt x="19244" y="22102"/>
                      </a:cubicBezTo>
                      <a:cubicBezTo>
                        <a:pt x="20847" y="22026"/>
                        <a:pt x="22107" y="20703"/>
                        <a:pt x="22105" y="19098"/>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6" name="Freeform: Shape 420">
                  <a:extLst>
                    <a:ext uri="{FF2B5EF4-FFF2-40B4-BE49-F238E27FC236}">
                      <a16:creationId xmlns:a16="http://schemas.microsoft.com/office/drawing/2014/main" id="{C4109500-0830-8B47-999B-6B31AF0265E8}"/>
                    </a:ext>
                  </a:extLst>
                </p:cNvPr>
                <p:cNvSpPr/>
                <p:nvPr/>
              </p:nvSpPr>
              <p:spPr>
                <a:xfrm>
                  <a:off x="4010547" y="5037094"/>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7" name="Freeform: Shape 421">
                  <a:extLst>
                    <a:ext uri="{FF2B5EF4-FFF2-40B4-BE49-F238E27FC236}">
                      <a16:creationId xmlns:a16="http://schemas.microsoft.com/office/drawing/2014/main" id="{436D2A12-B577-F94B-BE0E-DAFC0C695D7F}"/>
                    </a:ext>
                  </a:extLst>
                </p:cNvPr>
                <p:cNvSpPr/>
                <p:nvPr/>
              </p:nvSpPr>
              <p:spPr>
                <a:xfrm>
                  <a:off x="4062057" y="5037525"/>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8" name="Freeform: Shape 422">
                  <a:extLst>
                    <a:ext uri="{FF2B5EF4-FFF2-40B4-BE49-F238E27FC236}">
                      <a16:creationId xmlns:a16="http://schemas.microsoft.com/office/drawing/2014/main" id="{F534D4B7-40EF-4B4C-891C-7AF212FDA683}"/>
                    </a:ext>
                  </a:extLst>
                </p:cNvPr>
                <p:cNvSpPr/>
                <p:nvPr/>
              </p:nvSpPr>
              <p:spPr>
                <a:xfrm>
                  <a:off x="4114850" y="5038382"/>
                  <a:ext cx="42922" cy="42921"/>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89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89"/>
                        <a:pt x="23393" y="30689"/>
                      </a:cubicBezTo>
                      <a:cubicBezTo>
                        <a:pt x="27423" y="30689"/>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79" name="Freeform: Shape 423">
                  <a:extLst>
                    <a:ext uri="{FF2B5EF4-FFF2-40B4-BE49-F238E27FC236}">
                      <a16:creationId xmlns:a16="http://schemas.microsoft.com/office/drawing/2014/main" id="{BCE165F6-2689-5240-87B7-D88CD096F09E}"/>
                    </a:ext>
                  </a:extLst>
                </p:cNvPr>
                <p:cNvSpPr/>
                <p:nvPr/>
              </p:nvSpPr>
              <p:spPr>
                <a:xfrm>
                  <a:off x="4166931" y="5038813"/>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0" name="Freeform: Shape 424">
                  <a:extLst>
                    <a:ext uri="{FF2B5EF4-FFF2-40B4-BE49-F238E27FC236}">
                      <a16:creationId xmlns:a16="http://schemas.microsoft.com/office/drawing/2014/main" id="{922C9861-0A43-4042-B147-484AA7194973}"/>
                    </a:ext>
                  </a:extLst>
                </p:cNvPr>
                <p:cNvSpPr/>
                <p:nvPr/>
              </p:nvSpPr>
              <p:spPr>
                <a:xfrm>
                  <a:off x="4219010" y="5039385"/>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1" name="Freeform: Shape 425">
                  <a:extLst>
                    <a:ext uri="{FF2B5EF4-FFF2-40B4-BE49-F238E27FC236}">
                      <a16:creationId xmlns:a16="http://schemas.microsoft.com/office/drawing/2014/main" id="{E2A34A84-A345-CD45-823E-1CEF552B4AE6}"/>
                    </a:ext>
                  </a:extLst>
                </p:cNvPr>
                <p:cNvSpPr/>
                <p:nvPr/>
              </p:nvSpPr>
              <p:spPr>
                <a:xfrm>
                  <a:off x="4271373" y="5040245"/>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2" name="Freeform: Shape 426">
                  <a:extLst>
                    <a:ext uri="{FF2B5EF4-FFF2-40B4-BE49-F238E27FC236}">
                      <a16:creationId xmlns:a16="http://schemas.microsoft.com/office/drawing/2014/main" id="{F4839DB5-4CF0-6B4C-B4AC-DAF3C5505150}"/>
                    </a:ext>
                  </a:extLst>
                </p:cNvPr>
                <p:cNvSpPr/>
                <p:nvPr/>
              </p:nvSpPr>
              <p:spPr>
                <a:xfrm>
                  <a:off x="4323455" y="5040675"/>
                  <a:ext cx="28615" cy="28615"/>
                </a:xfrm>
                <a:custGeom>
                  <a:avLst/>
                  <a:gdLst>
                    <a:gd name="connsiteX0" fmla="*/ 25823 w 28614"/>
                    <a:gd name="connsiteY0" fmla="*/ 21101 h 28614"/>
                    <a:gd name="connsiteX1" fmla="*/ 21101 w 28614"/>
                    <a:gd name="connsiteY1" fmla="*/ 16098 h 28614"/>
                    <a:gd name="connsiteX2" fmla="*/ 16098 w 28614"/>
                    <a:gd name="connsiteY2" fmla="*/ 20820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20"/>
                      </a:cubicBezTo>
                      <a:cubicBezTo>
                        <a:pt x="16019" y="23505"/>
                        <a:pt x="18134" y="25746"/>
                        <a:pt x="20820" y="25823"/>
                      </a:cubicBezTo>
                      <a:cubicBezTo>
                        <a:pt x="20914" y="25826"/>
                        <a:pt x="21007" y="25826"/>
                        <a:pt x="21101" y="25823"/>
                      </a:cubicBezTo>
                      <a:cubicBezTo>
                        <a:pt x="23677" y="25748"/>
                        <a:pt x="25748" y="23678"/>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3" name="Freeform: Shape 427">
                  <a:extLst>
                    <a:ext uri="{FF2B5EF4-FFF2-40B4-BE49-F238E27FC236}">
                      <a16:creationId xmlns:a16="http://schemas.microsoft.com/office/drawing/2014/main" id="{FC4C0193-3467-5640-B57F-DCF4788F2899}"/>
                    </a:ext>
                  </a:extLst>
                </p:cNvPr>
                <p:cNvSpPr/>
                <p:nvPr/>
              </p:nvSpPr>
              <p:spPr>
                <a:xfrm>
                  <a:off x="4375818" y="5041533"/>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4" name="Freeform: Shape 428">
                  <a:extLst>
                    <a:ext uri="{FF2B5EF4-FFF2-40B4-BE49-F238E27FC236}">
                      <a16:creationId xmlns:a16="http://schemas.microsoft.com/office/drawing/2014/main" id="{34088B31-11DF-1141-8023-F3D08885E1BC}"/>
                    </a:ext>
                  </a:extLst>
                </p:cNvPr>
                <p:cNvSpPr/>
                <p:nvPr/>
              </p:nvSpPr>
              <p:spPr>
                <a:xfrm>
                  <a:off x="4429194" y="5041961"/>
                  <a:ext cx="28615" cy="28615"/>
                </a:xfrm>
                <a:custGeom>
                  <a:avLst/>
                  <a:gdLst>
                    <a:gd name="connsiteX0" fmla="*/ 22668 w 28614"/>
                    <a:gd name="connsiteY0" fmla="*/ 19816 h 28614"/>
                    <a:gd name="connsiteX1" fmla="*/ 19091 w 28614"/>
                    <a:gd name="connsiteY1" fmla="*/ 16096 h 28614"/>
                    <a:gd name="connsiteX2" fmla="*/ 16168 w 28614"/>
                    <a:gd name="connsiteY2" fmla="*/ 20470 h 28614"/>
                    <a:gd name="connsiteX3" fmla="*/ 19091 w 28614"/>
                    <a:gd name="connsiteY3" fmla="*/ 23393 h 28614"/>
                    <a:gd name="connsiteX4" fmla="*/ 22668 w 28614"/>
                    <a:gd name="connsiteY4" fmla="*/ 19816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2668" y="19816"/>
                      </a:moveTo>
                      <a:cubicBezTo>
                        <a:pt x="22669" y="17816"/>
                        <a:pt x="21090" y="16173"/>
                        <a:pt x="19091" y="16096"/>
                      </a:cubicBezTo>
                      <a:cubicBezTo>
                        <a:pt x="17077" y="16497"/>
                        <a:pt x="15767" y="18455"/>
                        <a:pt x="16168" y="20470"/>
                      </a:cubicBezTo>
                      <a:cubicBezTo>
                        <a:pt x="16463" y="21946"/>
                        <a:pt x="17616" y="23099"/>
                        <a:pt x="19091" y="23393"/>
                      </a:cubicBezTo>
                      <a:cubicBezTo>
                        <a:pt x="21067" y="23393"/>
                        <a:pt x="22668" y="21792"/>
                        <a:pt x="22668" y="1981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5" name="Freeform: Shape 429">
                  <a:extLst>
                    <a:ext uri="{FF2B5EF4-FFF2-40B4-BE49-F238E27FC236}">
                      <a16:creationId xmlns:a16="http://schemas.microsoft.com/office/drawing/2014/main" id="{D12E471B-3EAF-9C48-9597-7E0417F35C0B}"/>
                    </a:ext>
                  </a:extLst>
                </p:cNvPr>
                <p:cNvSpPr/>
                <p:nvPr/>
              </p:nvSpPr>
              <p:spPr>
                <a:xfrm>
                  <a:off x="4480120" y="5042671"/>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1"/>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6" name="Freeform: Shape 430">
                  <a:extLst>
                    <a:ext uri="{FF2B5EF4-FFF2-40B4-BE49-F238E27FC236}">
                      <a16:creationId xmlns:a16="http://schemas.microsoft.com/office/drawing/2014/main" id="{9B15FFCC-30EA-C944-BF64-6E9472E9DFF9}"/>
                    </a:ext>
                  </a:extLst>
                </p:cNvPr>
                <p:cNvSpPr/>
                <p:nvPr/>
              </p:nvSpPr>
              <p:spPr>
                <a:xfrm>
                  <a:off x="4010546" y="4875001"/>
                  <a:ext cx="42922" cy="42921"/>
                </a:xfrm>
                <a:custGeom>
                  <a:avLst/>
                  <a:gdLst>
                    <a:gd name="connsiteX0" fmla="*/ 33123 w 42922"/>
                    <a:gd name="connsiteY0" fmla="*/ 24680 h 42922"/>
                    <a:gd name="connsiteX1" fmla="*/ 24539 w 42922"/>
                    <a:gd name="connsiteY1" fmla="*/ 16096 h 42922"/>
                    <a:gd name="connsiteX2" fmla="*/ 16096 w 42922"/>
                    <a:gd name="connsiteY2" fmla="*/ 24536 h 42922"/>
                    <a:gd name="connsiteX3" fmla="*/ 16097 w 42922"/>
                    <a:gd name="connsiteY3" fmla="*/ 24680 h 42922"/>
                    <a:gd name="connsiteX4" fmla="*/ 24250 w 42922"/>
                    <a:gd name="connsiteY4" fmla="*/ 33122 h 42922"/>
                    <a:gd name="connsiteX5" fmla="*/ 24539 w 42922"/>
                    <a:gd name="connsiteY5" fmla="*/ 33122 h 42922"/>
                    <a:gd name="connsiteX6" fmla="*/ 33122 w 42922"/>
                    <a:gd name="connsiteY6" fmla="*/ 24825 h 42922"/>
                    <a:gd name="connsiteX7" fmla="*/ 33123 w 42922"/>
                    <a:gd name="connsiteY7" fmla="*/ 2468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22" h="42922">
                      <a:moveTo>
                        <a:pt x="33123" y="24680"/>
                      </a:moveTo>
                      <a:cubicBezTo>
                        <a:pt x="33123" y="19939"/>
                        <a:pt x="29280" y="16096"/>
                        <a:pt x="24539" y="16096"/>
                      </a:cubicBezTo>
                      <a:cubicBezTo>
                        <a:pt x="19877" y="16096"/>
                        <a:pt x="16097" y="19875"/>
                        <a:pt x="16096" y="24536"/>
                      </a:cubicBezTo>
                      <a:cubicBezTo>
                        <a:pt x="16096" y="24585"/>
                        <a:pt x="16096" y="24632"/>
                        <a:pt x="16097" y="24680"/>
                      </a:cubicBezTo>
                      <a:cubicBezTo>
                        <a:pt x="16017" y="29263"/>
                        <a:pt x="19667" y="33042"/>
                        <a:pt x="24250" y="33122"/>
                      </a:cubicBezTo>
                      <a:cubicBezTo>
                        <a:pt x="24347" y="33123"/>
                        <a:pt x="24443" y="33123"/>
                        <a:pt x="24539" y="33122"/>
                      </a:cubicBezTo>
                      <a:cubicBezTo>
                        <a:pt x="29200" y="33201"/>
                        <a:pt x="33043" y="29486"/>
                        <a:pt x="33122" y="24825"/>
                      </a:cubicBezTo>
                      <a:cubicBezTo>
                        <a:pt x="33123" y="24776"/>
                        <a:pt x="33123" y="24729"/>
                        <a:pt x="33123"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7" name="Freeform: Shape 431">
                  <a:extLst>
                    <a:ext uri="{FF2B5EF4-FFF2-40B4-BE49-F238E27FC236}">
                      <a16:creationId xmlns:a16="http://schemas.microsoft.com/office/drawing/2014/main" id="{BF087C69-9621-964A-A243-FF9632215BEE}"/>
                    </a:ext>
                  </a:extLst>
                </p:cNvPr>
                <p:cNvSpPr/>
                <p:nvPr/>
              </p:nvSpPr>
              <p:spPr>
                <a:xfrm>
                  <a:off x="4062056" y="4875421"/>
                  <a:ext cx="42922" cy="42921"/>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4"/>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8" name="Freeform: Shape 432">
                  <a:extLst>
                    <a:ext uri="{FF2B5EF4-FFF2-40B4-BE49-F238E27FC236}">
                      <a16:creationId xmlns:a16="http://schemas.microsoft.com/office/drawing/2014/main" id="{B91778A4-CB5A-B94B-A533-386AE10CC822}"/>
                    </a:ext>
                  </a:extLst>
                </p:cNvPr>
                <p:cNvSpPr/>
                <p:nvPr/>
              </p:nvSpPr>
              <p:spPr>
                <a:xfrm>
                  <a:off x="4115136" y="4877714"/>
                  <a:ext cx="42922" cy="42921"/>
                </a:xfrm>
                <a:custGeom>
                  <a:avLst/>
                  <a:gdLst>
                    <a:gd name="connsiteX0" fmla="*/ 30403 w 42922"/>
                    <a:gd name="connsiteY0" fmla="*/ 21956 h 42922"/>
                    <a:gd name="connsiteX1" fmla="*/ 21812 w 42922"/>
                    <a:gd name="connsiteY1" fmla="*/ 16240 h 42922"/>
                    <a:gd name="connsiteX2" fmla="*/ 16096 w 42922"/>
                    <a:gd name="connsiteY2" fmla="*/ 21956 h 42922"/>
                    <a:gd name="connsiteX3" fmla="*/ 24688 w 42922"/>
                    <a:gd name="connsiteY3" fmla="*/ 27672 h 42922"/>
                    <a:gd name="connsiteX4" fmla="*/ 30403 w 42922"/>
                    <a:gd name="connsiteY4" fmla="*/ 21956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403" y="21956"/>
                      </a:moveTo>
                      <a:cubicBezTo>
                        <a:pt x="29609" y="18006"/>
                        <a:pt x="25762" y="15446"/>
                        <a:pt x="21812" y="16240"/>
                      </a:cubicBezTo>
                      <a:cubicBezTo>
                        <a:pt x="18929" y="16820"/>
                        <a:pt x="16675" y="19073"/>
                        <a:pt x="16096" y="21956"/>
                      </a:cubicBezTo>
                      <a:cubicBezTo>
                        <a:pt x="16890" y="25906"/>
                        <a:pt x="20737" y="28466"/>
                        <a:pt x="24688" y="27672"/>
                      </a:cubicBezTo>
                      <a:cubicBezTo>
                        <a:pt x="27571" y="27093"/>
                        <a:pt x="29824" y="24839"/>
                        <a:pt x="30403" y="2195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89" name="Freeform: Shape 433">
                  <a:extLst>
                    <a:ext uri="{FF2B5EF4-FFF2-40B4-BE49-F238E27FC236}">
                      <a16:creationId xmlns:a16="http://schemas.microsoft.com/office/drawing/2014/main" id="{BDD023F3-B4DB-FC4D-A276-98B9EE698636}"/>
                    </a:ext>
                  </a:extLst>
                </p:cNvPr>
                <p:cNvSpPr/>
                <p:nvPr/>
              </p:nvSpPr>
              <p:spPr>
                <a:xfrm>
                  <a:off x="4166931" y="4876718"/>
                  <a:ext cx="42922" cy="42921"/>
                </a:xfrm>
                <a:custGeom>
                  <a:avLst/>
                  <a:gdLst>
                    <a:gd name="connsiteX0" fmla="*/ 29544 w 42922"/>
                    <a:gd name="connsiteY0" fmla="*/ 22962 h 42922"/>
                    <a:gd name="connsiteX1" fmla="*/ 22962 w 42922"/>
                    <a:gd name="connsiteY1" fmla="*/ 16097 h 42922"/>
                    <a:gd name="connsiteX2" fmla="*/ 16097 w 42922"/>
                    <a:gd name="connsiteY2" fmla="*/ 22679 h 42922"/>
                    <a:gd name="connsiteX3" fmla="*/ 22679 w 42922"/>
                    <a:gd name="connsiteY3" fmla="*/ 29544 h 42922"/>
                    <a:gd name="connsiteX4" fmla="*/ 22962 w 42922"/>
                    <a:gd name="connsiteY4" fmla="*/ 29544 h 42922"/>
                    <a:gd name="connsiteX5" fmla="*/ 29544 w 42922"/>
                    <a:gd name="connsiteY5" fmla="*/ 22962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4" y="22962"/>
                      </a:moveTo>
                      <a:cubicBezTo>
                        <a:pt x="29622" y="19249"/>
                        <a:pt x="26675" y="16176"/>
                        <a:pt x="22962" y="16097"/>
                      </a:cubicBezTo>
                      <a:cubicBezTo>
                        <a:pt x="19249" y="16019"/>
                        <a:pt x="16176" y="18966"/>
                        <a:pt x="16097" y="22679"/>
                      </a:cubicBezTo>
                      <a:cubicBezTo>
                        <a:pt x="16020" y="26392"/>
                        <a:pt x="18966" y="29465"/>
                        <a:pt x="22679" y="29544"/>
                      </a:cubicBezTo>
                      <a:cubicBezTo>
                        <a:pt x="22773" y="29545"/>
                        <a:pt x="22868" y="29545"/>
                        <a:pt x="22962" y="29544"/>
                      </a:cubicBezTo>
                      <a:cubicBezTo>
                        <a:pt x="26565" y="29468"/>
                        <a:pt x="29468" y="26565"/>
                        <a:pt x="29544" y="22962"/>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0" name="Freeform: Shape 434">
                  <a:extLst>
                    <a:ext uri="{FF2B5EF4-FFF2-40B4-BE49-F238E27FC236}">
                      <a16:creationId xmlns:a16="http://schemas.microsoft.com/office/drawing/2014/main" id="{C5F2AA3A-9E23-1F46-85F8-615134047692}"/>
                    </a:ext>
                  </a:extLst>
                </p:cNvPr>
                <p:cNvSpPr/>
                <p:nvPr/>
              </p:nvSpPr>
              <p:spPr>
                <a:xfrm>
                  <a:off x="4219010" y="4877282"/>
                  <a:ext cx="42922" cy="42921"/>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1"/>
                        <a:pt x="22296" y="28401"/>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1" name="Freeform: Shape 435">
                  <a:extLst>
                    <a:ext uri="{FF2B5EF4-FFF2-40B4-BE49-F238E27FC236}">
                      <a16:creationId xmlns:a16="http://schemas.microsoft.com/office/drawing/2014/main" id="{30AE644C-7AC4-2E41-983C-12AB8F7F4794}"/>
                    </a:ext>
                  </a:extLst>
                </p:cNvPr>
                <p:cNvSpPr/>
                <p:nvPr/>
              </p:nvSpPr>
              <p:spPr>
                <a:xfrm>
                  <a:off x="4271374" y="4878141"/>
                  <a:ext cx="42922" cy="42921"/>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2" name="Freeform: Shape 436">
                  <a:extLst>
                    <a:ext uri="{FF2B5EF4-FFF2-40B4-BE49-F238E27FC236}">
                      <a16:creationId xmlns:a16="http://schemas.microsoft.com/office/drawing/2014/main" id="{3FFA4220-C4AB-4740-B759-CBB43D17831F}"/>
                    </a:ext>
                  </a:extLst>
                </p:cNvPr>
                <p:cNvSpPr/>
                <p:nvPr/>
              </p:nvSpPr>
              <p:spPr>
                <a:xfrm>
                  <a:off x="4323455" y="4878585"/>
                  <a:ext cx="28615" cy="28615"/>
                </a:xfrm>
                <a:custGeom>
                  <a:avLst/>
                  <a:gdLst>
                    <a:gd name="connsiteX0" fmla="*/ 25823 w 28614"/>
                    <a:gd name="connsiteY0" fmla="*/ 21101 h 28614"/>
                    <a:gd name="connsiteX1" fmla="*/ 21101 w 28614"/>
                    <a:gd name="connsiteY1" fmla="*/ 16098 h 28614"/>
                    <a:gd name="connsiteX2" fmla="*/ 16098 w 28614"/>
                    <a:gd name="connsiteY2" fmla="*/ 20819 h 28614"/>
                    <a:gd name="connsiteX3" fmla="*/ 20820 w 28614"/>
                    <a:gd name="connsiteY3" fmla="*/ 25823 h 28614"/>
                    <a:gd name="connsiteX4" fmla="*/ 21101 w 28614"/>
                    <a:gd name="connsiteY4" fmla="*/ 25823 h 28614"/>
                    <a:gd name="connsiteX5" fmla="*/ 25823 w 28614"/>
                    <a:gd name="connsiteY5" fmla="*/ 2110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823" y="21101"/>
                      </a:moveTo>
                      <a:cubicBezTo>
                        <a:pt x="25900" y="18416"/>
                        <a:pt x="23787" y="16175"/>
                        <a:pt x="21101" y="16098"/>
                      </a:cubicBezTo>
                      <a:cubicBezTo>
                        <a:pt x="18416" y="16019"/>
                        <a:pt x="16175" y="18134"/>
                        <a:pt x="16098" y="20819"/>
                      </a:cubicBezTo>
                      <a:cubicBezTo>
                        <a:pt x="16019" y="23505"/>
                        <a:pt x="18134" y="25746"/>
                        <a:pt x="20820" y="25823"/>
                      </a:cubicBezTo>
                      <a:cubicBezTo>
                        <a:pt x="20914" y="25826"/>
                        <a:pt x="21007" y="25826"/>
                        <a:pt x="21101" y="25823"/>
                      </a:cubicBezTo>
                      <a:cubicBezTo>
                        <a:pt x="23677" y="25748"/>
                        <a:pt x="25748" y="23677"/>
                        <a:pt x="25823" y="2110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3" name="Freeform: Shape 437">
                  <a:extLst>
                    <a:ext uri="{FF2B5EF4-FFF2-40B4-BE49-F238E27FC236}">
                      <a16:creationId xmlns:a16="http://schemas.microsoft.com/office/drawing/2014/main" id="{BAA3152D-40EB-1140-AF4C-AE5AB3909C5A}"/>
                    </a:ext>
                  </a:extLst>
                </p:cNvPr>
                <p:cNvSpPr/>
                <p:nvPr/>
              </p:nvSpPr>
              <p:spPr>
                <a:xfrm>
                  <a:off x="4375818" y="487944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4" name="Freeform: Shape 438">
                  <a:extLst>
                    <a:ext uri="{FF2B5EF4-FFF2-40B4-BE49-F238E27FC236}">
                      <a16:creationId xmlns:a16="http://schemas.microsoft.com/office/drawing/2014/main" id="{EA0DB43A-CCA4-F64A-9E4D-5DE8E2420525}"/>
                    </a:ext>
                  </a:extLst>
                </p:cNvPr>
                <p:cNvSpPr/>
                <p:nvPr/>
              </p:nvSpPr>
              <p:spPr>
                <a:xfrm>
                  <a:off x="4427898" y="4879796"/>
                  <a:ext cx="28615" cy="28615"/>
                </a:xfrm>
                <a:custGeom>
                  <a:avLst/>
                  <a:gdLst>
                    <a:gd name="connsiteX0" fmla="*/ 23965 w 28614"/>
                    <a:gd name="connsiteY0" fmla="*/ 19889 h 28614"/>
                    <a:gd name="connsiteX1" fmla="*/ 20611 w 28614"/>
                    <a:gd name="connsiteY1" fmla="*/ 16102 h 28614"/>
                    <a:gd name="connsiteX2" fmla="*/ 19673 w 28614"/>
                    <a:gd name="connsiteY2" fmla="*/ 16169 h 28614"/>
                    <a:gd name="connsiteX3" fmla="*/ 16096 w 28614"/>
                    <a:gd name="connsiteY3" fmla="*/ 19746 h 28614"/>
                    <a:gd name="connsiteX4" fmla="*/ 19673 w 28614"/>
                    <a:gd name="connsiteY4" fmla="*/ 23323 h 28614"/>
                    <a:gd name="connsiteX5" fmla="*/ 23250 w 28614"/>
                    <a:gd name="connsiteY5" fmla="*/ 19746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3965" y="19889"/>
                      </a:moveTo>
                      <a:cubicBezTo>
                        <a:pt x="24085" y="17918"/>
                        <a:pt x="22583" y="16222"/>
                        <a:pt x="20611" y="16102"/>
                      </a:cubicBezTo>
                      <a:cubicBezTo>
                        <a:pt x="20297" y="16084"/>
                        <a:pt x="19982" y="16106"/>
                        <a:pt x="19673" y="16169"/>
                      </a:cubicBezTo>
                      <a:cubicBezTo>
                        <a:pt x="17697" y="16169"/>
                        <a:pt x="16096" y="17770"/>
                        <a:pt x="16096" y="19746"/>
                      </a:cubicBezTo>
                      <a:cubicBezTo>
                        <a:pt x="16169" y="21691"/>
                        <a:pt x="17728" y="23250"/>
                        <a:pt x="19673" y="23323"/>
                      </a:cubicBezTo>
                      <a:cubicBezTo>
                        <a:pt x="21649" y="23323"/>
                        <a:pt x="23250" y="21722"/>
                        <a:pt x="23250" y="19746"/>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5" name="Freeform: Shape 439">
                  <a:extLst>
                    <a:ext uri="{FF2B5EF4-FFF2-40B4-BE49-F238E27FC236}">
                      <a16:creationId xmlns:a16="http://schemas.microsoft.com/office/drawing/2014/main" id="{8A10DEEB-4AE5-3142-80AD-E1BF34B1A6E0}"/>
                    </a:ext>
                  </a:extLst>
                </p:cNvPr>
                <p:cNvSpPr/>
                <p:nvPr/>
              </p:nvSpPr>
              <p:spPr>
                <a:xfrm>
                  <a:off x="4480120" y="4880597"/>
                  <a:ext cx="28615" cy="28615"/>
                </a:xfrm>
                <a:custGeom>
                  <a:avLst/>
                  <a:gdLst>
                    <a:gd name="connsiteX0" fmla="*/ 21962 w 28614"/>
                    <a:gd name="connsiteY0" fmla="*/ 19100 h 28614"/>
                    <a:gd name="connsiteX1" fmla="*/ 19248 w 28614"/>
                    <a:gd name="connsiteY1" fmla="*/ 16099 h 28614"/>
                    <a:gd name="connsiteX2" fmla="*/ 19100 w 28614"/>
                    <a:gd name="connsiteY2" fmla="*/ 16096 h 28614"/>
                    <a:gd name="connsiteX3" fmla="*/ 16096 w 28614"/>
                    <a:gd name="connsiteY3" fmla="*/ 19100 h 28614"/>
                    <a:gd name="connsiteX4" fmla="*/ 18955 w 28614"/>
                    <a:gd name="connsiteY4" fmla="*/ 21965 h 28614"/>
                    <a:gd name="connsiteX5" fmla="*/ 19100 w 28614"/>
                    <a:gd name="connsiteY5" fmla="*/ 21962 h 28614"/>
                    <a:gd name="connsiteX6" fmla="*/ 21962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9100"/>
                      </a:moveTo>
                      <a:cubicBezTo>
                        <a:pt x="22041" y="17522"/>
                        <a:pt x="20826" y="16179"/>
                        <a:pt x="19248" y="16099"/>
                      </a:cubicBezTo>
                      <a:cubicBezTo>
                        <a:pt x="19198" y="16097"/>
                        <a:pt x="19149" y="16096"/>
                        <a:pt x="19100" y="16096"/>
                      </a:cubicBezTo>
                      <a:cubicBezTo>
                        <a:pt x="17441" y="16096"/>
                        <a:pt x="16096" y="17441"/>
                        <a:pt x="16096" y="19100"/>
                      </a:cubicBezTo>
                      <a:cubicBezTo>
                        <a:pt x="16094" y="20681"/>
                        <a:pt x="17374" y="21963"/>
                        <a:pt x="18955" y="21965"/>
                      </a:cubicBezTo>
                      <a:cubicBezTo>
                        <a:pt x="19003" y="21965"/>
                        <a:pt x="19052" y="21965"/>
                        <a:pt x="19100" y="21962"/>
                      </a:cubicBezTo>
                      <a:cubicBezTo>
                        <a:pt x="20682" y="21962"/>
                        <a:pt x="21962" y="20680"/>
                        <a:pt x="21962"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6" name="Freeform: Shape 440">
                  <a:extLst>
                    <a:ext uri="{FF2B5EF4-FFF2-40B4-BE49-F238E27FC236}">
                      <a16:creationId xmlns:a16="http://schemas.microsoft.com/office/drawing/2014/main" id="{572E2D27-AE0E-EF4B-B8B3-2829EFBC964D}"/>
                    </a:ext>
                  </a:extLst>
                </p:cNvPr>
                <p:cNvSpPr/>
                <p:nvPr/>
              </p:nvSpPr>
              <p:spPr>
                <a:xfrm>
                  <a:off x="4010404" y="4907366"/>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7" name="Freeform: Shape 441">
                  <a:extLst>
                    <a:ext uri="{FF2B5EF4-FFF2-40B4-BE49-F238E27FC236}">
                      <a16:creationId xmlns:a16="http://schemas.microsoft.com/office/drawing/2014/main" id="{9EE5B7B9-5801-5444-9124-04C59B168990}"/>
                    </a:ext>
                  </a:extLst>
                </p:cNvPr>
                <p:cNvSpPr/>
                <p:nvPr/>
              </p:nvSpPr>
              <p:spPr>
                <a:xfrm>
                  <a:off x="4062054" y="4907955"/>
                  <a:ext cx="42922" cy="42922"/>
                </a:xfrm>
                <a:custGeom>
                  <a:avLst/>
                  <a:gdLst>
                    <a:gd name="connsiteX0" fmla="*/ 32120 w 42922"/>
                    <a:gd name="connsiteY0" fmla="*/ 24107 h 42922"/>
                    <a:gd name="connsiteX1" fmla="*/ 24107 w 42922"/>
                    <a:gd name="connsiteY1" fmla="*/ 16096 h 42922"/>
                    <a:gd name="connsiteX2" fmla="*/ 16096 w 42922"/>
                    <a:gd name="connsiteY2" fmla="*/ 24110 h 42922"/>
                    <a:gd name="connsiteX3" fmla="*/ 24110 w 42922"/>
                    <a:gd name="connsiteY3" fmla="*/ 32120 h 42922"/>
                    <a:gd name="connsiteX4" fmla="*/ 24251 w 42922"/>
                    <a:gd name="connsiteY4" fmla="*/ 32119 h 42922"/>
                    <a:gd name="connsiteX5" fmla="*/ 32122 w 42922"/>
                    <a:gd name="connsiteY5" fmla="*/ 24251 h 42922"/>
                    <a:gd name="connsiteX6" fmla="*/ 32120 w 42922"/>
                    <a:gd name="connsiteY6" fmla="*/ 24107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922" h="42922">
                      <a:moveTo>
                        <a:pt x="32120" y="24107"/>
                      </a:moveTo>
                      <a:cubicBezTo>
                        <a:pt x="32120" y="19681"/>
                        <a:pt x="28532" y="16094"/>
                        <a:pt x="24107" y="16096"/>
                      </a:cubicBezTo>
                      <a:cubicBezTo>
                        <a:pt x="19681" y="16096"/>
                        <a:pt x="16096" y="19684"/>
                        <a:pt x="16096" y="24110"/>
                      </a:cubicBezTo>
                      <a:cubicBezTo>
                        <a:pt x="16097" y="28535"/>
                        <a:pt x="19684" y="32120"/>
                        <a:pt x="24110" y="32120"/>
                      </a:cubicBezTo>
                      <a:cubicBezTo>
                        <a:pt x="24157" y="32120"/>
                        <a:pt x="24204" y="32120"/>
                        <a:pt x="24251" y="32119"/>
                      </a:cubicBezTo>
                      <a:cubicBezTo>
                        <a:pt x="28598" y="32120"/>
                        <a:pt x="32120" y="28598"/>
                        <a:pt x="32122" y="24251"/>
                      </a:cubicBezTo>
                      <a:cubicBezTo>
                        <a:pt x="32122" y="24203"/>
                        <a:pt x="32122" y="24155"/>
                        <a:pt x="32120" y="24107"/>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8" name="Freeform: Shape 442">
                  <a:extLst>
                    <a:ext uri="{FF2B5EF4-FFF2-40B4-BE49-F238E27FC236}">
                      <a16:creationId xmlns:a16="http://schemas.microsoft.com/office/drawing/2014/main" id="{22500FE2-AAC8-C84B-9DB9-AA48FF13571C}"/>
                    </a:ext>
                  </a:extLst>
                </p:cNvPr>
                <p:cNvSpPr/>
                <p:nvPr/>
              </p:nvSpPr>
              <p:spPr>
                <a:xfrm>
                  <a:off x="4114850" y="4908669"/>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99" name="Freeform: Shape 443">
                  <a:extLst>
                    <a:ext uri="{FF2B5EF4-FFF2-40B4-BE49-F238E27FC236}">
                      <a16:creationId xmlns:a16="http://schemas.microsoft.com/office/drawing/2014/main" id="{AA4C667D-00D0-B34C-8EF4-607E7C172FDD}"/>
                    </a:ext>
                  </a:extLst>
                </p:cNvPr>
                <p:cNvSpPr/>
                <p:nvPr/>
              </p:nvSpPr>
              <p:spPr>
                <a:xfrm>
                  <a:off x="4166929" y="490923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0" name="Freeform: Shape 444">
                  <a:extLst>
                    <a:ext uri="{FF2B5EF4-FFF2-40B4-BE49-F238E27FC236}">
                      <a16:creationId xmlns:a16="http://schemas.microsoft.com/office/drawing/2014/main" id="{EE22E284-617F-354B-8DB7-4F7477B110C6}"/>
                    </a:ext>
                  </a:extLst>
                </p:cNvPr>
                <p:cNvSpPr/>
                <p:nvPr/>
              </p:nvSpPr>
              <p:spPr>
                <a:xfrm>
                  <a:off x="4219079" y="4910737"/>
                  <a:ext cx="42922" cy="42922"/>
                </a:xfrm>
                <a:custGeom>
                  <a:avLst/>
                  <a:gdLst>
                    <a:gd name="connsiteX0" fmla="*/ 28330 w 42922"/>
                    <a:gd name="connsiteY0" fmla="*/ 21313 h 42922"/>
                    <a:gd name="connsiteX1" fmla="*/ 21313 w 42922"/>
                    <a:gd name="connsiteY1" fmla="*/ 16168 h 42922"/>
                    <a:gd name="connsiteX2" fmla="*/ 16168 w 42922"/>
                    <a:gd name="connsiteY2" fmla="*/ 21313 h 42922"/>
                    <a:gd name="connsiteX3" fmla="*/ 21313 w 42922"/>
                    <a:gd name="connsiteY3" fmla="*/ 28330 h 42922"/>
                    <a:gd name="connsiteX4" fmla="*/ 28330 w 42922"/>
                    <a:gd name="connsiteY4" fmla="*/ 23185 h 42922"/>
                    <a:gd name="connsiteX5" fmla="*/ 28330 w 42922"/>
                    <a:gd name="connsiteY5" fmla="*/ 2131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30" y="21313"/>
                      </a:moveTo>
                      <a:cubicBezTo>
                        <a:pt x="27813" y="17955"/>
                        <a:pt x="24671" y="15652"/>
                        <a:pt x="21313" y="16168"/>
                      </a:cubicBezTo>
                      <a:cubicBezTo>
                        <a:pt x="18659" y="16576"/>
                        <a:pt x="16576" y="18659"/>
                        <a:pt x="16168" y="21313"/>
                      </a:cubicBezTo>
                      <a:cubicBezTo>
                        <a:pt x="15652" y="24671"/>
                        <a:pt x="17955" y="27813"/>
                        <a:pt x="21313" y="28330"/>
                      </a:cubicBezTo>
                      <a:cubicBezTo>
                        <a:pt x="24671" y="28846"/>
                        <a:pt x="27813" y="26543"/>
                        <a:pt x="28330" y="23185"/>
                      </a:cubicBezTo>
                      <a:cubicBezTo>
                        <a:pt x="28425" y="22564"/>
                        <a:pt x="28425" y="21933"/>
                        <a:pt x="28330" y="2131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1" name="Freeform: Shape 445">
                  <a:extLst>
                    <a:ext uri="{FF2B5EF4-FFF2-40B4-BE49-F238E27FC236}">
                      <a16:creationId xmlns:a16="http://schemas.microsoft.com/office/drawing/2014/main" id="{B3AE9176-67B1-DB4E-BD4C-DEB41A3D65DB}"/>
                    </a:ext>
                  </a:extLst>
                </p:cNvPr>
                <p:cNvSpPr/>
                <p:nvPr/>
              </p:nvSpPr>
              <p:spPr>
                <a:xfrm>
                  <a:off x="4271373" y="4910507"/>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2" name="Freeform: Shape 446">
                  <a:extLst>
                    <a:ext uri="{FF2B5EF4-FFF2-40B4-BE49-F238E27FC236}">
                      <a16:creationId xmlns:a16="http://schemas.microsoft.com/office/drawing/2014/main" id="{47C0BFF9-1565-F84F-8FFC-0957B8E223BD}"/>
                    </a:ext>
                  </a:extLst>
                </p:cNvPr>
                <p:cNvSpPr/>
                <p:nvPr/>
              </p:nvSpPr>
              <p:spPr>
                <a:xfrm>
                  <a:off x="4323524" y="4911910"/>
                  <a:ext cx="28615" cy="28615"/>
                </a:xfrm>
                <a:custGeom>
                  <a:avLst/>
                  <a:gdLst>
                    <a:gd name="connsiteX0" fmla="*/ 25754 w 28614"/>
                    <a:gd name="connsiteY0" fmla="*/ 20130 h 28614"/>
                    <a:gd name="connsiteX1" fmla="*/ 20130 w 28614"/>
                    <a:gd name="connsiteY1" fmla="*/ 16168 h 28614"/>
                    <a:gd name="connsiteX2" fmla="*/ 16168 w 28614"/>
                    <a:gd name="connsiteY2" fmla="*/ 20130 h 28614"/>
                    <a:gd name="connsiteX3" fmla="*/ 20130 w 28614"/>
                    <a:gd name="connsiteY3" fmla="*/ 25754 h 28614"/>
                    <a:gd name="connsiteX4" fmla="*/ 25754 w 28614"/>
                    <a:gd name="connsiteY4" fmla="*/ 21793 h 28614"/>
                    <a:gd name="connsiteX5" fmla="*/ 25754 w 28614"/>
                    <a:gd name="connsiteY5" fmla="*/ 2013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614" h="28614">
                      <a:moveTo>
                        <a:pt x="25754" y="20130"/>
                      </a:moveTo>
                      <a:cubicBezTo>
                        <a:pt x="25295" y="17483"/>
                        <a:pt x="22777" y="15709"/>
                        <a:pt x="20130" y="16168"/>
                      </a:cubicBezTo>
                      <a:cubicBezTo>
                        <a:pt x="18106" y="16519"/>
                        <a:pt x="16519" y="18106"/>
                        <a:pt x="16168" y="20130"/>
                      </a:cubicBezTo>
                      <a:cubicBezTo>
                        <a:pt x="15709" y="22777"/>
                        <a:pt x="17483" y="25295"/>
                        <a:pt x="20130" y="25754"/>
                      </a:cubicBezTo>
                      <a:cubicBezTo>
                        <a:pt x="22777" y="26214"/>
                        <a:pt x="25295" y="24439"/>
                        <a:pt x="25754" y="21793"/>
                      </a:cubicBezTo>
                      <a:cubicBezTo>
                        <a:pt x="25850" y="21242"/>
                        <a:pt x="25850" y="20679"/>
                        <a:pt x="25754" y="2013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3" name="Freeform: Shape 447">
                  <a:extLst>
                    <a:ext uri="{FF2B5EF4-FFF2-40B4-BE49-F238E27FC236}">
                      <a16:creationId xmlns:a16="http://schemas.microsoft.com/office/drawing/2014/main" id="{FD8FCBF6-0183-C54A-B6B2-D799D76B148E}"/>
                    </a:ext>
                  </a:extLst>
                </p:cNvPr>
                <p:cNvSpPr/>
                <p:nvPr/>
              </p:nvSpPr>
              <p:spPr>
                <a:xfrm>
                  <a:off x="4375818" y="4911796"/>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4" name="Freeform: Shape 448">
                  <a:extLst>
                    <a:ext uri="{FF2B5EF4-FFF2-40B4-BE49-F238E27FC236}">
                      <a16:creationId xmlns:a16="http://schemas.microsoft.com/office/drawing/2014/main" id="{CF0E3FB9-6C62-5D4C-B08F-8015FD2101DE}"/>
                    </a:ext>
                  </a:extLst>
                </p:cNvPr>
                <p:cNvSpPr/>
                <p:nvPr/>
              </p:nvSpPr>
              <p:spPr>
                <a:xfrm>
                  <a:off x="4428613" y="4912384"/>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5" name="Freeform: Shape 449">
                  <a:extLst>
                    <a:ext uri="{FF2B5EF4-FFF2-40B4-BE49-F238E27FC236}">
                      <a16:creationId xmlns:a16="http://schemas.microsoft.com/office/drawing/2014/main" id="{135996C0-2928-C848-AF2C-B28CAEC1669C}"/>
                    </a:ext>
                  </a:extLst>
                </p:cNvPr>
                <p:cNvSpPr/>
                <p:nvPr/>
              </p:nvSpPr>
              <p:spPr>
                <a:xfrm>
                  <a:off x="4480120" y="4913109"/>
                  <a:ext cx="28615" cy="28615"/>
                </a:xfrm>
                <a:custGeom>
                  <a:avLst/>
                  <a:gdLst>
                    <a:gd name="connsiteX0" fmla="*/ 21962 w 28614"/>
                    <a:gd name="connsiteY0" fmla="*/ 18961 h 28614"/>
                    <a:gd name="connsiteX1" fmla="*/ 19100 w 28614"/>
                    <a:gd name="connsiteY1" fmla="*/ 16100 h 28614"/>
                    <a:gd name="connsiteX2" fmla="*/ 16100 w 28614"/>
                    <a:gd name="connsiteY2" fmla="*/ 18815 h 28614"/>
                    <a:gd name="connsiteX3" fmla="*/ 16096 w 28614"/>
                    <a:gd name="connsiteY3" fmla="*/ 18961 h 28614"/>
                    <a:gd name="connsiteX4" fmla="*/ 19100 w 28614"/>
                    <a:gd name="connsiteY4" fmla="*/ 21966 h 28614"/>
                    <a:gd name="connsiteX5" fmla="*/ 21966 w 28614"/>
                    <a:gd name="connsiteY5" fmla="*/ 19108 h 28614"/>
                    <a:gd name="connsiteX6" fmla="*/ 21962 w 28614"/>
                    <a:gd name="connsiteY6" fmla="*/ 18961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1962" y="18961"/>
                      </a:moveTo>
                      <a:cubicBezTo>
                        <a:pt x="21962" y="17380"/>
                        <a:pt x="20682" y="16100"/>
                        <a:pt x="19100" y="16100"/>
                      </a:cubicBezTo>
                      <a:cubicBezTo>
                        <a:pt x="17522" y="16021"/>
                        <a:pt x="16179" y="17236"/>
                        <a:pt x="16100" y="18815"/>
                      </a:cubicBezTo>
                      <a:cubicBezTo>
                        <a:pt x="16097" y="18864"/>
                        <a:pt x="16096" y="18912"/>
                        <a:pt x="16096" y="18961"/>
                      </a:cubicBezTo>
                      <a:cubicBezTo>
                        <a:pt x="16096" y="20621"/>
                        <a:pt x="17441" y="21966"/>
                        <a:pt x="19100" y="21966"/>
                      </a:cubicBezTo>
                      <a:cubicBezTo>
                        <a:pt x="20682" y="21967"/>
                        <a:pt x="21963" y="20688"/>
                        <a:pt x="21966" y="19108"/>
                      </a:cubicBezTo>
                      <a:cubicBezTo>
                        <a:pt x="21966" y="19058"/>
                        <a:pt x="21965" y="19010"/>
                        <a:pt x="21962" y="18961"/>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6" name="Freeform: Shape 450">
                  <a:extLst>
                    <a:ext uri="{FF2B5EF4-FFF2-40B4-BE49-F238E27FC236}">
                      <a16:creationId xmlns:a16="http://schemas.microsoft.com/office/drawing/2014/main" id="{78470F3A-631A-4D4B-AB72-6D4001549B7C}"/>
                    </a:ext>
                  </a:extLst>
                </p:cNvPr>
                <p:cNvSpPr/>
                <p:nvPr/>
              </p:nvSpPr>
              <p:spPr>
                <a:xfrm>
                  <a:off x="4010404" y="4939899"/>
                  <a:ext cx="42922" cy="42922"/>
                </a:xfrm>
                <a:custGeom>
                  <a:avLst/>
                  <a:gdLst>
                    <a:gd name="connsiteX0" fmla="*/ 33265 w 42922"/>
                    <a:gd name="connsiteY0" fmla="*/ 24680 h 42922"/>
                    <a:gd name="connsiteX1" fmla="*/ 24680 w 42922"/>
                    <a:gd name="connsiteY1" fmla="*/ 16096 h 42922"/>
                    <a:gd name="connsiteX2" fmla="*/ 16096 w 42922"/>
                    <a:gd name="connsiteY2" fmla="*/ 24680 h 42922"/>
                    <a:gd name="connsiteX3" fmla="*/ 24680 w 42922"/>
                    <a:gd name="connsiteY3" fmla="*/ 33265 h 42922"/>
                    <a:gd name="connsiteX4" fmla="*/ 33265 w 42922"/>
                    <a:gd name="connsiteY4" fmla="*/ 24680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3265" y="24680"/>
                      </a:moveTo>
                      <a:cubicBezTo>
                        <a:pt x="33265" y="19939"/>
                        <a:pt x="29422" y="16096"/>
                        <a:pt x="24680" y="16096"/>
                      </a:cubicBezTo>
                      <a:cubicBezTo>
                        <a:pt x="19939" y="16096"/>
                        <a:pt x="16096" y="19939"/>
                        <a:pt x="16096" y="24680"/>
                      </a:cubicBezTo>
                      <a:cubicBezTo>
                        <a:pt x="16096" y="29422"/>
                        <a:pt x="19939" y="33265"/>
                        <a:pt x="24680" y="33265"/>
                      </a:cubicBezTo>
                      <a:cubicBezTo>
                        <a:pt x="29422" y="33265"/>
                        <a:pt x="33265" y="29422"/>
                        <a:pt x="33265" y="2468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7" name="Freeform: Shape 451">
                  <a:extLst>
                    <a:ext uri="{FF2B5EF4-FFF2-40B4-BE49-F238E27FC236}">
                      <a16:creationId xmlns:a16="http://schemas.microsoft.com/office/drawing/2014/main" id="{706B1E9F-8DE1-454D-98B9-A950DFD26832}"/>
                    </a:ext>
                  </a:extLst>
                </p:cNvPr>
                <p:cNvSpPr/>
                <p:nvPr/>
              </p:nvSpPr>
              <p:spPr>
                <a:xfrm>
                  <a:off x="4062055" y="4940333"/>
                  <a:ext cx="42922" cy="42922"/>
                </a:xfrm>
                <a:custGeom>
                  <a:avLst/>
                  <a:gdLst>
                    <a:gd name="connsiteX0" fmla="*/ 32119 w 42922"/>
                    <a:gd name="connsiteY0" fmla="*/ 24250 h 42922"/>
                    <a:gd name="connsiteX1" fmla="*/ 24250 w 42922"/>
                    <a:gd name="connsiteY1" fmla="*/ 16097 h 42922"/>
                    <a:gd name="connsiteX2" fmla="*/ 16097 w 42922"/>
                    <a:gd name="connsiteY2" fmla="*/ 23966 h 42922"/>
                    <a:gd name="connsiteX3" fmla="*/ 23966 w 42922"/>
                    <a:gd name="connsiteY3" fmla="*/ 32119 h 42922"/>
                    <a:gd name="connsiteX4" fmla="*/ 24250 w 42922"/>
                    <a:gd name="connsiteY4" fmla="*/ 32119 h 42922"/>
                    <a:gd name="connsiteX5" fmla="*/ 32119 w 42922"/>
                    <a:gd name="connsiteY5" fmla="*/ 2425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32119" y="24250"/>
                      </a:moveTo>
                      <a:cubicBezTo>
                        <a:pt x="32197" y="19826"/>
                        <a:pt x="28674" y="16176"/>
                        <a:pt x="24250" y="16097"/>
                      </a:cubicBezTo>
                      <a:cubicBezTo>
                        <a:pt x="19826" y="16019"/>
                        <a:pt x="16176" y="19541"/>
                        <a:pt x="16097" y="23966"/>
                      </a:cubicBezTo>
                      <a:cubicBezTo>
                        <a:pt x="16019" y="28390"/>
                        <a:pt x="19541" y="32040"/>
                        <a:pt x="23966" y="32119"/>
                      </a:cubicBezTo>
                      <a:cubicBezTo>
                        <a:pt x="24061" y="32120"/>
                        <a:pt x="24155" y="32120"/>
                        <a:pt x="24250" y="32119"/>
                      </a:cubicBezTo>
                      <a:cubicBezTo>
                        <a:pt x="28563" y="32043"/>
                        <a:pt x="32043" y="28563"/>
                        <a:pt x="32119" y="2425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8" name="Freeform: Shape 452">
                  <a:extLst>
                    <a:ext uri="{FF2B5EF4-FFF2-40B4-BE49-F238E27FC236}">
                      <a16:creationId xmlns:a16="http://schemas.microsoft.com/office/drawing/2014/main" id="{B1172D4C-AD80-1944-BDD6-C9AFC480452A}"/>
                    </a:ext>
                  </a:extLst>
                </p:cNvPr>
                <p:cNvSpPr/>
                <p:nvPr/>
              </p:nvSpPr>
              <p:spPr>
                <a:xfrm>
                  <a:off x="4114851" y="4941204"/>
                  <a:ext cx="42922" cy="42922"/>
                </a:xfrm>
                <a:custGeom>
                  <a:avLst/>
                  <a:gdLst>
                    <a:gd name="connsiteX0" fmla="*/ 30689 w 42922"/>
                    <a:gd name="connsiteY0" fmla="*/ 23393 h 42922"/>
                    <a:gd name="connsiteX1" fmla="*/ 23393 w 42922"/>
                    <a:gd name="connsiteY1" fmla="*/ 16096 h 42922"/>
                    <a:gd name="connsiteX2" fmla="*/ 16096 w 42922"/>
                    <a:gd name="connsiteY2" fmla="*/ 23393 h 42922"/>
                    <a:gd name="connsiteX3" fmla="*/ 23393 w 42922"/>
                    <a:gd name="connsiteY3" fmla="*/ 30690 h 42922"/>
                    <a:gd name="connsiteX4" fmla="*/ 30689 w 42922"/>
                    <a:gd name="connsiteY4" fmla="*/ 2339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30689" y="23393"/>
                      </a:moveTo>
                      <a:cubicBezTo>
                        <a:pt x="30689" y="19362"/>
                        <a:pt x="27423" y="16096"/>
                        <a:pt x="23393" y="16096"/>
                      </a:cubicBezTo>
                      <a:cubicBezTo>
                        <a:pt x="19362" y="16096"/>
                        <a:pt x="16096" y="19362"/>
                        <a:pt x="16096" y="23393"/>
                      </a:cubicBezTo>
                      <a:cubicBezTo>
                        <a:pt x="16096" y="27423"/>
                        <a:pt x="19362" y="30690"/>
                        <a:pt x="23393" y="30690"/>
                      </a:cubicBezTo>
                      <a:cubicBezTo>
                        <a:pt x="27423" y="30690"/>
                        <a:pt x="30689" y="27423"/>
                        <a:pt x="30689" y="233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09" name="Freeform: Shape 453">
                  <a:extLst>
                    <a:ext uri="{FF2B5EF4-FFF2-40B4-BE49-F238E27FC236}">
                      <a16:creationId xmlns:a16="http://schemas.microsoft.com/office/drawing/2014/main" id="{5C6CD5BA-CAC4-594D-BD6B-FF57BA4970C7}"/>
                    </a:ext>
                  </a:extLst>
                </p:cNvPr>
                <p:cNvSpPr/>
                <p:nvPr/>
              </p:nvSpPr>
              <p:spPr>
                <a:xfrm>
                  <a:off x="4166928" y="4941762"/>
                  <a:ext cx="42922" cy="42922"/>
                </a:xfrm>
                <a:custGeom>
                  <a:avLst/>
                  <a:gdLst>
                    <a:gd name="connsiteX0" fmla="*/ 29545 w 42922"/>
                    <a:gd name="connsiteY0" fmla="*/ 22819 h 42922"/>
                    <a:gd name="connsiteX1" fmla="*/ 22819 w 42922"/>
                    <a:gd name="connsiteY1" fmla="*/ 16096 h 42922"/>
                    <a:gd name="connsiteX2" fmla="*/ 16096 w 42922"/>
                    <a:gd name="connsiteY2" fmla="*/ 22822 h 42922"/>
                    <a:gd name="connsiteX3" fmla="*/ 22822 w 42922"/>
                    <a:gd name="connsiteY3" fmla="*/ 29545 h 42922"/>
                    <a:gd name="connsiteX4" fmla="*/ 22964 w 42922"/>
                    <a:gd name="connsiteY4" fmla="*/ 29544 h 42922"/>
                    <a:gd name="connsiteX5" fmla="*/ 29545 w 42922"/>
                    <a:gd name="connsiteY5" fmla="*/ 22819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9545" y="22819"/>
                      </a:moveTo>
                      <a:cubicBezTo>
                        <a:pt x="29544" y="19105"/>
                        <a:pt x="26533" y="16094"/>
                        <a:pt x="22819" y="16096"/>
                      </a:cubicBezTo>
                      <a:cubicBezTo>
                        <a:pt x="19105" y="16097"/>
                        <a:pt x="16094" y="19108"/>
                        <a:pt x="16096" y="22822"/>
                      </a:cubicBezTo>
                      <a:cubicBezTo>
                        <a:pt x="16097" y="26536"/>
                        <a:pt x="19108" y="29546"/>
                        <a:pt x="22822" y="29545"/>
                      </a:cubicBezTo>
                      <a:cubicBezTo>
                        <a:pt x="22869" y="29545"/>
                        <a:pt x="22916" y="29545"/>
                        <a:pt x="22964" y="29544"/>
                      </a:cubicBezTo>
                      <a:cubicBezTo>
                        <a:pt x="26622" y="29466"/>
                        <a:pt x="29546" y="26477"/>
                        <a:pt x="29545" y="22819"/>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0" name="Freeform: Shape 454">
                  <a:extLst>
                    <a:ext uri="{FF2B5EF4-FFF2-40B4-BE49-F238E27FC236}">
                      <a16:creationId xmlns:a16="http://schemas.microsoft.com/office/drawing/2014/main" id="{49F40590-63F7-CC4B-9B16-27456C86EDC4}"/>
                    </a:ext>
                  </a:extLst>
                </p:cNvPr>
                <p:cNvSpPr/>
                <p:nvPr/>
              </p:nvSpPr>
              <p:spPr>
                <a:xfrm>
                  <a:off x="4219009" y="4942194"/>
                  <a:ext cx="42922" cy="42922"/>
                </a:xfrm>
                <a:custGeom>
                  <a:avLst/>
                  <a:gdLst>
                    <a:gd name="connsiteX0" fmla="*/ 28399 w 42922"/>
                    <a:gd name="connsiteY0" fmla="*/ 22390 h 42922"/>
                    <a:gd name="connsiteX1" fmla="*/ 22390 w 42922"/>
                    <a:gd name="connsiteY1" fmla="*/ 16098 h 42922"/>
                    <a:gd name="connsiteX2" fmla="*/ 16098 w 42922"/>
                    <a:gd name="connsiteY2" fmla="*/ 22107 h 42922"/>
                    <a:gd name="connsiteX3" fmla="*/ 22107 w 42922"/>
                    <a:gd name="connsiteY3" fmla="*/ 28399 h 42922"/>
                    <a:gd name="connsiteX4" fmla="*/ 22390 w 42922"/>
                    <a:gd name="connsiteY4" fmla="*/ 28399 h 42922"/>
                    <a:gd name="connsiteX5" fmla="*/ 28399 w 42922"/>
                    <a:gd name="connsiteY5" fmla="*/ 22390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922" h="42922">
                      <a:moveTo>
                        <a:pt x="28399" y="22390"/>
                      </a:moveTo>
                      <a:cubicBezTo>
                        <a:pt x="28478" y="18993"/>
                        <a:pt x="25787" y="16176"/>
                        <a:pt x="22390" y="16098"/>
                      </a:cubicBezTo>
                      <a:cubicBezTo>
                        <a:pt x="18993" y="16020"/>
                        <a:pt x="16176" y="18710"/>
                        <a:pt x="16098" y="22107"/>
                      </a:cubicBezTo>
                      <a:cubicBezTo>
                        <a:pt x="16020" y="25503"/>
                        <a:pt x="18710" y="28320"/>
                        <a:pt x="22107" y="28399"/>
                      </a:cubicBezTo>
                      <a:cubicBezTo>
                        <a:pt x="22201" y="28402"/>
                        <a:pt x="22296" y="28402"/>
                        <a:pt x="22390" y="28399"/>
                      </a:cubicBezTo>
                      <a:cubicBezTo>
                        <a:pt x="25709" y="28399"/>
                        <a:pt x="28399" y="25709"/>
                        <a:pt x="28399" y="2239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1" name="Freeform: Shape 455">
                  <a:extLst>
                    <a:ext uri="{FF2B5EF4-FFF2-40B4-BE49-F238E27FC236}">
                      <a16:creationId xmlns:a16="http://schemas.microsoft.com/office/drawing/2014/main" id="{F30BB9B5-EEDD-A645-AFE6-01541328182E}"/>
                    </a:ext>
                  </a:extLst>
                </p:cNvPr>
                <p:cNvSpPr/>
                <p:nvPr/>
              </p:nvSpPr>
              <p:spPr>
                <a:xfrm>
                  <a:off x="4271373" y="4943028"/>
                  <a:ext cx="42922" cy="42922"/>
                </a:xfrm>
                <a:custGeom>
                  <a:avLst/>
                  <a:gdLst>
                    <a:gd name="connsiteX0" fmla="*/ 26970 w 42922"/>
                    <a:gd name="connsiteY0" fmla="*/ 21533 h 42922"/>
                    <a:gd name="connsiteX1" fmla="*/ 21533 w 42922"/>
                    <a:gd name="connsiteY1" fmla="*/ 16096 h 42922"/>
                    <a:gd name="connsiteX2" fmla="*/ 16096 w 42922"/>
                    <a:gd name="connsiteY2" fmla="*/ 21533 h 42922"/>
                    <a:gd name="connsiteX3" fmla="*/ 21533 w 42922"/>
                    <a:gd name="connsiteY3" fmla="*/ 26970 h 42922"/>
                    <a:gd name="connsiteX4" fmla="*/ 26970 w 42922"/>
                    <a:gd name="connsiteY4" fmla="*/ 21533 h 42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22" h="42922">
                      <a:moveTo>
                        <a:pt x="26970" y="21533"/>
                      </a:moveTo>
                      <a:cubicBezTo>
                        <a:pt x="26970" y="18530"/>
                        <a:pt x="24536" y="16096"/>
                        <a:pt x="21533" y="16096"/>
                      </a:cubicBezTo>
                      <a:cubicBezTo>
                        <a:pt x="18530" y="16096"/>
                        <a:pt x="16096" y="18530"/>
                        <a:pt x="16096" y="21533"/>
                      </a:cubicBezTo>
                      <a:cubicBezTo>
                        <a:pt x="16096" y="24536"/>
                        <a:pt x="18530" y="26970"/>
                        <a:pt x="21533" y="26970"/>
                      </a:cubicBezTo>
                      <a:cubicBezTo>
                        <a:pt x="24536" y="26970"/>
                        <a:pt x="26970" y="24536"/>
                        <a:pt x="26970" y="2153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2" name="Freeform: Shape 456">
                  <a:extLst>
                    <a:ext uri="{FF2B5EF4-FFF2-40B4-BE49-F238E27FC236}">
                      <a16:creationId xmlns:a16="http://schemas.microsoft.com/office/drawing/2014/main" id="{C0094A4A-2A4B-2F4C-9AC8-CD783E8A73AE}"/>
                    </a:ext>
                  </a:extLst>
                </p:cNvPr>
                <p:cNvSpPr/>
                <p:nvPr/>
              </p:nvSpPr>
              <p:spPr>
                <a:xfrm>
                  <a:off x="4323521" y="4942771"/>
                  <a:ext cx="28615" cy="42922"/>
                </a:xfrm>
                <a:custGeom>
                  <a:avLst/>
                  <a:gdLst>
                    <a:gd name="connsiteX0" fmla="*/ 25754 w 28614"/>
                    <a:gd name="connsiteY0" fmla="*/ 21793 h 42922"/>
                    <a:gd name="connsiteX1" fmla="*/ 21793 w 28614"/>
                    <a:gd name="connsiteY1" fmla="*/ 16168 h 42922"/>
                    <a:gd name="connsiteX2" fmla="*/ 16168 w 28614"/>
                    <a:gd name="connsiteY2" fmla="*/ 20130 h 42922"/>
                    <a:gd name="connsiteX3" fmla="*/ 16168 w 28614"/>
                    <a:gd name="connsiteY3" fmla="*/ 21793 h 42922"/>
                    <a:gd name="connsiteX4" fmla="*/ 20130 w 28614"/>
                    <a:gd name="connsiteY4" fmla="*/ 27417 h 42922"/>
                    <a:gd name="connsiteX5" fmla="*/ 25754 w 28614"/>
                    <a:gd name="connsiteY5" fmla="*/ 23455 h 42922"/>
                    <a:gd name="connsiteX6" fmla="*/ 25754 w 28614"/>
                    <a:gd name="connsiteY6" fmla="*/ 21793 h 42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42922">
                      <a:moveTo>
                        <a:pt x="25754" y="21793"/>
                      </a:moveTo>
                      <a:cubicBezTo>
                        <a:pt x="26214" y="19146"/>
                        <a:pt x="24439" y="16628"/>
                        <a:pt x="21793" y="16168"/>
                      </a:cubicBezTo>
                      <a:cubicBezTo>
                        <a:pt x="19146" y="15709"/>
                        <a:pt x="16628" y="17483"/>
                        <a:pt x="16168" y="20130"/>
                      </a:cubicBezTo>
                      <a:cubicBezTo>
                        <a:pt x="16072" y="20681"/>
                        <a:pt x="16072" y="21243"/>
                        <a:pt x="16168" y="21793"/>
                      </a:cubicBezTo>
                      <a:cubicBezTo>
                        <a:pt x="15709" y="24439"/>
                        <a:pt x="17483" y="26958"/>
                        <a:pt x="20130" y="27417"/>
                      </a:cubicBezTo>
                      <a:cubicBezTo>
                        <a:pt x="22777" y="27876"/>
                        <a:pt x="25295" y="26102"/>
                        <a:pt x="25754" y="23455"/>
                      </a:cubicBezTo>
                      <a:cubicBezTo>
                        <a:pt x="25850" y="22904"/>
                        <a:pt x="25850" y="22342"/>
                        <a:pt x="25754" y="2179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3" name="Freeform: Shape 457">
                  <a:extLst>
                    <a:ext uri="{FF2B5EF4-FFF2-40B4-BE49-F238E27FC236}">
                      <a16:creationId xmlns:a16="http://schemas.microsoft.com/office/drawing/2014/main" id="{B6C53B31-A14B-7248-8798-EC872E2588E8}"/>
                    </a:ext>
                  </a:extLst>
                </p:cNvPr>
                <p:cNvSpPr/>
                <p:nvPr/>
              </p:nvSpPr>
              <p:spPr>
                <a:xfrm>
                  <a:off x="4375813" y="4944297"/>
                  <a:ext cx="28615" cy="28615"/>
                </a:xfrm>
                <a:custGeom>
                  <a:avLst/>
                  <a:gdLst>
                    <a:gd name="connsiteX0" fmla="*/ 24394 w 28614"/>
                    <a:gd name="connsiteY0" fmla="*/ 20245 h 28614"/>
                    <a:gd name="connsiteX1" fmla="*/ 20245 w 28614"/>
                    <a:gd name="connsiteY1" fmla="*/ 16096 h 28614"/>
                    <a:gd name="connsiteX2" fmla="*/ 16096 w 28614"/>
                    <a:gd name="connsiteY2" fmla="*/ 20245 h 28614"/>
                    <a:gd name="connsiteX3" fmla="*/ 20245 w 28614"/>
                    <a:gd name="connsiteY3" fmla="*/ 24394 h 28614"/>
                    <a:gd name="connsiteX4" fmla="*/ 24394 w 28614"/>
                    <a:gd name="connsiteY4" fmla="*/ 20245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4394" y="20245"/>
                      </a:moveTo>
                      <a:cubicBezTo>
                        <a:pt x="24394" y="17953"/>
                        <a:pt x="22537" y="16096"/>
                        <a:pt x="20245" y="16096"/>
                      </a:cubicBezTo>
                      <a:cubicBezTo>
                        <a:pt x="17953" y="16096"/>
                        <a:pt x="16096" y="17953"/>
                        <a:pt x="16096" y="20245"/>
                      </a:cubicBezTo>
                      <a:cubicBezTo>
                        <a:pt x="16096" y="22537"/>
                        <a:pt x="17953" y="24394"/>
                        <a:pt x="20245" y="24394"/>
                      </a:cubicBezTo>
                      <a:cubicBezTo>
                        <a:pt x="22537" y="24394"/>
                        <a:pt x="24394" y="22537"/>
                        <a:pt x="24394" y="20245"/>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4" name="Freeform: Shape 458">
                  <a:extLst>
                    <a:ext uri="{FF2B5EF4-FFF2-40B4-BE49-F238E27FC236}">
                      <a16:creationId xmlns:a16="http://schemas.microsoft.com/office/drawing/2014/main" id="{3ABE129E-EC49-524F-B1CC-56DE1042F41A}"/>
                    </a:ext>
                  </a:extLst>
                </p:cNvPr>
                <p:cNvSpPr/>
                <p:nvPr/>
              </p:nvSpPr>
              <p:spPr>
                <a:xfrm>
                  <a:off x="4428596" y="4944840"/>
                  <a:ext cx="28615" cy="28615"/>
                </a:xfrm>
                <a:custGeom>
                  <a:avLst/>
                  <a:gdLst>
                    <a:gd name="connsiteX0" fmla="*/ 23250 w 28614"/>
                    <a:gd name="connsiteY0" fmla="*/ 19673 h 28614"/>
                    <a:gd name="connsiteX1" fmla="*/ 19673 w 28614"/>
                    <a:gd name="connsiteY1" fmla="*/ 16096 h 28614"/>
                    <a:gd name="connsiteX2" fmla="*/ 16096 w 28614"/>
                    <a:gd name="connsiteY2" fmla="*/ 19673 h 28614"/>
                    <a:gd name="connsiteX3" fmla="*/ 19673 w 28614"/>
                    <a:gd name="connsiteY3" fmla="*/ 23250 h 28614"/>
                    <a:gd name="connsiteX4" fmla="*/ 23250 w 28614"/>
                    <a:gd name="connsiteY4" fmla="*/ 19673 h 28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14" h="28614">
                      <a:moveTo>
                        <a:pt x="23250" y="19673"/>
                      </a:moveTo>
                      <a:cubicBezTo>
                        <a:pt x="23250" y="17697"/>
                        <a:pt x="21649" y="16096"/>
                        <a:pt x="19673" y="16096"/>
                      </a:cubicBezTo>
                      <a:cubicBezTo>
                        <a:pt x="17697" y="16096"/>
                        <a:pt x="16096" y="17697"/>
                        <a:pt x="16096" y="19673"/>
                      </a:cubicBezTo>
                      <a:cubicBezTo>
                        <a:pt x="16096" y="21649"/>
                        <a:pt x="17697" y="23250"/>
                        <a:pt x="19673" y="23250"/>
                      </a:cubicBezTo>
                      <a:cubicBezTo>
                        <a:pt x="21649" y="23250"/>
                        <a:pt x="23250" y="21649"/>
                        <a:pt x="23250" y="19673"/>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615" name="Freeform: Shape 459">
                  <a:extLst>
                    <a:ext uri="{FF2B5EF4-FFF2-40B4-BE49-F238E27FC236}">
                      <a16:creationId xmlns:a16="http://schemas.microsoft.com/office/drawing/2014/main" id="{8E502B8B-7CDF-454C-B15E-D8F5EF01DB74}"/>
                    </a:ext>
                  </a:extLst>
                </p:cNvPr>
                <p:cNvSpPr/>
                <p:nvPr/>
              </p:nvSpPr>
              <p:spPr>
                <a:xfrm>
                  <a:off x="4480045" y="4945430"/>
                  <a:ext cx="28615" cy="28615"/>
                </a:xfrm>
                <a:custGeom>
                  <a:avLst/>
                  <a:gdLst>
                    <a:gd name="connsiteX0" fmla="*/ 22034 w 28614"/>
                    <a:gd name="connsiteY0" fmla="*/ 19100 h 28614"/>
                    <a:gd name="connsiteX1" fmla="*/ 19320 w 28614"/>
                    <a:gd name="connsiteY1" fmla="*/ 16099 h 28614"/>
                    <a:gd name="connsiteX2" fmla="*/ 19173 w 28614"/>
                    <a:gd name="connsiteY2" fmla="*/ 16096 h 28614"/>
                    <a:gd name="connsiteX3" fmla="*/ 16168 w 28614"/>
                    <a:gd name="connsiteY3" fmla="*/ 19100 h 28614"/>
                    <a:gd name="connsiteX4" fmla="*/ 18449 w 28614"/>
                    <a:gd name="connsiteY4" fmla="*/ 22686 h 28614"/>
                    <a:gd name="connsiteX5" fmla="*/ 22034 w 28614"/>
                    <a:gd name="connsiteY5" fmla="*/ 20404 h 28614"/>
                    <a:gd name="connsiteX6" fmla="*/ 22034 w 28614"/>
                    <a:gd name="connsiteY6" fmla="*/ 19100 h 28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14" h="28614">
                      <a:moveTo>
                        <a:pt x="22034" y="19100"/>
                      </a:moveTo>
                      <a:cubicBezTo>
                        <a:pt x="22113" y="17522"/>
                        <a:pt x="20898" y="16179"/>
                        <a:pt x="19320" y="16099"/>
                      </a:cubicBezTo>
                      <a:cubicBezTo>
                        <a:pt x="19270" y="16097"/>
                        <a:pt x="19222" y="16096"/>
                        <a:pt x="19173" y="16096"/>
                      </a:cubicBezTo>
                      <a:cubicBezTo>
                        <a:pt x="17513" y="16096"/>
                        <a:pt x="16168" y="17441"/>
                        <a:pt x="16168" y="19100"/>
                      </a:cubicBezTo>
                      <a:cubicBezTo>
                        <a:pt x="15808" y="20720"/>
                        <a:pt x="16829" y="22325"/>
                        <a:pt x="18449" y="22686"/>
                      </a:cubicBezTo>
                      <a:cubicBezTo>
                        <a:pt x="20070" y="23045"/>
                        <a:pt x="21674" y="22023"/>
                        <a:pt x="22034" y="20404"/>
                      </a:cubicBezTo>
                      <a:cubicBezTo>
                        <a:pt x="22130" y="19975"/>
                        <a:pt x="22130" y="19530"/>
                        <a:pt x="22034" y="19100"/>
                      </a:cubicBezTo>
                    </a:path>
                  </a:pathLst>
                </a:custGeom>
                <a:grp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grpSp>
          <p:grpSp>
            <p:nvGrpSpPr>
              <p:cNvPr id="1520" name="Group 1519">
                <a:extLst>
                  <a:ext uri="{FF2B5EF4-FFF2-40B4-BE49-F238E27FC236}">
                    <a16:creationId xmlns:a16="http://schemas.microsoft.com/office/drawing/2014/main" id="{CE4DE25D-9F74-7D4D-A304-797F49456800}"/>
                  </a:ext>
                </a:extLst>
              </p:cNvPr>
              <p:cNvGrpSpPr/>
              <p:nvPr/>
            </p:nvGrpSpPr>
            <p:grpSpPr>
              <a:xfrm>
                <a:off x="5590895" y="2512967"/>
                <a:ext cx="1316346" cy="1347039"/>
                <a:chOff x="509609" y="2501392"/>
                <a:chExt cx="1316346" cy="1347039"/>
              </a:xfrm>
            </p:grpSpPr>
            <p:sp>
              <p:nvSpPr>
                <p:cNvPr id="1541" name="Freeform: Shape 385">
                  <a:extLst>
                    <a:ext uri="{FF2B5EF4-FFF2-40B4-BE49-F238E27FC236}">
                      <a16:creationId xmlns:a16="http://schemas.microsoft.com/office/drawing/2014/main" id="{5A831946-7185-E547-BCD8-26CF9F57B63F}"/>
                    </a:ext>
                  </a:extLst>
                </p:cNvPr>
                <p:cNvSpPr/>
                <p:nvPr/>
              </p:nvSpPr>
              <p:spPr>
                <a:xfrm>
                  <a:off x="1090948" y="2501392"/>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2" name="Freeform: Shape 386">
                  <a:extLst>
                    <a:ext uri="{FF2B5EF4-FFF2-40B4-BE49-F238E27FC236}">
                      <a16:creationId xmlns:a16="http://schemas.microsoft.com/office/drawing/2014/main" id="{F9B288D0-A3F9-0D4E-94D0-269F352B64AA}"/>
                    </a:ext>
                  </a:extLst>
                </p:cNvPr>
                <p:cNvSpPr/>
                <p:nvPr/>
              </p:nvSpPr>
              <p:spPr>
                <a:xfrm>
                  <a:off x="885040" y="2537979"/>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3" name="Freeform: Shape 387">
                  <a:extLst>
                    <a:ext uri="{FF2B5EF4-FFF2-40B4-BE49-F238E27FC236}">
                      <a16:creationId xmlns:a16="http://schemas.microsoft.com/office/drawing/2014/main" id="{E04FC54D-2E87-AE4A-A32B-69CB386A476C}"/>
                    </a:ext>
                  </a:extLst>
                </p:cNvPr>
                <p:cNvSpPr/>
                <p:nvPr/>
              </p:nvSpPr>
              <p:spPr>
                <a:xfrm>
                  <a:off x="704133" y="2642660"/>
                  <a:ext cx="142285" cy="142285"/>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4" name="Freeform: Shape 388">
                  <a:extLst>
                    <a:ext uri="{FF2B5EF4-FFF2-40B4-BE49-F238E27FC236}">
                      <a16:creationId xmlns:a16="http://schemas.microsoft.com/office/drawing/2014/main" id="{396D98A1-A3F4-DF48-8A08-5C3A88B56081}"/>
                    </a:ext>
                  </a:extLst>
                </p:cNvPr>
                <p:cNvSpPr/>
                <p:nvPr/>
              </p:nvSpPr>
              <p:spPr>
                <a:xfrm>
                  <a:off x="569979" y="2803038"/>
                  <a:ext cx="142285" cy="142285"/>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5" name="Freeform: Shape 389">
                  <a:extLst>
                    <a:ext uri="{FF2B5EF4-FFF2-40B4-BE49-F238E27FC236}">
                      <a16:creationId xmlns:a16="http://schemas.microsoft.com/office/drawing/2014/main" id="{D4E4FAFD-2F95-BA4F-98C0-8CBFF820ABF6}"/>
                    </a:ext>
                  </a:extLst>
                </p:cNvPr>
                <p:cNvSpPr/>
                <p:nvPr/>
              </p:nvSpPr>
              <p:spPr>
                <a:xfrm>
                  <a:off x="509609" y="3010775"/>
                  <a:ext cx="121959" cy="121959"/>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6" name="Freeform: Shape 390">
                  <a:extLst>
                    <a:ext uri="{FF2B5EF4-FFF2-40B4-BE49-F238E27FC236}">
                      <a16:creationId xmlns:a16="http://schemas.microsoft.com/office/drawing/2014/main" id="{BDF8EF0A-C89A-0744-8CFF-AEE41CDF70B6}"/>
                    </a:ext>
                  </a:extLst>
                </p:cNvPr>
                <p:cNvSpPr/>
                <p:nvPr/>
              </p:nvSpPr>
              <p:spPr>
                <a:xfrm>
                  <a:off x="919391" y="3703097"/>
                  <a:ext cx="81306" cy="81306"/>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7" name="Freeform: Shape 391">
                  <a:extLst>
                    <a:ext uri="{FF2B5EF4-FFF2-40B4-BE49-F238E27FC236}">
                      <a16:creationId xmlns:a16="http://schemas.microsoft.com/office/drawing/2014/main" id="{769599B4-F559-CE49-AEB5-E4312FFD1157}"/>
                    </a:ext>
                  </a:extLst>
                </p:cNvPr>
                <p:cNvSpPr/>
                <p:nvPr/>
              </p:nvSpPr>
              <p:spPr>
                <a:xfrm>
                  <a:off x="1092167" y="3706146"/>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8" name="Freeform: Shape 392">
                  <a:extLst>
                    <a:ext uri="{FF2B5EF4-FFF2-40B4-BE49-F238E27FC236}">
                      <a16:creationId xmlns:a16="http://schemas.microsoft.com/office/drawing/2014/main" id="{619C94D2-35C4-BD4E-BD53-7CEEE50D030A}"/>
                    </a:ext>
                  </a:extLst>
                </p:cNvPr>
                <p:cNvSpPr/>
                <p:nvPr/>
              </p:nvSpPr>
              <p:spPr>
                <a:xfrm>
                  <a:off x="1298075" y="3668948"/>
                  <a:ext cx="142285" cy="142285"/>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49" name="Freeform: Shape 393">
                  <a:extLst>
                    <a:ext uri="{FF2B5EF4-FFF2-40B4-BE49-F238E27FC236}">
                      <a16:creationId xmlns:a16="http://schemas.microsoft.com/office/drawing/2014/main" id="{4ACB0FC2-28D5-4143-82B4-382A0B8E597A}"/>
                    </a:ext>
                  </a:extLst>
                </p:cNvPr>
                <p:cNvSpPr/>
                <p:nvPr/>
              </p:nvSpPr>
              <p:spPr>
                <a:xfrm>
                  <a:off x="1478981" y="3564876"/>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0" name="Freeform: Shape 394">
                  <a:extLst>
                    <a:ext uri="{FF2B5EF4-FFF2-40B4-BE49-F238E27FC236}">
                      <a16:creationId xmlns:a16="http://schemas.microsoft.com/office/drawing/2014/main" id="{E010D14E-7007-7E41-A8E0-426B8C8E6AB7}"/>
                    </a:ext>
                  </a:extLst>
                </p:cNvPr>
                <p:cNvSpPr/>
                <p:nvPr/>
              </p:nvSpPr>
              <p:spPr>
                <a:xfrm>
                  <a:off x="1613340" y="3404500"/>
                  <a:ext cx="142285" cy="142285"/>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1" name="Freeform: Shape 395">
                  <a:extLst>
                    <a:ext uri="{FF2B5EF4-FFF2-40B4-BE49-F238E27FC236}">
                      <a16:creationId xmlns:a16="http://schemas.microsoft.com/office/drawing/2014/main" id="{AB3F39AF-6BCD-C947-A362-8530D6301224}"/>
                    </a:ext>
                  </a:extLst>
                </p:cNvPr>
                <p:cNvSpPr/>
                <p:nvPr/>
              </p:nvSpPr>
              <p:spPr>
                <a:xfrm>
                  <a:off x="1696072" y="3218309"/>
                  <a:ext cx="121959" cy="121959"/>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2" name="Freeform: Shape 396">
                  <a:extLst>
                    <a:ext uri="{FF2B5EF4-FFF2-40B4-BE49-F238E27FC236}">
                      <a16:creationId xmlns:a16="http://schemas.microsoft.com/office/drawing/2014/main" id="{95161EB8-D492-944B-928B-BA06825A1D09}"/>
                    </a:ext>
                  </a:extLst>
                </p:cNvPr>
                <p:cNvSpPr/>
                <p:nvPr/>
              </p:nvSpPr>
              <p:spPr>
                <a:xfrm>
                  <a:off x="1703996" y="3017280"/>
                  <a:ext cx="121959" cy="121959"/>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3" name="Freeform: Shape 397">
                  <a:extLst>
                    <a:ext uri="{FF2B5EF4-FFF2-40B4-BE49-F238E27FC236}">
                      <a16:creationId xmlns:a16="http://schemas.microsoft.com/office/drawing/2014/main" id="{40AB1E83-E4AB-E544-8806-1DABFC1DD22E}"/>
                    </a:ext>
                  </a:extLst>
                </p:cNvPr>
                <p:cNvSpPr/>
                <p:nvPr/>
              </p:nvSpPr>
              <p:spPr>
                <a:xfrm>
                  <a:off x="1636714" y="2826413"/>
                  <a:ext cx="101632" cy="101632"/>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4" name="Freeform: Shape 398">
                  <a:extLst>
                    <a:ext uri="{FF2B5EF4-FFF2-40B4-BE49-F238E27FC236}">
                      <a16:creationId xmlns:a16="http://schemas.microsoft.com/office/drawing/2014/main" id="{03475166-C577-5B44-AF0F-16A4857491ED}"/>
                    </a:ext>
                  </a:extLst>
                </p:cNvPr>
                <p:cNvSpPr/>
                <p:nvPr/>
              </p:nvSpPr>
              <p:spPr>
                <a:xfrm>
                  <a:off x="1509878" y="2673964"/>
                  <a:ext cx="81306" cy="81306"/>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sp>
              <p:nvSpPr>
                <p:cNvPr id="1555" name="Freeform: Shape 399">
                  <a:extLst>
                    <a:ext uri="{FF2B5EF4-FFF2-40B4-BE49-F238E27FC236}">
                      <a16:creationId xmlns:a16="http://schemas.microsoft.com/office/drawing/2014/main" id="{6DBA0629-8814-6343-BF4E-3AE0F88C20E6}"/>
                    </a:ext>
                  </a:extLst>
                </p:cNvPr>
                <p:cNvSpPr/>
                <p:nvPr/>
              </p:nvSpPr>
              <p:spPr>
                <a:xfrm>
                  <a:off x="1330191" y="2570907"/>
                  <a:ext cx="81306" cy="81306"/>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solidFill>
                  <a:srgbClr val="74BF4B"/>
                </a:solidFill>
                <a:ln w="1428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ＭＳ Ｐゴシック" charset="0"/>
                  </a:endParaRPr>
                </a:p>
              </p:txBody>
            </p:sp>
          </p:grpSp>
          <p:grpSp>
            <p:nvGrpSpPr>
              <p:cNvPr id="1521" name="Group 1520">
                <a:extLst>
                  <a:ext uri="{FF2B5EF4-FFF2-40B4-BE49-F238E27FC236}">
                    <a16:creationId xmlns:a16="http://schemas.microsoft.com/office/drawing/2014/main" id="{AD073358-6373-D24D-BCA7-4B3E56E6D42E}"/>
                  </a:ext>
                </a:extLst>
              </p:cNvPr>
              <p:cNvGrpSpPr/>
              <p:nvPr/>
            </p:nvGrpSpPr>
            <p:grpSpPr>
              <a:xfrm rot="1159747">
                <a:off x="6833508" y="2190732"/>
                <a:ext cx="533927" cy="454806"/>
                <a:chOff x="2147888" y="2814638"/>
                <a:chExt cx="1447800" cy="1231900"/>
              </a:xfrm>
            </p:grpSpPr>
            <p:sp>
              <p:nvSpPr>
                <p:cNvPr id="1533" name="Freeform 46">
                  <a:extLst>
                    <a:ext uri="{FF2B5EF4-FFF2-40B4-BE49-F238E27FC236}">
                      <a16:creationId xmlns:a16="http://schemas.microsoft.com/office/drawing/2014/main" id="{784409EE-16CA-DD4F-96EF-6CA07480AF0C}"/>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4" name="Freeform 47">
                  <a:extLst>
                    <a:ext uri="{FF2B5EF4-FFF2-40B4-BE49-F238E27FC236}">
                      <a16:creationId xmlns:a16="http://schemas.microsoft.com/office/drawing/2014/main" id="{8FBC6C97-791A-EA4B-8DB3-7D86FAF992A8}"/>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5" name="Freeform 48">
                  <a:extLst>
                    <a:ext uri="{FF2B5EF4-FFF2-40B4-BE49-F238E27FC236}">
                      <a16:creationId xmlns:a16="http://schemas.microsoft.com/office/drawing/2014/main" id="{09C44B4D-38E9-CD42-801A-BE59594E0070}"/>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6" name="Freeform 49">
                  <a:extLst>
                    <a:ext uri="{FF2B5EF4-FFF2-40B4-BE49-F238E27FC236}">
                      <a16:creationId xmlns:a16="http://schemas.microsoft.com/office/drawing/2014/main" id="{C3FE0E4E-6732-9C48-B479-0FB9E1FF4001}"/>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7" name="Freeform 50">
                  <a:extLst>
                    <a:ext uri="{FF2B5EF4-FFF2-40B4-BE49-F238E27FC236}">
                      <a16:creationId xmlns:a16="http://schemas.microsoft.com/office/drawing/2014/main" id="{0C3B5CD1-B6E4-FB49-8A78-2EF51371F392}"/>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8" name="Freeform 51">
                  <a:extLst>
                    <a:ext uri="{FF2B5EF4-FFF2-40B4-BE49-F238E27FC236}">
                      <a16:creationId xmlns:a16="http://schemas.microsoft.com/office/drawing/2014/main" id="{853150CA-6670-B743-BBBE-EE05E9474D79}"/>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39" name="Freeform 52">
                  <a:extLst>
                    <a:ext uri="{FF2B5EF4-FFF2-40B4-BE49-F238E27FC236}">
                      <a16:creationId xmlns:a16="http://schemas.microsoft.com/office/drawing/2014/main" id="{D0A22469-A600-EB4F-AE28-21CA16A561ED}"/>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40" name="Freeform 53">
                  <a:extLst>
                    <a:ext uri="{FF2B5EF4-FFF2-40B4-BE49-F238E27FC236}">
                      <a16:creationId xmlns:a16="http://schemas.microsoft.com/office/drawing/2014/main" id="{A18AE493-7C40-634D-A6C2-ABAE0B067405}"/>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sp>
            <p:nvSpPr>
              <p:cNvPr id="1522" name="Freeform: Shape 366">
                <a:extLst>
                  <a:ext uri="{FF2B5EF4-FFF2-40B4-BE49-F238E27FC236}">
                    <a16:creationId xmlns:a16="http://schemas.microsoft.com/office/drawing/2014/main" id="{37808AEE-C383-2A49-A2B2-358ED16BF3B5}"/>
                  </a:ext>
                </a:extLst>
              </p:cNvPr>
              <p:cNvSpPr>
                <a:spLocks/>
              </p:cNvSpPr>
              <p:nvPr/>
            </p:nvSpPr>
            <p:spPr bwMode="auto">
              <a:xfrm>
                <a:off x="5614686" y="1338725"/>
                <a:ext cx="1198878" cy="1216338"/>
              </a:xfrm>
              <a:custGeom>
                <a:avLst/>
                <a:gdLst>
                  <a:gd name="connsiteX0" fmla="*/ 578303 w 652972"/>
                  <a:gd name="connsiteY0" fmla="*/ 527099 h 662481"/>
                  <a:gd name="connsiteX1" fmla="*/ 584703 w 652972"/>
                  <a:gd name="connsiteY1" fmla="*/ 527099 h 662481"/>
                  <a:gd name="connsiteX2" fmla="*/ 584703 w 652972"/>
                  <a:gd name="connsiteY2" fmla="*/ 533647 h 662481"/>
                  <a:gd name="connsiteX3" fmla="*/ 527106 w 652972"/>
                  <a:gd name="connsiteY3" fmla="*/ 592583 h 662481"/>
                  <a:gd name="connsiteX4" fmla="*/ 520706 w 652972"/>
                  <a:gd name="connsiteY4" fmla="*/ 592583 h 662481"/>
                  <a:gd name="connsiteX5" fmla="*/ 520706 w 652972"/>
                  <a:gd name="connsiteY5" fmla="*/ 586035 h 662481"/>
                  <a:gd name="connsiteX6" fmla="*/ 578303 w 652972"/>
                  <a:gd name="connsiteY6" fmla="*/ 527099 h 662481"/>
                  <a:gd name="connsiteX7" fmla="*/ 627431 w 652972"/>
                  <a:gd name="connsiteY7" fmla="*/ 433440 h 662481"/>
                  <a:gd name="connsiteX8" fmla="*/ 633895 w 652972"/>
                  <a:gd name="connsiteY8" fmla="*/ 433440 h 662481"/>
                  <a:gd name="connsiteX9" fmla="*/ 633895 w 652972"/>
                  <a:gd name="connsiteY9" fmla="*/ 440001 h 662481"/>
                  <a:gd name="connsiteX10" fmla="*/ 433529 w 652972"/>
                  <a:gd name="connsiteY10" fmla="*/ 643379 h 662481"/>
                  <a:gd name="connsiteX11" fmla="*/ 427066 w 652972"/>
                  <a:gd name="connsiteY11" fmla="*/ 643379 h 662481"/>
                  <a:gd name="connsiteX12" fmla="*/ 427066 w 652972"/>
                  <a:gd name="connsiteY12" fmla="*/ 636819 h 662481"/>
                  <a:gd name="connsiteX13" fmla="*/ 627431 w 652972"/>
                  <a:gd name="connsiteY13" fmla="*/ 433440 h 662481"/>
                  <a:gd name="connsiteX14" fmla="*/ 640169 w 652972"/>
                  <a:gd name="connsiteY14" fmla="*/ 374697 h 662481"/>
                  <a:gd name="connsiteX15" fmla="*/ 646604 w 652972"/>
                  <a:gd name="connsiteY15" fmla="*/ 374697 h 662481"/>
                  <a:gd name="connsiteX16" fmla="*/ 646604 w 652972"/>
                  <a:gd name="connsiteY16" fmla="*/ 383423 h 662481"/>
                  <a:gd name="connsiteX17" fmla="*/ 378486 w 652972"/>
                  <a:gd name="connsiteY17" fmla="*/ 656085 h 662481"/>
                  <a:gd name="connsiteX18" fmla="*/ 369906 w 652972"/>
                  <a:gd name="connsiteY18" fmla="*/ 656085 h 662481"/>
                  <a:gd name="connsiteX19" fmla="*/ 369906 w 652972"/>
                  <a:gd name="connsiteY19" fmla="*/ 649541 h 662481"/>
                  <a:gd name="connsiteX20" fmla="*/ 640169 w 652972"/>
                  <a:gd name="connsiteY20" fmla="*/ 374697 h 662481"/>
                  <a:gd name="connsiteX21" fmla="*/ 644893 w 652972"/>
                  <a:gd name="connsiteY21" fmla="*/ 328664 h 662481"/>
                  <a:gd name="connsiteX22" fmla="*/ 651357 w 652972"/>
                  <a:gd name="connsiteY22" fmla="*/ 328664 h 662481"/>
                  <a:gd name="connsiteX23" fmla="*/ 651357 w 652972"/>
                  <a:gd name="connsiteY23" fmla="*/ 335220 h 662481"/>
                  <a:gd name="connsiteX24" fmla="*/ 330341 w 652972"/>
                  <a:gd name="connsiteY24" fmla="*/ 660843 h 662481"/>
                  <a:gd name="connsiteX25" fmla="*/ 323878 w 652972"/>
                  <a:gd name="connsiteY25" fmla="*/ 660843 h 662481"/>
                  <a:gd name="connsiteX26" fmla="*/ 323878 w 652972"/>
                  <a:gd name="connsiteY26" fmla="*/ 654287 h 662481"/>
                  <a:gd name="connsiteX27" fmla="*/ 644893 w 652972"/>
                  <a:gd name="connsiteY27" fmla="*/ 328664 h 662481"/>
                  <a:gd name="connsiteX28" fmla="*/ 643284 w 652972"/>
                  <a:gd name="connsiteY28" fmla="*/ 287381 h 662481"/>
                  <a:gd name="connsiteX29" fmla="*/ 649763 w 652972"/>
                  <a:gd name="connsiteY29" fmla="*/ 287381 h 662481"/>
                  <a:gd name="connsiteX30" fmla="*/ 649763 w 652972"/>
                  <a:gd name="connsiteY30" fmla="*/ 293916 h 662481"/>
                  <a:gd name="connsiteX31" fmla="*/ 289087 w 652972"/>
                  <a:gd name="connsiteY31" fmla="*/ 657675 h 662481"/>
                  <a:gd name="connsiteX32" fmla="*/ 282608 w 652972"/>
                  <a:gd name="connsiteY32" fmla="*/ 657675 h 662481"/>
                  <a:gd name="connsiteX33" fmla="*/ 282608 w 652972"/>
                  <a:gd name="connsiteY33" fmla="*/ 651140 h 662481"/>
                  <a:gd name="connsiteX34" fmla="*/ 643284 w 652972"/>
                  <a:gd name="connsiteY34" fmla="*/ 287381 h 662481"/>
                  <a:gd name="connsiteX35" fmla="*/ 636937 w 652972"/>
                  <a:gd name="connsiteY35" fmla="*/ 250868 h 662481"/>
                  <a:gd name="connsiteX36" fmla="*/ 643415 w 652972"/>
                  <a:gd name="connsiteY36" fmla="*/ 250868 h 662481"/>
                  <a:gd name="connsiteX37" fmla="*/ 643415 w 652972"/>
                  <a:gd name="connsiteY37" fmla="*/ 257397 h 662481"/>
                  <a:gd name="connsiteX38" fmla="*/ 252574 w 652972"/>
                  <a:gd name="connsiteY38" fmla="*/ 651328 h 662481"/>
                  <a:gd name="connsiteX39" fmla="*/ 246096 w 652972"/>
                  <a:gd name="connsiteY39" fmla="*/ 651328 h 662481"/>
                  <a:gd name="connsiteX40" fmla="*/ 246096 w 652972"/>
                  <a:gd name="connsiteY40" fmla="*/ 644798 h 662481"/>
                  <a:gd name="connsiteX41" fmla="*/ 636937 w 652972"/>
                  <a:gd name="connsiteY41" fmla="*/ 250868 h 662481"/>
                  <a:gd name="connsiteX42" fmla="*/ 625843 w 652972"/>
                  <a:gd name="connsiteY42" fmla="*/ 217532 h 662481"/>
                  <a:gd name="connsiteX43" fmla="*/ 632307 w 652972"/>
                  <a:gd name="connsiteY43" fmla="*/ 217532 h 662481"/>
                  <a:gd name="connsiteX44" fmla="*/ 632307 w 652972"/>
                  <a:gd name="connsiteY44" fmla="*/ 224068 h 662481"/>
                  <a:gd name="connsiteX45" fmla="*/ 220804 w 652972"/>
                  <a:gd name="connsiteY45" fmla="*/ 640212 h 662481"/>
                  <a:gd name="connsiteX46" fmla="*/ 214341 w 652972"/>
                  <a:gd name="connsiteY46" fmla="*/ 640212 h 662481"/>
                  <a:gd name="connsiteX47" fmla="*/ 214341 w 652972"/>
                  <a:gd name="connsiteY47" fmla="*/ 633676 h 662481"/>
                  <a:gd name="connsiteX48" fmla="*/ 625843 w 652972"/>
                  <a:gd name="connsiteY48" fmla="*/ 217532 h 662481"/>
                  <a:gd name="connsiteX49" fmla="*/ 613139 w 652972"/>
                  <a:gd name="connsiteY49" fmla="*/ 187370 h 662481"/>
                  <a:gd name="connsiteX50" fmla="*/ 619606 w 652972"/>
                  <a:gd name="connsiteY50" fmla="*/ 187370 h 662481"/>
                  <a:gd name="connsiteX51" fmla="*/ 619606 w 652972"/>
                  <a:gd name="connsiteY51" fmla="*/ 193907 h 662481"/>
                  <a:gd name="connsiteX52" fmla="*/ 190646 w 652972"/>
                  <a:gd name="connsiteY52" fmla="*/ 627512 h 662481"/>
                  <a:gd name="connsiteX53" fmla="*/ 184179 w 652972"/>
                  <a:gd name="connsiteY53" fmla="*/ 627512 h 662481"/>
                  <a:gd name="connsiteX54" fmla="*/ 184179 w 652972"/>
                  <a:gd name="connsiteY54" fmla="*/ 620975 h 662481"/>
                  <a:gd name="connsiteX55" fmla="*/ 613139 w 652972"/>
                  <a:gd name="connsiteY55" fmla="*/ 187370 h 662481"/>
                  <a:gd name="connsiteX56" fmla="*/ 597268 w 652972"/>
                  <a:gd name="connsiteY56" fmla="*/ 158793 h 662481"/>
                  <a:gd name="connsiteX57" fmla="*/ 603732 w 652972"/>
                  <a:gd name="connsiteY57" fmla="*/ 158793 h 662481"/>
                  <a:gd name="connsiteX58" fmla="*/ 603732 w 652972"/>
                  <a:gd name="connsiteY58" fmla="*/ 165325 h 662481"/>
                  <a:gd name="connsiteX59" fmla="*/ 162066 w 652972"/>
                  <a:gd name="connsiteY59" fmla="*/ 611639 h 662481"/>
                  <a:gd name="connsiteX60" fmla="*/ 155603 w 652972"/>
                  <a:gd name="connsiteY60" fmla="*/ 611639 h 662481"/>
                  <a:gd name="connsiteX61" fmla="*/ 155603 w 652972"/>
                  <a:gd name="connsiteY61" fmla="*/ 605108 h 662481"/>
                  <a:gd name="connsiteX62" fmla="*/ 597268 w 652972"/>
                  <a:gd name="connsiteY62" fmla="*/ 158793 h 662481"/>
                  <a:gd name="connsiteX63" fmla="*/ 579818 w 652972"/>
                  <a:gd name="connsiteY63" fmla="*/ 133390 h 662481"/>
                  <a:gd name="connsiteX64" fmla="*/ 586272 w 652972"/>
                  <a:gd name="connsiteY64" fmla="*/ 133390 h 662481"/>
                  <a:gd name="connsiteX65" fmla="*/ 586272 w 652972"/>
                  <a:gd name="connsiteY65" fmla="*/ 139910 h 662481"/>
                  <a:gd name="connsiteX66" fmla="*/ 136653 w 652972"/>
                  <a:gd name="connsiteY66" fmla="*/ 594181 h 662481"/>
                  <a:gd name="connsiteX67" fmla="*/ 130200 w 652972"/>
                  <a:gd name="connsiteY67" fmla="*/ 594181 h 662481"/>
                  <a:gd name="connsiteX68" fmla="*/ 130200 w 652972"/>
                  <a:gd name="connsiteY68" fmla="*/ 587660 h 662481"/>
                  <a:gd name="connsiteX69" fmla="*/ 579818 w 652972"/>
                  <a:gd name="connsiteY69" fmla="*/ 133390 h 662481"/>
                  <a:gd name="connsiteX70" fmla="*/ 560761 w 652972"/>
                  <a:gd name="connsiteY70" fmla="*/ 109579 h 662481"/>
                  <a:gd name="connsiteX71" fmla="*/ 567221 w 652972"/>
                  <a:gd name="connsiteY71" fmla="*/ 109579 h 662481"/>
                  <a:gd name="connsiteX72" fmla="*/ 567221 w 652972"/>
                  <a:gd name="connsiteY72" fmla="*/ 116105 h 662481"/>
                  <a:gd name="connsiteX73" fmla="*/ 112850 w 652972"/>
                  <a:gd name="connsiteY73" fmla="*/ 575128 h 662481"/>
                  <a:gd name="connsiteX74" fmla="*/ 106390 w 652972"/>
                  <a:gd name="connsiteY74" fmla="*/ 575128 h 662481"/>
                  <a:gd name="connsiteX75" fmla="*/ 106390 w 652972"/>
                  <a:gd name="connsiteY75" fmla="*/ 568601 h 662481"/>
                  <a:gd name="connsiteX76" fmla="*/ 560761 w 652972"/>
                  <a:gd name="connsiteY76" fmla="*/ 109579 h 662481"/>
                  <a:gd name="connsiteX77" fmla="*/ 540123 w 652972"/>
                  <a:gd name="connsiteY77" fmla="*/ 87354 h 662481"/>
                  <a:gd name="connsiteX78" fmla="*/ 546583 w 652972"/>
                  <a:gd name="connsiteY78" fmla="*/ 87354 h 662481"/>
                  <a:gd name="connsiteX79" fmla="*/ 546583 w 652972"/>
                  <a:gd name="connsiteY79" fmla="*/ 93880 h 662481"/>
                  <a:gd name="connsiteX80" fmla="*/ 92212 w 652972"/>
                  <a:gd name="connsiteY80" fmla="*/ 552903 h 662481"/>
                  <a:gd name="connsiteX81" fmla="*/ 85752 w 652972"/>
                  <a:gd name="connsiteY81" fmla="*/ 552903 h 662481"/>
                  <a:gd name="connsiteX82" fmla="*/ 85752 w 652972"/>
                  <a:gd name="connsiteY82" fmla="*/ 546376 h 662481"/>
                  <a:gd name="connsiteX83" fmla="*/ 540123 w 652972"/>
                  <a:gd name="connsiteY83" fmla="*/ 87354 h 662481"/>
                  <a:gd name="connsiteX84" fmla="*/ 125866 w 652972"/>
                  <a:gd name="connsiteY84" fmla="*/ 69899 h 662481"/>
                  <a:gd name="connsiteX85" fmla="*/ 132266 w 652972"/>
                  <a:gd name="connsiteY85" fmla="*/ 69899 h 662481"/>
                  <a:gd name="connsiteX86" fmla="*/ 132266 w 652972"/>
                  <a:gd name="connsiteY86" fmla="*/ 76447 h 662481"/>
                  <a:gd name="connsiteX87" fmla="*/ 74669 w 652972"/>
                  <a:gd name="connsiteY87" fmla="*/ 135383 h 662481"/>
                  <a:gd name="connsiteX88" fmla="*/ 68269 w 652972"/>
                  <a:gd name="connsiteY88" fmla="*/ 135383 h 662481"/>
                  <a:gd name="connsiteX89" fmla="*/ 68269 w 652972"/>
                  <a:gd name="connsiteY89" fmla="*/ 128835 h 662481"/>
                  <a:gd name="connsiteX90" fmla="*/ 125866 w 652972"/>
                  <a:gd name="connsiteY90" fmla="*/ 69899 h 662481"/>
                  <a:gd name="connsiteX91" fmla="*/ 516289 w 652972"/>
                  <a:gd name="connsiteY91" fmla="*/ 68302 h 662481"/>
                  <a:gd name="connsiteX92" fmla="*/ 522766 w 652972"/>
                  <a:gd name="connsiteY92" fmla="*/ 68302 h 662481"/>
                  <a:gd name="connsiteX93" fmla="*/ 522766 w 652972"/>
                  <a:gd name="connsiteY93" fmla="*/ 74822 h 662481"/>
                  <a:gd name="connsiteX94" fmla="*/ 71596 w 652972"/>
                  <a:gd name="connsiteY94" fmla="*/ 529093 h 662481"/>
                  <a:gd name="connsiteX95" fmla="*/ 65120 w 652972"/>
                  <a:gd name="connsiteY95" fmla="*/ 529093 h 662481"/>
                  <a:gd name="connsiteX96" fmla="*/ 65120 w 652972"/>
                  <a:gd name="connsiteY96" fmla="*/ 522572 h 662481"/>
                  <a:gd name="connsiteX97" fmla="*/ 516289 w 652972"/>
                  <a:gd name="connsiteY97" fmla="*/ 68302 h 662481"/>
                  <a:gd name="connsiteX98" fmla="*/ 489349 w 652972"/>
                  <a:gd name="connsiteY98" fmla="*/ 50843 h 662481"/>
                  <a:gd name="connsiteX99" fmla="*/ 495789 w 652972"/>
                  <a:gd name="connsiteY99" fmla="*/ 50843 h 662481"/>
                  <a:gd name="connsiteX100" fmla="*/ 495789 w 652972"/>
                  <a:gd name="connsiteY100" fmla="*/ 57375 h 662481"/>
                  <a:gd name="connsiteX101" fmla="*/ 55674 w 652972"/>
                  <a:gd name="connsiteY101" fmla="*/ 503689 h 662481"/>
                  <a:gd name="connsiteX102" fmla="*/ 49233 w 652972"/>
                  <a:gd name="connsiteY102" fmla="*/ 503689 h 662481"/>
                  <a:gd name="connsiteX103" fmla="*/ 49233 w 652972"/>
                  <a:gd name="connsiteY103" fmla="*/ 497158 h 662481"/>
                  <a:gd name="connsiteX104" fmla="*/ 489349 w 652972"/>
                  <a:gd name="connsiteY104" fmla="*/ 50843 h 662481"/>
                  <a:gd name="connsiteX105" fmla="*/ 462327 w 652972"/>
                  <a:gd name="connsiteY105" fmla="*/ 34970 h 662481"/>
                  <a:gd name="connsiteX106" fmla="*/ 468794 w 652972"/>
                  <a:gd name="connsiteY106" fmla="*/ 34970 h 662481"/>
                  <a:gd name="connsiteX107" fmla="*/ 468794 w 652972"/>
                  <a:gd name="connsiteY107" fmla="*/ 41507 h 662481"/>
                  <a:gd name="connsiteX108" fmla="*/ 39833 w 652972"/>
                  <a:gd name="connsiteY108" fmla="*/ 475112 h 662481"/>
                  <a:gd name="connsiteX109" fmla="*/ 33367 w 652972"/>
                  <a:gd name="connsiteY109" fmla="*/ 475112 h 662481"/>
                  <a:gd name="connsiteX110" fmla="*/ 33367 w 652972"/>
                  <a:gd name="connsiteY110" fmla="*/ 468575 h 662481"/>
                  <a:gd name="connsiteX111" fmla="*/ 462327 w 652972"/>
                  <a:gd name="connsiteY111" fmla="*/ 34970 h 662481"/>
                  <a:gd name="connsiteX112" fmla="*/ 432168 w 652972"/>
                  <a:gd name="connsiteY112" fmla="*/ 22270 h 662481"/>
                  <a:gd name="connsiteX113" fmla="*/ 438632 w 652972"/>
                  <a:gd name="connsiteY113" fmla="*/ 22270 h 662481"/>
                  <a:gd name="connsiteX114" fmla="*/ 438632 w 652972"/>
                  <a:gd name="connsiteY114" fmla="*/ 28806 h 662481"/>
                  <a:gd name="connsiteX115" fmla="*/ 27129 w 652972"/>
                  <a:gd name="connsiteY115" fmla="*/ 444950 h 662481"/>
                  <a:gd name="connsiteX116" fmla="*/ 20665 w 652972"/>
                  <a:gd name="connsiteY116" fmla="*/ 444950 h 662481"/>
                  <a:gd name="connsiteX117" fmla="*/ 20665 w 652972"/>
                  <a:gd name="connsiteY117" fmla="*/ 438414 h 662481"/>
                  <a:gd name="connsiteX118" fmla="*/ 432168 w 652972"/>
                  <a:gd name="connsiteY118" fmla="*/ 22270 h 662481"/>
                  <a:gd name="connsiteX119" fmla="*/ 219443 w 652972"/>
                  <a:gd name="connsiteY119" fmla="*/ 19103 h 662481"/>
                  <a:gd name="connsiteX120" fmla="*/ 225907 w 652972"/>
                  <a:gd name="connsiteY120" fmla="*/ 19103 h 662481"/>
                  <a:gd name="connsiteX121" fmla="*/ 225907 w 652972"/>
                  <a:gd name="connsiteY121" fmla="*/ 25663 h 662481"/>
                  <a:gd name="connsiteX122" fmla="*/ 25541 w 652972"/>
                  <a:gd name="connsiteY122" fmla="*/ 229042 h 662481"/>
                  <a:gd name="connsiteX123" fmla="*/ 19077 w 652972"/>
                  <a:gd name="connsiteY123" fmla="*/ 229042 h 662481"/>
                  <a:gd name="connsiteX124" fmla="*/ 19077 w 652972"/>
                  <a:gd name="connsiteY124" fmla="*/ 222482 h 662481"/>
                  <a:gd name="connsiteX125" fmla="*/ 219443 w 652972"/>
                  <a:gd name="connsiteY125" fmla="*/ 19103 h 662481"/>
                  <a:gd name="connsiteX126" fmla="*/ 398845 w 652972"/>
                  <a:gd name="connsiteY126" fmla="*/ 11154 h 662481"/>
                  <a:gd name="connsiteX127" fmla="*/ 405297 w 652972"/>
                  <a:gd name="connsiteY127" fmla="*/ 11154 h 662481"/>
                  <a:gd name="connsiteX128" fmla="*/ 405297 w 652972"/>
                  <a:gd name="connsiteY128" fmla="*/ 17684 h 662481"/>
                  <a:gd name="connsiteX129" fmla="*/ 16001 w 652972"/>
                  <a:gd name="connsiteY129" fmla="*/ 411615 h 662481"/>
                  <a:gd name="connsiteX130" fmla="*/ 9549 w 652972"/>
                  <a:gd name="connsiteY130" fmla="*/ 411615 h 662481"/>
                  <a:gd name="connsiteX131" fmla="*/ 9549 w 652972"/>
                  <a:gd name="connsiteY131" fmla="*/ 405085 h 662481"/>
                  <a:gd name="connsiteX132" fmla="*/ 398845 w 652972"/>
                  <a:gd name="connsiteY132" fmla="*/ 11154 h 662481"/>
                  <a:gd name="connsiteX133" fmla="*/ 274487 w 652972"/>
                  <a:gd name="connsiteY133" fmla="*/ 6397 h 662481"/>
                  <a:gd name="connsiteX134" fmla="*/ 283066 w 652972"/>
                  <a:gd name="connsiteY134" fmla="*/ 6397 h 662481"/>
                  <a:gd name="connsiteX135" fmla="*/ 283066 w 652972"/>
                  <a:gd name="connsiteY135" fmla="*/ 12941 h 662481"/>
                  <a:gd name="connsiteX136" fmla="*/ 12803 w 652972"/>
                  <a:gd name="connsiteY136" fmla="*/ 287785 h 662481"/>
                  <a:gd name="connsiteX137" fmla="*/ 6368 w 652972"/>
                  <a:gd name="connsiteY137" fmla="*/ 287785 h 662481"/>
                  <a:gd name="connsiteX138" fmla="*/ 6368 w 652972"/>
                  <a:gd name="connsiteY138" fmla="*/ 279060 h 662481"/>
                  <a:gd name="connsiteX139" fmla="*/ 274487 w 652972"/>
                  <a:gd name="connsiteY139" fmla="*/ 6397 h 662481"/>
                  <a:gd name="connsiteX140" fmla="*/ 362334 w 652972"/>
                  <a:gd name="connsiteY140" fmla="*/ 4806 h 662481"/>
                  <a:gd name="connsiteX141" fmla="*/ 368786 w 652972"/>
                  <a:gd name="connsiteY141" fmla="*/ 4806 h 662481"/>
                  <a:gd name="connsiteX142" fmla="*/ 368786 w 652972"/>
                  <a:gd name="connsiteY142" fmla="*/ 11341 h 662481"/>
                  <a:gd name="connsiteX143" fmla="*/ 9650 w 652972"/>
                  <a:gd name="connsiteY143" fmla="*/ 375100 h 662481"/>
                  <a:gd name="connsiteX144" fmla="*/ 3198 w 652972"/>
                  <a:gd name="connsiteY144" fmla="*/ 375100 h 662481"/>
                  <a:gd name="connsiteX145" fmla="*/ 3198 w 652972"/>
                  <a:gd name="connsiteY145" fmla="*/ 368565 h 662481"/>
                  <a:gd name="connsiteX146" fmla="*/ 362334 w 652972"/>
                  <a:gd name="connsiteY146" fmla="*/ 4806 h 662481"/>
                  <a:gd name="connsiteX147" fmla="*/ 322631 w 652972"/>
                  <a:gd name="connsiteY147" fmla="*/ 1638 h 662481"/>
                  <a:gd name="connsiteX148" fmla="*/ 329095 w 652972"/>
                  <a:gd name="connsiteY148" fmla="*/ 1638 h 662481"/>
                  <a:gd name="connsiteX149" fmla="*/ 329095 w 652972"/>
                  <a:gd name="connsiteY149" fmla="*/ 8194 h 662481"/>
                  <a:gd name="connsiteX150" fmla="*/ 8079 w 652972"/>
                  <a:gd name="connsiteY150" fmla="*/ 333818 h 662481"/>
                  <a:gd name="connsiteX151" fmla="*/ 1615 w 652972"/>
                  <a:gd name="connsiteY151" fmla="*/ 333818 h 662481"/>
                  <a:gd name="connsiteX152" fmla="*/ 1615 w 652972"/>
                  <a:gd name="connsiteY152" fmla="*/ 327262 h 662481"/>
                  <a:gd name="connsiteX153" fmla="*/ 322631 w 652972"/>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2"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31" y="433440"/>
                    </a:moveTo>
                    <a:cubicBezTo>
                      <a:pt x="629586" y="431253"/>
                      <a:pt x="631740" y="431253"/>
                      <a:pt x="633895" y="433440"/>
                    </a:cubicBezTo>
                    <a:cubicBezTo>
                      <a:pt x="636049" y="435627"/>
                      <a:pt x="636049" y="437814"/>
                      <a:pt x="633895" y="440001"/>
                    </a:cubicBezTo>
                    <a:cubicBezTo>
                      <a:pt x="633895" y="440001"/>
                      <a:pt x="633895" y="440001"/>
                      <a:pt x="433529" y="643379"/>
                    </a:cubicBezTo>
                    <a:cubicBezTo>
                      <a:pt x="431375" y="645566"/>
                      <a:pt x="429220" y="645566"/>
                      <a:pt x="427066" y="643379"/>
                    </a:cubicBezTo>
                    <a:cubicBezTo>
                      <a:pt x="424911" y="641192"/>
                      <a:pt x="424911" y="639006"/>
                      <a:pt x="427066" y="636819"/>
                    </a:cubicBezTo>
                    <a:cubicBezTo>
                      <a:pt x="427066" y="636819"/>
                      <a:pt x="427066" y="636819"/>
                      <a:pt x="627431" y="433440"/>
                    </a:cubicBezTo>
                    <a:close/>
                    <a:moveTo>
                      <a:pt x="640169" y="374697"/>
                    </a:moveTo>
                    <a:cubicBezTo>
                      <a:pt x="642314" y="372516"/>
                      <a:pt x="646604" y="372516"/>
                      <a:pt x="646604" y="374697"/>
                    </a:cubicBezTo>
                    <a:cubicBezTo>
                      <a:pt x="648749" y="376879"/>
                      <a:pt x="648749" y="381241"/>
                      <a:pt x="646604" y="383423"/>
                    </a:cubicBezTo>
                    <a:cubicBezTo>
                      <a:pt x="646604" y="383423"/>
                      <a:pt x="646604" y="383423"/>
                      <a:pt x="378486" y="656085"/>
                    </a:cubicBezTo>
                    <a:cubicBezTo>
                      <a:pt x="376341" y="658266"/>
                      <a:pt x="372051" y="658266"/>
                      <a:pt x="369906" y="656085"/>
                    </a:cubicBezTo>
                    <a:cubicBezTo>
                      <a:pt x="367761" y="656085"/>
                      <a:pt x="367761" y="651722"/>
                      <a:pt x="369906" y="649541"/>
                    </a:cubicBezTo>
                    <a:cubicBezTo>
                      <a:pt x="369906" y="649541"/>
                      <a:pt x="369906" y="649541"/>
                      <a:pt x="640169" y="374697"/>
                    </a:cubicBezTo>
                    <a:close/>
                    <a:moveTo>
                      <a:pt x="644893" y="328664"/>
                    </a:moveTo>
                    <a:cubicBezTo>
                      <a:pt x="647048" y="326478"/>
                      <a:pt x="649202" y="326478"/>
                      <a:pt x="651357" y="328664"/>
                    </a:cubicBezTo>
                    <a:cubicBezTo>
                      <a:pt x="653511" y="330849"/>
                      <a:pt x="653511" y="333034"/>
                      <a:pt x="651357" y="335220"/>
                    </a:cubicBezTo>
                    <a:cubicBezTo>
                      <a:pt x="651357" y="335220"/>
                      <a:pt x="651357" y="335220"/>
                      <a:pt x="330341" y="660843"/>
                    </a:cubicBezTo>
                    <a:cubicBezTo>
                      <a:pt x="328187" y="663028"/>
                      <a:pt x="326032" y="663028"/>
                      <a:pt x="323878" y="660843"/>
                    </a:cubicBezTo>
                    <a:cubicBezTo>
                      <a:pt x="321723" y="658657"/>
                      <a:pt x="321723" y="656472"/>
                      <a:pt x="323878" y="654287"/>
                    </a:cubicBezTo>
                    <a:cubicBezTo>
                      <a:pt x="323878" y="654287"/>
                      <a:pt x="323878" y="654287"/>
                      <a:pt x="644893" y="328664"/>
                    </a:cubicBezTo>
                    <a:close/>
                    <a:moveTo>
                      <a:pt x="643284" y="287381"/>
                    </a:moveTo>
                    <a:cubicBezTo>
                      <a:pt x="645444" y="285203"/>
                      <a:pt x="647604" y="285203"/>
                      <a:pt x="649763" y="287381"/>
                    </a:cubicBezTo>
                    <a:cubicBezTo>
                      <a:pt x="651923" y="289560"/>
                      <a:pt x="651923" y="291738"/>
                      <a:pt x="649763" y="293916"/>
                    </a:cubicBezTo>
                    <a:cubicBezTo>
                      <a:pt x="649763" y="293916"/>
                      <a:pt x="649763" y="293916"/>
                      <a:pt x="289087" y="657675"/>
                    </a:cubicBezTo>
                    <a:cubicBezTo>
                      <a:pt x="286927" y="659853"/>
                      <a:pt x="284768" y="659853"/>
                      <a:pt x="282608" y="657675"/>
                    </a:cubicBezTo>
                    <a:cubicBezTo>
                      <a:pt x="280448" y="655497"/>
                      <a:pt x="280448" y="653319"/>
                      <a:pt x="282608" y="651140"/>
                    </a:cubicBezTo>
                    <a:cubicBezTo>
                      <a:pt x="282608" y="651140"/>
                      <a:pt x="282608" y="651140"/>
                      <a:pt x="643284" y="287381"/>
                    </a:cubicBezTo>
                    <a:close/>
                    <a:moveTo>
                      <a:pt x="636937" y="250868"/>
                    </a:moveTo>
                    <a:cubicBezTo>
                      <a:pt x="639096" y="248691"/>
                      <a:pt x="641256" y="248691"/>
                      <a:pt x="643415" y="250868"/>
                    </a:cubicBezTo>
                    <a:cubicBezTo>
                      <a:pt x="645574" y="253044"/>
                      <a:pt x="645574" y="255220"/>
                      <a:pt x="643415" y="257397"/>
                    </a:cubicBezTo>
                    <a:cubicBezTo>
                      <a:pt x="643415" y="257397"/>
                      <a:pt x="643415" y="257397"/>
                      <a:pt x="252574" y="651328"/>
                    </a:cubicBezTo>
                    <a:cubicBezTo>
                      <a:pt x="250414" y="653504"/>
                      <a:pt x="248255" y="653504"/>
                      <a:pt x="246096" y="651328"/>
                    </a:cubicBezTo>
                    <a:cubicBezTo>
                      <a:pt x="243936" y="649151"/>
                      <a:pt x="243936" y="646975"/>
                      <a:pt x="246096" y="644798"/>
                    </a:cubicBezTo>
                    <a:cubicBezTo>
                      <a:pt x="246096" y="644798"/>
                      <a:pt x="246096" y="644798"/>
                      <a:pt x="636937"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7268" y="158793"/>
                    </a:moveTo>
                    <a:cubicBezTo>
                      <a:pt x="599423" y="156616"/>
                      <a:pt x="601577" y="156616"/>
                      <a:pt x="603732" y="158793"/>
                    </a:cubicBezTo>
                    <a:cubicBezTo>
                      <a:pt x="605886" y="160970"/>
                      <a:pt x="605886" y="163148"/>
                      <a:pt x="603732" y="165325"/>
                    </a:cubicBezTo>
                    <a:cubicBezTo>
                      <a:pt x="603732" y="165325"/>
                      <a:pt x="603732" y="165325"/>
                      <a:pt x="162066" y="611639"/>
                    </a:cubicBezTo>
                    <a:cubicBezTo>
                      <a:pt x="159912" y="613816"/>
                      <a:pt x="157757" y="613816"/>
                      <a:pt x="155603" y="611639"/>
                    </a:cubicBezTo>
                    <a:cubicBezTo>
                      <a:pt x="153448" y="609462"/>
                      <a:pt x="153448" y="607285"/>
                      <a:pt x="155603" y="605108"/>
                    </a:cubicBezTo>
                    <a:cubicBezTo>
                      <a:pt x="155603" y="605108"/>
                      <a:pt x="155603" y="605108"/>
                      <a:pt x="597268" y="158793"/>
                    </a:cubicBezTo>
                    <a:close/>
                    <a:moveTo>
                      <a:pt x="579818" y="133390"/>
                    </a:moveTo>
                    <a:cubicBezTo>
                      <a:pt x="581969" y="131216"/>
                      <a:pt x="584121" y="131216"/>
                      <a:pt x="586272" y="133390"/>
                    </a:cubicBezTo>
                    <a:cubicBezTo>
                      <a:pt x="588423" y="135563"/>
                      <a:pt x="588423" y="137737"/>
                      <a:pt x="586272" y="139910"/>
                    </a:cubicBezTo>
                    <a:cubicBezTo>
                      <a:pt x="586272" y="139910"/>
                      <a:pt x="586272" y="139910"/>
                      <a:pt x="136653" y="594181"/>
                    </a:cubicBezTo>
                    <a:cubicBezTo>
                      <a:pt x="134502" y="596354"/>
                      <a:pt x="132351" y="596354"/>
                      <a:pt x="130200" y="594181"/>
                    </a:cubicBezTo>
                    <a:cubicBezTo>
                      <a:pt x="128048" y="592007"/>
                      <a:pt x="128048" y="589834"/>
                      <a:pt x="130200" y="587660"/>
                    </a:cubicBezTo>
                    <a:cubicBezTo>
                      <a:pt x="130200" y="587660"/>
                      <a:pt x="130200" y="587660"/>
                      <a:pt x="579818" y="133390"/>
                    </a:cubicBezTo>
                    <a:close/>
                    <a:moveTo>
                      <a:pt x="560761" y="109579"/>
                    </a:moveTo>
                    <a:cubicBezTo>
                      <a:pt x="562914" y="107403"/>
                      <a:pt x="565067" y="107403"/>
                      <a:pt x="567221" y="109579"/>
                    </a:cubicBezTo>
                    <a:cubicBezTo>
                      <a:pt x="569374" y="111754"/>
                      <a:pt x="569374" y="113930"/>
                      <a:pt x="567221" y="116105"/>
                    </a:cubicBezTo>
                    <a:cubicBezTo>
                      <a:pt x="567221" y="116105"/>
                      <a:pt x="567221" y="116105"/>
                      <a:pt x="112850" y="575128"/>
                    </a:cubicBezTo>
                    <a:cubicBezTo>
                      <a:pt x="110696" y="577303"/>
                      <a:pt x="108543" y="577303"/>
                      <a:pt x="106390" y="575128"/>
                    </a:cubicBezTo>
                    <a:cubicBezTo>
                      <a:pt x="104236" y="572952"/>
                      <a:pt x="104236" y="570777"/>
                      <a:pt x="106390" y="568601"/>
                    </a:cubicBezTo>
                    <a:cubicBezTo>
                      <a:pt x="106390" y="568601"/>
                      <a:pt x="106390" y="568601"/>
                      <a:pt x="560761"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5866" y="69899"/>
                    </a:moveTo>
                    <a:cubicBezTo>
                      <a:pt x="128000" y="67716"/>
                      <a:pt x="130133" y="67716"/>
                      <a:pt x="132266" y="69899"/>
                    </a:cubicBezTo>
                    <a:cubicBezTo>
                      <a:pt x="134399" y="72082"/>
                      <a:pt x="134399" y="76447"/>
                      <a:pt x="132266" y="76447"/>
                    </a:cubicBezTo>
                    <a:cubicBezTo>
                      <a:pt x="132266" y="76447"/>
                      <a:pt x="132266" y="76447"/>
                      <a:pt x="74669" y="135383"/>
                    </a:cubicBezTo>
                    <a:cubicBezTo>
                      <a:pt x="74669" y="137566"/>
                      <a:pt x="70403" y="137566"/>
                      <a:pt x="68269" y="135383"/>
                    </a:cubicBezTo>
                    <a:cubicBezTo>
                      <a:pt x="66136" y="133201"/>
                      <a:pt x="66136" y="131018"/>
                      <a:pt x="68269" y="128835"/>
                    </a:cubicBezTo>
                    <a:cubicBezTo>
                      <a:pt x="68269" y="128835"/>
                      <a:pt x="68269" y="128835"/>
                      <a:pt x="125866" y="69899"/>
                    </a:cubicBezTo>
                    <a:close/>
                    <a:moveTo>
                      <a:pt x="516289" y="68302"/>
                    </a:moveTo>
                    <a:cubicBezTo>
                      <a:pt x="518448" y="66128"/>
                      <a:pt x="520607" y="66128"/>
                      <a:pt x="522766" y="68302"/>
                    </a:cubicBezTo>
                    <a:cubicBezTo>
                      <a:pt x="524924" y="70475"/>
                      <a:pt x="524924" y="72649"/>
                      <a:pt x="522766" y="74822"/>
                    </a:cubicBezTo>
                    <a:cubicBezTo>
                      <a:pt x="522766" y="74822"/>
                      <a:pt x="522766" y="74822"/>
                      <a:pt x="71596" y="529093"/>
                    </a:cubicBezTo>
                    <a:cubicBezTo>
                      <a:pt x="69437" y="531266"/>
                      <a:pt x="67279" y="531266"/>
                      <a:pt x="65120" y="529093"/>
                    </a:cubicBezTo>
                    <a:cubicBezTo>
                      <a:pt x="62961" y="526919"/>
                      <a:pt x="62961" y="524746"/>
                      <a:pt x="65120" y="522572"/>
                    </a:cubicBezTo>
                    <a:cubicBezTo>
                      <a:pt x="65120" y="522572"/>
                      <a:pt x="65120" y="522572"/>
                      <a:pt x="516289" y="68302"/>
                    </a:cubicBezTo>
                    <a:close/>
                    <a:moveTo>
                      <a:pt x="489349" y="50843"/>
                    </a:moveTo>
                    <a:cubicBezTo>
                      <a:pt x="491496" y="48666"/>
                      <a:pt x="493642" y="48666"/>
                      <a:pt x="495789" y="50843"/>
                    </a:cubicBezTo>
                    <a:cubicBezTo>
                      <a:pt x="497936" y="53020"/>
                      <a:pt x="497936" y="55198"/>
                      <a:pt x="495789" y="57375"/>
                    </a:cubicBezTo>
                    <a:cubicBezTo>
                      <a:pt x="495789" y="57375"/>
                      <a:pt x="495789" y="57375"/>
                      <a:pt x="55674" y="503689"/>
                    </a:cubicBezTo>
                    <a:cubicBezTo>
                      <a:pt x="53527" y="505866"/>
                      <a:pt x="51380" y="505866"/>
                      <a:pt x="49233" y="503689"/>
                    </a:cubicBezTo>
                    <a:cubicBezTo>
                      <a:pt x="47086" y="501512"/>
                      <a:pt x="47086" y="499335"/>
                      <a:pt x="49233" y="497158"/>
                    </a:cubicBezTo>
                    <a:cubicBezTo>
                      <a:pt x="49233" y="497158"/>
                      <a:pt x="49233" y="497158"/>
                      <a:pt x="489349"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3"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398845" y="11154"/>
                    </a:moveTo>
                    <a:cubicBezTo>
                      <a:pt x="400996" y="8978"/>
                      <a:pt x="403147" y="8978"/>
                      <a:pt x="405297" y="11154"/>
                    </a:cubicBezTo>
                    <a:cubicBezTo>
                      <a:pt x="407448" y="13331"/>
                      <a:pt x="407448" y="15507"/>
                      <a:pt x="405297" y="17684"/>
                    </a:cubicBezTo>
                    <a:cubicBezTo>
                      <a:pt x="405297" y="17684"/>
                      <a:pt x="405297" y="17684"/>
                      <a:pt x="16001" y="411615"/>
                    </a:cubicBezTo>
                    <a:cubicBezTo>
                      <a:pt x="13850" y="413791"/>
                      <a:pt x="11699" y="413791"/>
                      <a:pt x="9549" y="411615"/>
                    </a:cubicBezTo>
                    <a:cubicBezTo>
                      <a:pt x="7398" y="409438"/>
                      <a:pt x="7398" y="407262"/>
                      <a:pt x="9549" y="405085"/>
                    </a:cubicBezTo>
                    <a:cubicBezTo>
                      <a:pt x="9549" y="405085"/>
                      <a:pt x="9549" y="405085"/>
                      <a:pt x="398845"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2334" y="4806"/>
                    </a:moveTo>
                    <a:cubicBezTo>
                      <a:pt x="364485" y="2628"/>
                      <a:pt x="366635" y="2628"/>
                      <a:pt x="368786" y="4806"/>
                    </a:cubicBezTo>
                    <a:cubicBezTo>
                      <a:pt x="370936" y="6984"/>
                      <a:pt x="370936" y="9162"/>
                      <a:pt x="368786" y="11341"/>
                    </a:cubicBezTo>
                    <a:cubicBezTo>
                      <a:pt x="368786" y="11341"/>
                      <a:pt x="368786" y="11341"/>
                      <a:pt x="9650" y="375100"/>
                    </a:cubicBezTo>
                    <a:cubicBezTo>
                      <a:pt x="7499" y="377278"/>
                      <a:pt x="5349" y="377278"/>
                      <a:pt x="3198" y="375100"/>
                    </a:cubicBezTo>
                    <a:cubicBezTo>
                      <a:pt x="1048" y="372922"/>
                      <a:pt x="1048" y="370744"/>
                      <a:pt x="3198" y="368565"/>
                    </a:cubicBezTo>
                    <a:cubicBezTo>
                      <a:pt x="3198" y="368565"/>
                      <a:pt x="3198" y="368565"/>
                      <a:pt x="36233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rgbClr val="0D274D"/>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23" name="Arc 1522">
                <a:extLst>
                  <a:ext uri="{FF2B5EF4-FFF2-40B4-BE49-F238E27FC236}">
                    <a16:creationId xmlns:a16="http://schemas.microsoft.com/office/drawing/2014/main" id="{4AB32070-5620-C14E-A3DB-17425A01E635}"/>
                  </a:ext>
                </a:extLst>
              </p:cNvPr>
              <p:cNvSpPr/>
              <p:nvPr/>
            </p:nvSpPr>
            <p:spPr>
              <a:xfrm flipH="1">
                <a:off x="5812807" y="1146403"/>
                <a:ext cx="2904434" cy="2904434"/>
              </a:xfrm>
              <a:prstGeom prst="arc">
                <a:avLst>
                  <a:gd name="adj1" fmla="val 3701099"/>
                  <a:gd name="adj2" fmla="val 9182751"/>
                </a:avLst>
              </a:prstGeom>
              <a:noFill/>
              <a:ln w="15875" cap="rnd"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24" name="Oval 1523">
                <a:extLst>
                  <a:ext uri="{FF2B5EF4-FFF2-40B4-BE49-F238E27FC236}">
                    <a16:creationId xmlns:a16="http://schemas.microsoft.com/office/drawing/2014/main" id="{881C4DF2-5BB2-A54F-B60A-1742D57A2B51}"/>
                  </a:ext>
                </a:extLst>
              </p:cNvPr>
              <p:cNvSpPr/>
              <p:nvPr/>
            </p:nvSpPr>
            <p:spPr>
              <a:xfrm>
                <a:off x="6517021" y="3829196"/>
                <a:ext cx="73026" cy="73024"/>
              </a:xfrm>
              <a:prstGeom prst="ellipse">
                <a:avLst/>
              </a:prstGeom>
              <a:solidFill>
                <a:srgbClr val="FFFFFF"/>
              </a:solidFill>
              <a:ln w="15875" cap="flat"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25" name="Oval 1524">
                <a:extLst>
                  <a:ext uri="{FF2B5EF4-FFF2-40B4-BE49-F238E27FC236}">
                    <a16:creationId xmlns:a16="http://schemas.microsoft.com/office/drawing/2014/main" id="{3FBCFBB8-B6FC-B145-BF66-004ECCFF4FF8}"/>
                  </a:ext>
                </a:extLst>
              </p:cNvPr>
              <p:cNvSpPr/>
              <p:nvPr/>
            </p:nvSpPr>
            <p:spPr>
              <a:xfrm>
                <a:off x="6536071" y="1293641"/>
                <a:ext cx="73026" cy="73024"/>
              </a:xfrm>
              <a:prstGeom prst="ellipse">
                <a:avLst/>
              </a:prstGeom>
              <a:solidFill>
                <a:srgbClr val="FFFFFF"/>
              </a:solidFill>
              <a:ln w="15875" cap="flat"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26" name="Freeform: Shape 370">
                <a:extLst>
                  <a:ext uri="{FF2B5EF4-FFF2-40B4-BE49-F238E27FC236}">
                    <a16:creationId xmlns:a16="http://schemas.microsoft.com/office/drawing/2014/main" id="{B3598F9E-EA1A-864D-8028-8BD7F898A227}"/>
                  </a:ext>
                </a:extLst>
              </p:cNvPr>
              <p:cNvSpPr>
                <a:spLocks/>
              </p:cNvSpPr>
              <p:nvPr/>
            </p:nvSpPr>
            <p:spPr bwMode="auto">
              <a:xfrm>
                <a:off x="6706418" y="1675797"/>
                <a:ext cx="2035990" cy="2065624"/>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rgbClr val="FFFFFF">
                  <a:alpha val="5000"/>
                </a:srgbClr>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527" name="Isosceles Triangle 49">
                <a:extLst>
                  <a:ext uri="{FF2B5EF4-FFF2-40B4-BE49-F238E27FC236}">
                    <a16:creationId xmlns:a16="http://schemas.microsoft.com/office/drawing/2014/main" id="{64113D7E-47CF-AE4A-B727-EB609790DAE5}"/>
                  </a:ext>
                </a:extLst>
              </p:cNvPr>
              <p:cNvSpPr/>
              <p:nvPr/>
            </p:nvSpPr>
            <p:spPr>
              <a:xfrm rot="16849066">
                <a:off x="7982671" y="2680089"/>
                <a:ext cx="359763" cy="31377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01BCE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ndParaRPr>
              </a:p>
            </p:txBody>
          </p:sp>
          <p:sp>
            <p:nvSpPr>
              <p:cNvPr id="1528" name="Isosceles Triangle 49">
                <a:extLst>
                  <a:ext uri="{FF2B5EF4-FFF2-40B4-BE49-F238E27FC236}">
                    <a16:creationId xmlns:a16="http://schemas.microsoft.com/office/drawing/2014/main" id="{22DFFC06-E109-5948-AB33-DDA12AD7CCF9}"/>
                  </a:ext>
                </a:extLst>
              </p:cNvPr>
              <p:cNvSpPr/>
              <p:nvPr/>
            </p:nvSpPr>
            <p:spPr>
              <a:xfrm rot="6590397">
                <a:off x="7822037" y="2418173"/>
                <a:ext cx="1050204" cy="915966"/>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6BBF4E"/>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ndParaRPr>
              </a:p>
            </p:txBody>
          </p:sp>
          <p:sp>
            <p:nvSpPr>
              <p:cNvPr id="1529" name="Isosceles Triangle 49">
                <a:extLst>
                  <a:ext uri="{FF2B5EF4-FFF2-40B4-BE49-F238E27FC236}">
                    <a16:creationId xmlns:a16="http://schemas.microsoft.com/office/drawing/2014/main" id="{13E855E8-B0FB-C94E-8070-BDF8DC7B63A1}"/>
                  </a:ext>
                </a:extLst>
              </p:cNvPr>
              <p:cNvSpPr/>
              <p:nvPr/>
            </p:nvSpPr>
            <p:spPr>
              <a:xfrm rot="6590397">
                <a:off x="8649162" y="2816074"/>
                <a:ext cx="202146" cy="176308"/>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ndParaRPr>
              </a:p>
            </p:txBody>
          </p:sp>
          <p:sp>
            <p:nvSpPr>
              <p:cNvPr id="1530" name="Oval 1529">
                <a:extLst>
                  <a:ext uri="{FF2B5EF4-FFF2-40B4-BE49-F238E27FC236}">
                    <a16:creationId xmlns:a16="http://schemas.microsoft.com/office/drawing/2014/main" id="{C6D2C830-282A-8542-A82C-B6E804CB40EE}"/>
                  </a:ext>
                </a:extLst>
              </p:cNvPr>
              <p:cNvSpPr/>
              <p:nvPr/>
            </p:nvSpPr>
            <p:spPr>
              <a:xfrm>
                <a:off x="8532511" y="3215786"/>
                <a:ext cx="73026" cy="73024"/>
              </a:xfrm>
              <a:prstGeom prst="ellipse">
                <a:avLst/>
              </a:prstGeom>
              <a:solidFill>
                <a:srgbClr val="FFFFFF"/>
              </a:solidFill>
              <a:ln w="15875" cap="flat"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sp>
            <p:nvSpPr>
              <p:cNvPr id="1531" name="Oval 1530">
                <a:extLst>
                  <a:ext uri="{FF2B5EF4-FFF2-40B4-BE49-F238E27FC236}">
                    <a16:creationId xmlns:a16="http://schemas.microsoft.com/office/drawing/2014/main" id="{C40C1D2F-98E5-D645-A7CA-E099990E1CA7}"/>
                  </a:ext>
                </a:extLst>
              </p:cNvPr>
              <p:cNvSpPr/>
              <p:nvPr/>
            </p:nvSpPr>
            <p:spPr>
              <a:xfrm>
                <a:off x="8683006" y="2596661"/>
                <a:ext cx="73026" cy="73024"/>
              </a:xfrm>
              <a:prstGeom prst="ellipse">
                <a:avLst/>
              </a:prstGeom>
              <a:solidFill>
                <a:srgbClr val="FFFFFF"/>
              </a:solidFill>
              <a:ln w="15875" cap="flat" cmpd="sng" algn="ctr">
                <a:solidFill>
                  <a:srgbClr val="6BBF4E"/>
                </a:solidFill>
                <a:prstDash val="solid"/>
              </a:ln>
              <a:effectLst/>
            </p:spPr>
            <p:txBody>
              <a:bodyPr rtlCol="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ndParaRPr>
              </a:p>
            </p:txBody>
          </p:sp>
          <p:pic>
            <p:nvPicPr>
              <p:cNvPr id="1532" name="Picture 1531" descr="A picture containing person, holding, hand, dark&#10;&#10;Description automatically generated">
                <a:extLst>
                  <a:ext uri="{FF2B5EF4-FFF2-40B4-BE49-F238E27FC236}">
                    <a16:creationId xmlns:a16="http://schemas.microsoft.com/office/drawing/2014/main" id="{F324290F-C843-4045-AED8-5AB7A04017EE}"/>
                  </a:ext>
                </a:extLst>
              </p:cNvPr>
              <p:cNvPicPr>
                <a:picLocks noChangeAspect="1"/>
              </p:cNvPicPr>
              <p:nvPr/>
            </p:nvPicPr>
            <p:blipFill rotWithShape="1">
              <a:blip r:embed="rId3" cstate="screen">
                <a:grayscl/>
                <a:extLst>
                  <a:ext uri="{28A0092B-C50C-407E-A947-70E740481C1C}">
                    <a14:useLocalDpi xmlns:a14="http://schemas.microsoft.com/office/drawing/2010/main"/>
                  </a:ext>
                </a:extLst>
              </a:blip>
              <a:srcRect/>
              <a:stretch/>
            </p:blipFill>
            <p:spPr>
              <a:xfrm>
                <a:off x="5941352" y="1281575"/>
                <a:ext cx="2449885" cy="2222407"/>
              </a:xfrm>
              <a:custGeom>
                <a:avLst/>
                <a:gdLst>
                  <a:gd name="connsiteX0" fmla="*/ 1323892 w 2449885"/>
                  <a:gd name="connsiteY0" fmla="*/ 0 h 2222407"/>
                  <a:gd name="connsiteX1" fmla="*/ 2421684 w 2449885"/>
                  <a:gd name="connsiteY1" fmla="*/ 583692 h 2222407"/>
                  <a:gd name="connsiteX2" fmla="*/ 2449885 w 2449885"/>
                  <a:gd name="connsiteY2" fmla="*/ 630112 h 2222407"/>
                  <a:gd name="connsiteX3" fmla="*/ 2449885 w 2449885"/>
                  <a:gd name="connsiteY3" fmla="*/ 1850517 h 2222407"/>
                  <a:gd name="connsiteX4" fmla="*/ 2077995 w 2449885"/>
                  <a:gd name="connsiteY4" fmla="*/ 2222407 h 2222407"/>
                  <a:gd name="connsiteX5" fmla="*/ 353570 w 2449885"/>
                  <a:gd name="connsiteY5" fmla="*/ 2222407 h 2222407"/>
                  <a:gd name="connsiteX6" fmla="*/ 302313 w 2449885"/>
                  <a:gd name="connsiteY6" fmla="*/ 2166010 h 2222407"/>
                  <a:gd name="connsiteX7" fmla="*/ 0 w 2449885"/>
                  <a:gd name="connsiteY7" fmla="*/ 1323892 h 2222407"/>
                  <a:gd name="connsiteX8" fmla="*/ 1323892 w 2449885"/>
                  <a:gd name="connsiteY8" fmla="*/ 0 h 222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885" h="2222407">
                    <a:moveTo>
                      <a:pt x="1323892" y="0"/>
                    </a:moveTo>
                    <a:cubicBezTo>
                      <a:pt x="1780870" y="0"/>
                      <a:pt x="2183771" y="231534"/>
                      <a:pt x="2421684" y="583692"/>
                    </a:cubicBezTo>
                    <a:lnTo>
                      <a:pt x="2449885" y="630112"/>
                    </a:lnTo>
                    <a:lnTo>
                      <a:pt x="2449885" y="1850517"/>
                    </a:lnTo>
                    <a:cubicBezTo>
                      <a:pt x="2449885" y="2055906"/>
                      <a:pt x="2283384" y="2222407"/>
                      <a:pt x="2077995" y="2222407"/>
                    </a:cubicBezTo>
                    <a:lnTo>
                      <a:pt x="353570" y="2222407"/>
                    </a:lnTo>
                    <a:lnTo>
                      <a:pt x="302313" y="2166010"/>
                    </a:lnTo>
                    <a:cubicBezTo>
                      <a:pt x="113452" y="1937164"/>
                      <a:pt x="0" y="1643777"/>
                      <a:pt x="0" y="1323892"/>
                    </a:cubicBezTo>
                    <a:cubicBezTo>
                      <a:pt x="0" y="592727"/>
                      <a:pt x="592727" y="0"/>
                      <a:pt x="1323892" y="0"/>
                    </a:cubicBezTo>
                    <a:close/>
                  </a:path>
                </a:pathLst>
              </a:custGeom>
            </p:spPr>
          </p:pic>
        </p:grpSp>
      </p:grpSp>
      <p:grpSp>
        <p:nvGrpSpPr>
          <p:cNvPr id="1752" name="Group 1751">
            <a:extLst>
              <a:ext uri="{FF2B5EF4-FFF2-40B4-BE49-F238E27FC236}">
                <a16:creationId xmlns:a16="http://schemas.microsoft.com/office/drawing/2014/main" id="{E5218C25-B3C1-A949-8772-05CD8EF85BD4}"/>
              </a:ext>
            </a:extLst>
          </p:cNvPr>
          <p:cNvGrpSpPr/>
          <p:nvPr/>
        </p:nvGrpSpPr>
        <p:grpSpPr>
          <a:xfrm>
            <a:off x="1029546" y="1316884"/>
            <a:ext cx="1677013" cy="2190248"/>
            <a:chOff x="909590" y="1320594"/>
            <a:chExt cx="1677013" cy="2190248"/>
          </a:xfrm>
        </p:grpSpPr>
        <p:sp>
          <p:nvSpPr>
            <p:cNvPr id="1753" name="Your experience...">
              <a:extLst>
                <a:ext uri="{FF2B5EF4-FFF2-40B4-BE49-F238E27FC236}">
                  <a16:creationId xmlns:a16="http://schemas.microsoft.com/office/drawing/2014/main" id="{704C0960-E5FB-604C-A3CD-4951EBCFC93D}"/>
                </a:ext>
              </a:extLst>
            </p:cNvPr>
            <p:cNvSpPr txBox="1">
              <a:spLocks/>
            </p:cNvSpPr>
            <p:nvPr/>
          </p:nvSpPr>
          <p:spPr bwMode="auto">
            <a:xfrm>
              <a:off x="1290234" y="3062129"/>
              <a:ext cx="1032334" cy="44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D274D"/>
                  </a:solidFill>
                  <a:effectLst/>
                  <a:uLnTx/>
                  <a:uFillTx/>
                  <a:latin typeface="+mn-lt"/>
                </a:rPr>
                <a:t>Experience</a:t>
              </a:r>
              <a:br>
                <a:rPr lang="en-US" sz="1800" b="0" i="0" u="none" strike="noStrike" kern="1200" cap="none" spc="0" normalizeH="0" baseline="0" noProof="0">
                  <a:ln>
                    <a:noFill/>
                  </a:ln>
                  <a:effectLst/>
                  <a:uLnTx/>
                  <a:uFillTx/>
                  <a:latin typeface="+mn-lt"/>
                  <a:cs typeface="CiscoSansTT Thin" charset="0"/>
                </a:rPr>
              </a:br>
              <a:r>
                <a:rPr kumimoji="0" lang="en-US" sz="1800" b="0" i="0" u="none" strike="noStrike" kern="1200" cap="none" spc="0" normalizeH="0" baseline="0" noProof="0">
                  <a:ln>
                    <a:noFill/>
                  </a:ln>
                  <a:solidFill>
                    <a:srgbClr val="0D274D"/>
                  </a:solidFill>
                  <a:effectLst/>
                  <a:uLnTx/>
                  <a:uFillTx/>
                  <a:latin typeface="+mn-lt"/>
                </a:rPr>
                <a:t>simplified</a:t>
              </a:r>
              <a:endParaRPr lang="en-US" sz="1800">
                <a:solidFill>
                  <a:srgbClr val="0D274D"/>
                </a:solidFill>
                <a:latin typeface="+mn-lt"/>
              </a:endParaRPr>
            </a:p>
          </p:txBody>
        </p:sp>
        <p:grpSp>
          <p:nvGrpSpPr>
            <p:cNvPr id="1754" name="Group 1753">
              <a:extLst>
                <a:ext uri="{FF2B5EF4-FFF2-40B4-BE49-F238E27FC236}">
                  <a16:creationId xmlns:a16="http://schemas.microsoft.com/office/drawing/2014/main" id="{288BDABF-AA9B-674D-BA7A-2436D80E7354}"/>
                </a:ext>
              </a:extLst>
            </p:cNvPr>
            <p:cNvGrpSpPr>
              <a:grpSpLocks noChangeAspect="1"/>
            </p:cNvGrpSpPr>
            <p:nvPr/>
          </p:nvGrpSpPr>
          <p:grpSpPr>
            <a:xfrm>
              <a:off x="909590" y="1320594"/>
              <a:ext cx="1677013" cy="1433099"/>
              <a:chOff x="4435926" y="840529"/>
              <a:chExt cx="3980382" cy="3401399"/>
            </a:xfrm>
          </p:grpSpPr>
          <p:grpSp>
            <p:nvGrpSpPr>
              <p:cNvPr id="1755" name="Group 1754">
                <a:extLst>
                  <a:ext uri="{FF2B5EF4-FFF2-40B4-BE49-F238E27FC236}">
                    <a16:creationId xmlns:a16="http://schemas.microsoft.com/office/drawing/2014/main" id="{F6BFCA05-33EA-0A4B-BDB1-244DF8F38CB1}"/>
                  </a:ext>
                </a:extLst>
              </p:cNvPr>
              <p:cNvGrpSpPr/>
              <p:nvPr/>
            </p:nvGrpSpPr>
            <p:grpSpPr>
              <a:xfrm>
                <a:off x="7298602" y="1162708"/>
                <a:ext cx="1117706" cy="951985"/>
                <a:chOff x="6445248" y="2814638"/>
                <a:chExt cx="1447804" cy="1231900"/>
              </a:xfrm>
            </p:grpSpPr>
            <p:sp>
              <p:nvSpPr>
                <p:cNvPr id="1795" name="Freeform 62">
                  <a:extLst>
                    <a:ext uri="{FF2B5EF4-FFF2-40B4-BE49-F238E27FC236}">
                      <a16:creationId xmlns:a16="http://schemas.microsoft.com/office/drawing/2014/main" id="{1AA8DD08-C9DC-0E4A-9B98-61EA5A43466A}"/>
                    </a:ext>
                  </a:extLst>
                </p:cNvPr>
                <p:cNvSpPr>
                  <a:spLocks/>
                </p:cNvSpPr>
                <p:nvPr/>
              </p:nvSpPr>
              <p:spPr bwMode="auto">
                <a:xfrm>
                  <a:off x="6445250" y="281463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6" name="Freeform 63">
                  <a:extLst>
                    <a:ext uri="{FF2B5EF4-FFF2-40B4-BE49-F238E27FC236}">
                      <a16:creationId xmlns:a16="http://schemas.microsoft.com/office/drawing/2014/main" id="{085F11F0-7F63-D64E-B126-6B0135C0AD56}"/>
                    </a:ext>
                  </a:extLst>
                </p:cNvPr>
                <p:cNvSpPr>
                  <a:spLocks/>
                </p:cNvSpPr>
                <p:nvPr/>
              </p:nvSpPr>
              <p:spPr bwMode="auto">
                <a:xfrm>
                  <a:off x="6445250" y="296545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6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6"/>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7" name="Freeform 64">
                  <a:extLst>
                    <a:ext uri="{FF2B5EF4-FFF2-40B4-BE49-F238E27FC236}">
                      <a16:creationId xmlns:a16="http://schemas.microsoft.com/office/drawing/2014/main" id="{3B1E1AAD-0BFD-BC4D-87E7-6481E8A236D2}"/>
                    </a:ext>
                  </a:extLst>
                </p:cNvPr>
                <p:cNvSpPr>
                  <a:spLocks/>
                </p:cNvSpPr>
                <p:nvPr/>
              </p:nvSpPr>
              <p:spPr bwMode="auto">
                <a:xfrm>
                  <a:off x="6445249" y="3116263"/>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8" name="Freeform 65">
                  <a:extLst>
                    <a:ext uri="{FF2B5EF4-FFF2-40B4-BE49-F238E27FC236}">
                      <a16:creationId xmlns:a16="http://schemas.microsoft.com/office/drawing/2014/main" id="{3D7C7A54-D299-F64F-AD8A-97DD1A116723}"/>
                    </a:ext>
                  </a:extLst>
                </p:cNvPr>
                <p:cNvSpPr>
                  <a:spLocks/>
                </p:cNvSpPr>
                <p:nvPr/>
              </p:nvSpPr>
              <p:spPr bwMode="auto">
                <a:xfrm>
                  <a:off x="6445248" y="3267075"/>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9" name="Freeform 66">
                  <a:extLst>
                    <a:ext uri="{FF2B5EF4-FFF2-40B4-BE49-F238E27FC236}">
                      <a16:creationId xmlns:a16="http://schemas.microsoft.com/office/drawing/2014/main" id="{2342CB5E-BD16-B742-943D-5C4CF3CBF1EC}"/>
                    </a:ext>
                  </a:extLst>
                </p:cNvPr>
                <p:cNvSpPr>
                  <a:spLocks/>
                </p:cNvSpPr>
                <p:nvPr/>
              </p:nvSpPr>
              <p:spPr bwMode="auto">
                <a:xfrm>
                  <a:off x="6445250" y="3419475"/>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3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6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3"/>
                      </a:lnTo>
                      <a:lnTo>
                        <a:pt x="135" y="83"/>
                      </a:lnTo>
                      <a:lnTo>
                        <a:pt x="264" y="0"/>
                      </a:lnTo>
                      <a:lnTo>
                        <a:pt x="392" y="83"/>
                      </a:lnTo>
                      <a:lnTo>
                        <a:pt x="521" y="0"/>
                      </a:lnTo>
                      <a:lnTo>
                        <a:pt x="649" y="83"/>
                      </a:lnTo>
                      <a:lnTo>
                        <a:pt x="778" y="0"/>
                      </a:lnTo>
                      <a:lnTo>
                        <a:pt x="912" y="86"/>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800" name="Freeform 67">
                  <a:extLst>
                    <a:ext uri="{FF2B5EF4-FFF2-40B4-BE49-F238E27FC236}">
                      <a16:creationId xmlns:a16="http://schemas.microsoft.com/office/drawing/2014/main" id="{68521173-D872-C441-B4E2-415A2FDFCF0A}"/>
                    </a:ext>
                  </a:extLst>
                </p:cNvPr>
                <p:cNvSpPr>
                  <a:spLocks/>
                </p:cNvSpPr>
                <p:nvPr/>
              </p:nvSpPr>
              <p:spPr bwMode="auto">
                <a:xfrm>
                  <a:off x="6445250" y="3570288"/>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801" name="Freeform 68">
                  <a:extLst>
                    <a:ext uri="{FF2B5EF4-FFF2-40B4-BE49-F238E27FC236}">
                      <a16:creationId xmlns:a16="http://schemas.microsoft.com/office/drawing/2014/main" id="{4939EA0E-26C4-3740-81A6-250019A9FB5F}"/>
                    </a:ext>
                  </a:extLst>
                </p:cNvPr>
                <p:cNvSpPr>
                  <a:spLocks/>
                </p:cNvSpPr>
                <p:nvPr/>
              </p:nvSpPr>
              <p:spPr bwMode="auto">
                <a:xfrm>
                  <a:off x="6445250" y="3721100"/>
                  <a:ext cx="1447800" cy="173038"/>
                </a:xfrm>
                <a:custGeom>
                  <a:avLst/>
                  <a:gdLst>
                    <a:gd name="T0" fmla="*/ 392 w 912"/>
                    <a:gd name="T1" fmla="*/ 109 h 109"/>
                    <a:gd name="T2" fmla="*/ 264 w 912"/>
                    <a:gd name="T3" fmla="*/ 26 h 109"/>
                    <a:gd name="T4" fmla="*/ 135 w 912"/>
                    <a:gd name="T5" fmla="*/ 109 h 109"/>
                    <a:gd name="T6" fmla="*/ 0 w 912"/>
                    <a:gd name="T7" fmla="*/ 22 h 109"/>
                    <a:gd name="T8" fmla="*/ 12 w 912"/>
                    <a:gd name="T9" fmla="*/ 4 h 109"/>
                    <a:gd name="T10" fmla="*/ 135 w 912"/>
                    <a:gd name="T11" fmla="*/ 83 h 109"/>
                    <a:gd name="T12" fmla="*/ 264 w 912"/>
                    <a:gd name="T13" fmla="*/ 0 h 109"/>
                    <a:gd name="T14" fmla="*/ 392 w 912"/>
                    <a:gd name="T15" fmla="*/ 83 h 109"/>
                    <a:gd name="T16" fmla="*/ 521 w 912"/>
                    <a:gd name="T17" fmla="*/ 0 h 109"/>
                    <a:gd name="T18" fmla="*/ 649 w 912"/>
                    <a:gd name="T19" fmla="*/ 83 h 109"/>
                    <a:gd name="T20" fmla="*/ 778 w 912"/>
                    <a:gd name="T21" fmla="*/ 0 h 109"/>
                    <a:gd name="T22" fmla="*/ 912 w 912"/>
                    <a:gd name="T23" fmla="*/ 87 h 109"/>
                    <a:gd name="T24" fmla="*/ 900 w 912"/>
                    <a:gd name="T25" fmla="*/ 105 h 109"/>
                    <a:gd name="T26" fmla="*/ 778 w 912"/>
                    <a:gd name="T27" fmla="*/ 26 h 109"/>
                    <a:gd name="T28" fmla="*/ 649 w 912"/>
                    <a:gd name="T29" fmla="*/ 109 h 109"/>
                    <a:gd name="T30" fmla="*/ 521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4" y="26"/>
                      </a:lnTo>
                      <a:lnTo>
                        <a:pt x="135" y="109"/>
                      </a:lnTo>
                      <a:lnTo>
                        <a:pt x="0" y="22"/>
                      </a:lnTo>
                      <a:lnTo>
                        <a:pt x="12" y="4"/>
                      </a:lnTo>
                      <a:lnTo>
                        <a:pt x="135" y="83"/>
                      </a:lnTo>
                      <a:lnTo>
                        <a:pt x="264" y="0"/>
                      </a:lnTo>
                      <a:lnTo>
                        <a:pt x="392" y="83"/>
                      </a:lnTo>
                      <a:lnTo>
                        <a:pt x="521" y="0"/>
                      </a:lnTo>
                      <a:lnTo>
                        <a:pt x="649" y="83"/>
                      </a:lnTo>
                      <a:lnTo>
                        <a:pt x="778" y="0"/>
                      </a:lnTo>
                      <a:lnTo>
                        <a:pt x="912" y="87"/>
                      </a:lnTo>
                      <a:lnTo>
                        <a:pt x="900" y="105"/>
                      </a:lnTo>
                      <a:lnTo>
                        <a:pt x="778" y="26"/>
                      </a:lnTo>
                      <a:lnTo>
                        <a:pt x="649" y="109"/>
                      </a:lnTo>
                      <a:lnTo>
                        <a:pt x="521" y="26"/>
                      </a:lnTo>
                      <a:lnTo>
                        <a:pt x="392" y="109"/>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802" name="Freeform 69">
                  <a:extLst>
                    <a:ext uri="{FF2B5EF4-FFF2-40B4-BE49-F238E27FC236}">
                      <a16:creationId xmlns:a16="http://schemas.microsoft.com/office/drawing/2014/main" id="{FC7363FA-EEF1-FE4C-B4F9-84A127EEA7E3}"/>
                    </a:ext>
                  </a:extLst>
                </p:cNvPr>
                <p:cNvSpPr>
                  <a:spLocks/>
                </p:cNvSpPr>
                <p:nvPr/>
              </p:nvSpPr>
              <p:spPr bwMode="auto">
                <a:xfrm>
                  <a:off x="6445252" y="3871913"/>
                  <a:ext cx="1447800" cy="174625"/>
                </a:xfrm>
                <a:custGeom>
                  <a:avLst/>
                  <a:gdLst>
                    <a:gd name="T0" fmla="*/ 392 w 912"/>
                    <a:gd name="T1" fmla="*/ 110 h 110"/>
                    <a:gd name="T2" fmla="*/ 264 w 912"/>
                    <a:gd name="T3" fmla="*/ 27 h 110"/>
                    <a:gd name="T4" fmla="*/ 135 w 912"/>
                    <a:gd name="T5" fmla="*/ 110 h 110"/>
                    <a:gd name="T6" fmla="*/ 0 w 912"/>
                    <a:gd name="T7" fmla="*/ 23 h 110"/>
                    <a:gd name="T8" fmla="*/ 12 w 912"/>
                    <a:gd name="T9" fmla="*/ 4 h 110"/>
                    <a:gd name="T10" fmla="*/ 135 w 912"/>
                    <a:gd name="T11" fmla="*/ 83 h 110"/>
                    <a:gd name="T12" fmla="*/ 264 w 912"/>
                    <a:gd name="T13" fmla="*/ 0 h 110"/>
                    <a:gd name="T14" fmla="*/ 392 w 912"/>
                    <a:gd name="T15" fmla="*/ 83 h 110"/>
                    <a:gd name="T16" fmla="*/ 521 w 912"/>
                    <a:gd name="T17" fmla="*/ 0 h 110"/>
                    <a:gd name="T18" fmla="*/ 649 w 912"/>
                    <a:gd name="T19" fmla="*/ 83 h 110"/>
                    <a:gd name="T20" fmla="*/ 778 w 912"/>
                    <a:gd name="T21" fmla="*/ 0 h 110"/>
                    <a:gd name="T22" fmla="*/ 912 w 912"/>
                    <a:gd name="T23" fmla="*/ 87 h 110"/>
                    <a:gd name="T24" fmla="*/ 900 w 912"/>
                    <a:gd name="T25" fmla="*/ 106 h 110"/>
                    <a:gd name="T26" fmla="*/ 778 w 912"/>
                    <a:gd name="T27" fmla="*/ 27 h 110"/>
                    <a:gd name="T28" fmla="*/ 649 w 912"/>
                    <a:gd name="T29" fmla="*/ 110 h 110"/>
                    <a:gd name="T30" fmla="*/ 521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4" y="27"/>
                      </a:lnTo>
                      <a:lnTo>
                        <a:pt x="135" y="110"/>
                      </a:lnTo>
                      <a:lnTo>
                        <a:pt x="0" y="23"/>
                      </a:lnTo>
                      <a:lnTo>
                        <a:pt x="12" y="4"/>
                      </a:lnTo>
                      <a:lnTo>
                        <a:pt x="135" y="83"/>
                      </a:lnTo>
                      <a:lnTo>
                        <a:pt x="264" y="0"/>
                      </a:lnTo>
                      <a:lnTo>
                        <a:pt x="392" y="83"/>
                      </a:lnTo>
                      <a:lnTo>
                        <a:pt x="521" y="0"/>
                      </a:lnTo>
                      <a:lnTo>
                        <a:pt x="649" y="83"/>
                      </a:lnTo>
                      <a:lnTo>
                        <a:pt x="778" y="0"/>
                      </a:lnTo>
                      <a:lnTo>
                        <a:pt x="912" y="87"/>
                      </a:lnTo>
                      <a:lnTo>
                        <a:pt x="900" y="106"/>
                      </a:lnTo>
                      <a:lnTo>
                        <a:pt x="778" y="27"/>
                      </a:lnTo>
                      <a:lnTo>
                        <a:pt x="649" y="110"/>
                      </a:lnTo>
                      <a:lnTo>
                        <a:pt x="521" y="27"/>
                      </a:lnTo>
                      <a:lnTo>
                        <a:pt x="392" y="110"/>
                      </a:lnTo>
                      <a:close/>
                    </a:path>
                  </a:pathLst>
                </a:cu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sp>
            <p:nvSpPr>
              <p:cNvPr id="1756" name="Oval 1755">
                <a:extLst>
                  <a:ext uri="{FF2B5EF4-FFF2-40B4-BE49-F238E27FC236}">
                    <a16:creationId xmlns:a16="http://schemas.microsoft.com/office/drawing/2014/main" id="{8AE37790-6716-7B46-A50D-8C4E645328F2}"/>
                  </a:ext>
                </a:extLst>
              </p:cNvPr>
              <p:cNvSpPr/>
              <p:nvPr/>
            </p:nvSpPr>
            <p:spPr>
              <a:xfrm>
                <a:off x="6238429" y="1050652"/>
                <a:ext cx="1431281" cy="1431281"/>
              </a:xfrm>
              <a:prstGeom prst="ellipse">
                <a:avLst/>
              </a:prstGeom>
              <a:solidFill>
                <a:srgbClr val="0D274D"/>
              </a:solidFill>
              <a:ln w="12700" cap="flat" cmpd="sng" algn="ctr">
                <a:no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0D274D"/>
                  </a:solidFill>
                  <a:effectLst/>
                  <a:uLnTx/>
                  <a:uFillTx/>
                  <a:latin typeface="Helvetica"/>
                </a:endParaRPr>
              </a:p>
            </p:txBody>
          </p:sp>
          <p:sp>
            <p:nvSpPr>
              <p:cNvPr id="1757" name="Freeform: Shape 328">
                <a:extLst>
                  <a:ext uri="{FF2B5EF4-FFF2-40B4-BE49-F238E27FC236}">
                    <a16:creationId xmlns:a16="http://schemas.microsoft.com/office/drawing/2014/main" id="{8BD49986-B0C4-B943-9551-A00EC7F755AF}"/>
                  </a:ext>
                </a:extLst>
              </p:cNvPr>
              <p:cNvSpPr/>
              <p:nvPr/>
            </p:nvSpPr>
            <p:spPr>
              <a:xfrm>
                <a:off x="8056191" y="2308886"/>
                <a:ext cx="258133" cy="258132"/>
              </a:xfrm>
              <a:custGeom>
                <a:avLst/>
                <a:gdLst>
                  <a:gd name="connsiteX0" fmla="*/ 225625 w 451250"/>
                  <a:gd name="connsiteY0" fmla="*/ 451250 h 451249"/>
                  <a:gd name="connsiteX1" fmla="*/ 0 w 451250"/>
                  <a:gd name="connsiteY1" fmla="*/ 225625 h 451249"/>
                  <a:gd name="connsiteX2" fmla="*/ 225625 w 451250"/>
                  <a:gd name="connsiteY2" fmla="*/ 0 h 451249"/>
                  <a:gd name="connsiteX3" fmla="*/ 451250 w 451250"/>
                  <a:gd name="connsiteY3" fmla="*/ 225625 h 451249"/>
                  <a:gd name="connsiteX4" fmla="*/ 225625 w 451250"/>
                  <a:gd name="connsiteY4" fmla="*/ 451250 h 451249"/>
                  <a:gd name="connsiteX5" fmla="*/ 225625 w 451250"/>
                  <a:gd name="connsiteY5" fmla="*/ 36884 h 451249"/>
                  <a:gd name="connsiteX6" fmla="*/ 36884 w 451250"/>
                  <a:gd name="connsiteY6" fmla="*/ 225625 h 451249"/>
                  <a:gd name="connsiteX7" fmla="*/ 225625 w 451250"/>
                  <a:gd name="connsiteY7" fmla="*/ 414366 h 451249"/>
                  <a:gd name="connsiteX8" fmla="*/ 414366 w 451250"/>
                  <a:gd name="connsiteY8" fmla="*/ 225625 h 451249"/>
                  <a:gd name="connsiteX9" fmla="*/ 225625 w 451250"/>
                  <a:gd name="connsiteY9" fmla="*/ 36884 h 451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1250" h="451249">
                    <a:moveTo>
                      <a:pt x="225625" y="451250"/>
                    </a:moveTo>
                    <a:cubicBezTo>
                      <a:pt x="101220" y="451250"/>
                      <a:pt x="0" y="350030"/>
                      <a:pt x="0" y="225625"/>
                    </a:cubicBezTo>
                    <a:cubicBezTo>
                      <a:pt x="0" y="101220"/>
                      <a:pt x="101220" y="0"/>
                      <a:pt x="225625" y="0"/>
                    </a:cubicBezTo>
                    <a:cubicBezTo>
                      <a:pt x="350030" y="0"/>
                      <a:pt x="451250" y="101220"/>
                      <a:pt x="451250" y="225625"/>
                    </a:cubicBezTo>
                    <a:cubicBezTo>
                      <a:pt x="451250" y="350030"/>
                      <a:pt x="350030" y="451250"/>
                      <a:pt x="225625" y="451250"/>
                    </a:cubicBezTo>
                    <a:close/>
                    <a:moveTo>
                      <a:pt x="225625" y="36884"/>
                    </a:moveTo>
                    <a:cubicBezTo>
                      <a:pt x="121559" y="36884"/>
                      <a:pt x="36884" y="121559"/>
                      <a:pt x="36884" y="225625"/>
                    </a:cubicBezTo>
                    <a:cubicBezTo>
                      <a:pt x="36884" y="329691"/>
                      <a:pt x="121559" y="414366"/>
                      <a:pt x="225625" y="414366"/>
                    </a:cubicBezTo>
                    <a:cubicBezTo>
                      <a:pt x="329691" y="414366"/>
                      <a:pt x="414366" y="329691"/>
                      <a:pt x="414366" y="225625"/>
                    </a:cubicBezTo>
                    <a:cubicBezTo>
                      <a:pt x="414366" y="121559"/>
                      <a:pt x="329691" y="36884"/>
                      <a:pt x="225625" y="36884"/>
                    </a:cubicBezTo>
                    <a:close/>
                  </a:path>
                </a:pathLst>
              </a:custGeom>
              <a:solidFill>
                <a:srgbClr val="6BBF4E"/>
              </a:solidFill>
              <a:ln w="526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ＭＳ Ｐゴシック" charset="0"/>
                </a:endParaRPr>
              </a:p>
            </p:txBody>
          </p:sp>
          <p:grpSp>
            <p:nvGrpSpPr>
              <p:cNvPr id="1758" name="Group 1757">
                <a:extLst>
                  <a:ext uri="{FF2B5EF4-FFF2-40B4-BE49-F238E27FC236}">
                    <a16:creationId xmlns:a16="http://schemas.microsoft.com/office/drawing/2014/main" id="{45819939-8816-404C-9B1A-5D1059ADE8CE}"/>
                  </a:ext>
                </a:extLst>
              </p:cNvPr>
              <p:cNvGrpSpPr/>
              <p:nvPr/>
            </p:nvGrpSpPr>
            <p:grpSpPr>
              <a:xfrm>
                <a:off x="5249052" y="2647677"/>
                <a:ext cx="1314451" cy="1141412"/>
                <a:chOff x="639763" y="2862263"/>
                <a:chExt cx="1314451" cy="1141412"/>
              </a:xfrm>
            </p:grpSpPr>
            <p:sp>
              <p:nvSpPr>
                <p:cNvPr id="1776" name="Oval 170">
                  <a:extLst>
                    <a:ext uri="{FF2B5EF4-FFF2-40B4-BE49-F238E27FC236}">
                      <a16:creationId xmlns:a16="http://schemas.microsoft.com/office/drawing/2014/main" id="{7001A0E1-2F3C-C94A-ADCF-B251A1965D49}"/>
                    </a:ext>
                  </a:extLst>
                </p:cNvPr>
                <p:cNvSpPr>
                  <a:spLocks noChangeArrowheads="1"/>
                </p:cNvSpPr>
                <p:nvPr/>
              </p:nvSpPr>
              <p:spPr bwMode="auto">
                <a:xfrm>
                  <a:off x="639763" y="3646488"/>
                  <a:ext cx="74613" cy="77788"/>
                </a:xfrm>
                <a:prstGeom prst="ellipse">
                  <a:avLst/>
                </a:prstGeom>
                <a:solidFill>
                  <a:srgbClr val="6AB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7" name="Oval 171">
                  <a:extLst>
                    <a:ext uri="{FF2B5EF4-FFF2-40B4-BE49-F238E27FC236}">
                      <a16:creationId xmlns:a16="http://schemas.microsoft.com/office/drawing/2014/main" id="{609F4C5E-7AEC-8849-B481-FE163CE1D251}"/>
                    </a:ext>
                  </a:extLst>
                </p:cNvPr>
                <p:cNvSpPr>
                  <a:spLocks noChangeArrowheads="1"/>
                </p:cNvSpPr>
                <p:nvPr/>
              </p:nvSpPr>
              <p:spPr bwMode="auto">
                <a:xfrm>
                  <a:off x="862013" y="3646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8" name="Oval 172">
                  <a:extLst>
                    <a:ext uri="{FF2B5EF4-FFF2-40B4-BE49-F238E27FC236}">
                      <a16:creationId xmlns:a16="http://schemas.microsoft.com/office/drawing/2014/main" id="{F5B8BCF1-D9A7-0C48-BBDA-472A83DE1107}"/>
                    </a:ext>
                  </a:extLst>
                </p:cNvPr>
                <p:cNvSpPr>
                  <a:spLocks noChangeArrowheads="1"/>
                </p:cNvSpPr>
                <p:nvPr/>
              </p:nvSpPr>
              <p:spPr bwMode="auto">
                <a:xfrm>
                  <a:off x="1344613" y="3646488"/>
                  <a:ext cx="74613" cy="77788"/>
                </a:xfrm>
                <a:prstGeom prst="ellipse">
                  <a:avLst/>
                </a:pr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9" name="Oval 173">
                  <a:extLst>
                    <a:ext uri="{FF2B5EF4-FFF2-40B4-BE49-F238E27FC236}">
                      <a16:creationId xmlns:a16="http://schemas.microsoft.com/office/drawing/2014/main" id="{4F6009E2-A9F3-F44A-90AC-0CD03C12A96F}"/>
                    </a:ext>
                  </a:extLst>
                </p:cNvPr>
                <p:cNvSpPr>
                  <a:spLocks noChangeArrowheads="1"/>
                </p:cNvSpPr>
                <p:nvPr/>
              </p:nvSpPr>
              <p:spPr bwMode="auto">
                <a:xfrm>
                  <a:off x="1344613" y="339883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0" name="Oval 174">
                  <a:extLst>
                    <a:ext uri="{FF2B5EF4-FFF2-40B4-BE49-F238E27FC236}">
                      <a16:creationId xmlns:a16="http://schemas.microsoft.com/office/drawing/2014/main" id="{72A81823-514C-1A41-9C4D-6FEE8C2C45A8}"/>
                    </a:ext>
                  </a:extLst>
                </p:cNvPr>
                <p:cNvSpPr>
                  <a:spLocks noChangeArrowheads="1"/>
                </p:cNvSpPr>
                <p:nvPr/>
              </p:nvSpPr>
              <p:spPr bwMode="auto">
                <a:xfrm>
                  <a:off x="1585913" y="3138488"/>
                  <a:ext cx="73025" cy="77788"/>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1" name="Oval 175">
                  <a:extLst>
                    <a:ext uri="{FF2B5EF4-FFF2-40B4-BE49-F238E27FC236}">
                      <a16:creationId xmlns:a16="http://schemas.microsoft.com/office/drawing/2014/main" id="{4D6A50FA-957A-644D-98DA-63476E4CD609}"/>
                    </a:ext>
                  </a:extLst>
                </p:cNvPr>
                <p:cNvSpPr>
                  <a:spLocks noChangeArrowheads="1"/>
                </p:cNvSpPr>
                <p:nvPr/>
              </p:nvSpPr>
              <p:spPr bwMode="auto">
                <a:xfrm>
                  <a:off x="1585913" y="2890838"/>
                  <a:ext cx="73025"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2" name="Oval 176">
                  <a:extLst>
                    <a:ext uri="{FF2B5EF4-FFF2-40B4-BE49-F238E27FC236}">
                      <a16:creationId xmlns:a16="http://schemas.microsoft.com/office/drawing/2014/main" id="{EE2237D9-33FF-E549-8F3C-A89504D73DE3}"/>
                    </a:ext>
                  </a:extLst>
                </p:cNvPr>
                <p:cNvSpPr>
                  <a:spLocks noChangeArrowheads="1"/>
                </p:cNvSpPr>
                <p:nvPr/>
              </p:nvSpPr>
              <p:spPr bwMode="auto">
                <a:xfrm>
                  <a:off x="1851026" y="3144838"/>
                  <a:ext cx="74613" cy="79375"/>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3" name="Oval 177">
                  <a:extLst>
                    <a:ext uri="{FF2B5EF4-FFF2-40B4-BE49-F238E27FC236}">
                      <a16:creationId xmlns:a16="http://schemas.microsoft.com/office/drawing/2014/main" id="{3D05712E-F692-D74B-A977-598B310013D9}"/>
                    </a:ext>
                  </a:extLst>
                </p:cNvPr>
                <p:cNvSpPr>
                  <a:spLocks noChangeArrowheads="1"/>
                </p:cNvSpPr>
                <p:nvPr/>
              </p:nvSpPr>
              <p:spPr bwMode="auto">
                <a:xfrm>
                  <a:off x="63976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4" name="Oval 178">
                  <a:extLst>
                    <a:ext uri="{FF2B5EF4-FFF2-40B4-BE49-F238E27FC236}">
                      <a16:creationId xmlns:a16="http://schemas.microsoft.com/office/drawing/2014/main" id="{7EBBD0E2-8AFF-814C-B73B-8251A9499FDE}"/>
                    </a:ext>
                  </a:extLst>
                </p:cNvPr>
                <p:cNvSpPr>
                  <a:spLocks noChangeArrowheads="1"/>
                </p:cNvSpPr>
                <p:nvPr/>
              </p:nvSpPr>
              <p:spPr bwMode="auto">
                <a:xfrm>
                  <a:off x="1344613" y="3900488"/>
                  <a:ext cx="74613" cy="74613"/>
                </a:xfrm>
                <a:prstGeom prst="ellipse">
                  <a:avLst/>
                </a:prstGeom>
                <a:solidFill>
                  <a:srgbClr val="1E44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5" name="Oval 179">
                  <a:extLst>
                    <a:ext uri="{FF2B5EF4-FFF2-40B4-BE49-F238E27FC236}">
                      <a16:creationId xmlns:a16="http://schemas.microsoft.com/office/drawing/2014/main" id="{A4BC6487-7D17-FB43-BA76-B521CD425D19}"/>
                    </a:ext>
                  </a:extLst>
                </p:cNvPr>
                <p:cNvSpPr>
                  <a:spLocks noChangeArrowheads="1"/>
                </p:cNvSpPr>
                <p:nvPr/>
              </p:nvSpPr>
              <p:spPr bwMode="auto">
                <a:xfrm>
                  <a:off x="1585913" y="3900488"/>
                  <a:ext cx="73025" cy="74613"/>
                </a:xfrm>
                <a:prstGeom prst="ellipse">
                  <a:avLst/>
                </a:pr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6" name="Freeform 180">
                  <a:extLst>
                    <a:ext uri="{FF2B5EF4-FFF2-40B4-BE49-F238E27FC236}">
                      <a16:creationId xmlns:a16="http://schemas.microsoft.com/office/drawing/2014/main" id="{1C83D7D3-2117-C841-BAE7-DA86A215DD1A}"/>
                    </a:ext>
                  </a:extLst>
                </p:cNvPr>
                <p:cNvSpPr>
                  <a:spLocks noEditPoints="1"/>
                </p:cNvSpPr>
                <p:nvPr/>
              </p:nvSpPr>
              <p:spPr bwMode="auto">
                <a:xfrm>
                  <a:off x="1822451"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7" name="Freeform 181">
                  <a:extLst>
                    <a:ext uri="{FF2B5EF4-FFF2-40B4-BE49-F238E27FC236}">
                      <a16:creationId xmlns:a16="http://schemas.microsoft.com/office/drawing/2014/main" id="{BFC4A6F4-0E84-D44C-96C0-5CD777829F1A}"/>
                    </a:ext>
                  </a:extLst>
                </p:cNvPr>
                <p:cNvSpPr>
                  <a:spLocks noEditPoints="1"/>
                </p:cNvSpPr>
                <p:nvPr/>
              </p:nvSpPr>
              <p:spPr bwMode="auto">
                <a:xfrm>
                  <a:off x="1555751"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8" name="Freeform 182">
                  <a:extLst>
                    <a:ext uri="{FF2B5EF4-FFF2-40B4-BE49-F238E27FC236}">
                      <a16:creationId xmlns:a16="http://schemas.microsoft.com/office/drawing/2014/main" id="{D593BDF5-6EC7-B240-81F9-7A4C8D2107B9}"/>
                    </a:ext>
                  </a:extLst>
                </p:cNvPr>
                <p:cNvSpPr>
                  <a:spLocks noEditPoints="1"/>
                </p:cNvSpPr>
                <p:nvPr/>
              </p:nvSpPr>
              <p:spPr bwMode="auto">
                <a:xfrm>
                  <a:off x="1555751" y="3368675"/>
                  <a:ext cx="133350"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89" name="Freeform 183">
                  <a:extLst>
                    <a:ext uri="{FF2B5EF4-FFF2-40B4-BE49-F238E27FC236}">
                      <a16:creationId xmlns:a16="http://schemas.microsoft.com/office/drawing/2014/main" id="{3E04BEF7-C74C-7440-87F3-A7ED149A1740}"/>
                    </a:ext>
                  </a:extLst>
                </p:cNvPr>
                <p:cNvSpPr>
                  <a:spLocks noEditPoints="1"/>
                </p:cNvSpPr>
                <p:nvPr/>
              </p:nvSpPr>
              <p:spPr bwMode="auto">
                <a:xfrm>
                  <a:off x="1822451"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01BC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0" name="Freeform 184">
                  <a:extLst>
                    <a:ext uri="{FF2B5EF4-FFF2-40B4-BE49-F238E27FC236}">
                      <a16:creationId xmlns:a16="http://schemas.microsoft.com/office/drawing/2014/main" id="{52A9C9C7-FC90-CC48-AE71-A8B1019A912F}"/>
                    </a:ext>
                  </a:extLst>
                </p:cNvPr>
                <p:cNvSpPr>
                  <a:spLocks noEditPoints="1"/>
                </p:cNvSpPr>
                <p:nvPr/>
              </p:nvSpPr>
              <p:spPr bwMode="auto">
                <a:xfrm>
                  <a:off x="1071563"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1" name="Freeform 185">
                  <a:extLst>
                    <a:ext uri="{FF2B5EF4-FFF2-40B4-BE49-F238E27FC236}">
                      <a16:creationId xmlns:a16="http://schemas.microsoft.com/office/drawing/2014/main" id="{F9F5500F-C0F8-1A4A-87AD-92D3723F6FC9}"/>
                    </a:ext>
                  </a:extLst>
                </p:cNvPr>
                <p:cNvSpPr>
                  <a:spLocks noEditPoints="1"/>
                </p:cNvSpPr>
                <p:nvPr/>
              </p:nvSpPr>
              <p:spPr bwMode="auto">
                <a:xfrm>
                  <a:off x="1316038"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2" name="Freeform 186">
                  <a:extLst>
                    <a:ext uri="{FF2B5EF4-FFF2-40B4-BE49-F238E27FC236}">
                      <a16:creationId xmlns:a16="http://schemas.microsoft.com/office/drawing/2014/main" id="{4F41CD80-0328-1D42-9CFA-8C149AD6BBB2}"/>
                    </a:ext>
                  </a:extLst>
                </p:cNvPr>
                <p:cNvSpPr>
                  <a:spLocks noEditPoints="1"/>
                </p:cNvSpPr>
                <p:nvPr/>
              </p:nvSpPr>
              <p:spPr bwMode="auto">
                <a:xfrm>
                  <a:off x="1316038"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3" name="Freeform 187">
                  <a:extLst>
                    <a:ext uri="{FF2B5EF4-FFF2-40B4-BE49-F238E27FC236}">
                      <a16:creationId xmlns:a16="http://schemas.microsoft.com/office/drawing/2014/main" id="{F7E69E09-10BF-BE45-A47A-FD64C520DA02}"/>
                    </a:ext>
                  </a:extLst>
                </p:cNvPr>
                <p:cNvSpPr>
                  <a:spLocks noEditPoints="1"/>
                </p:cNvSpPr>
                <p:nvPr/>
              </p:nvSpPr>
              <p:spPr bwMode="auto">
                <a:xfrm>
                  <a:off x="1822451" y="2862263"/>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94" name="Freeform 188">
                  <a:extLst>
                    <a:ext uri="{FF2B5EF4-FFF2-40B4-BE49-F238E27FC236}">
                      <a16:creationId xmlns:a16="http://schemas.microsoft.com/office/drawing/2014/main" id="{15DB03EA-440B-694F-9A77-EFA82874E4CE}"/>
                    </a:ext>
                  </a:extLst>
                </p:cNvPr>
                <p:cNvSpPr>
                  <a:spLocks noEditPoints="1"/>
                </p:cNvSpPr>
                <p:nvPr/>
              </p:nvSpPr>
              <p:spPr bwMode="auto">
                <a:xfrm>
                  <a:off x="1071563" y="3870325"/>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sp>
            <p:nvSpPr>
              <p:cNvPr id="1759" name="Freeform: Shape 330">
                <a:extLst>
                  <a:ext uri="{FF2B5EF4-FFF2-40B4-BE49-F238E27FC236}">
                    <a16:creationId xmlns:a16="http://schemas.microsoft.com/office/drawing/2014/main" id="{3822065F-5E63-E841-830D-560D71F70111}"/>
                  </a:ext>
                </a:extLst>
              </p:cNvPr>
              <p:cNvSpPr>
                <a:spLocks/>
              </p:cNvSpPr>
              <p:nvPr/>
            </p:nvSpPr>
            <p:spPr bwMode="auto">
              <a:xfrm>
                <a:off x="4435926" y="1783487"/>
                <a:ext cx="1647357" cy="1671336"/>
              </a:xfrm>
              <a:custGeom>
                <a:avLst/>
                <a:gdLst>
                  <a:gd name="connsiteX0" fmla="*/ 578303 w 652975"/>
                  <a:gd name="connsiteY0" fmla="*/ 527099 h 662481"/>
                  <a:gd name="connsiteX1" fmla="*/ 584703 w 652975"/>
                  <a:gd name="connsiteY1" fmla="*/ 527099 h 662481"/>
                  <a:gd name="connsiteX2" fmla="*/ 584703 w 652975"/>
                  <a:gd name="connsiteY2" fmla="*/ 533647 h 662481"/>
                  <a:gd name="connsiteX3" fmla="*/ 527106 w 652975"/>
                  <a:gd name="connsiteY3" fmla="*/ 592583 h 662481"/>
                  <a:gd name="connsiteX4" fmla="*/ 520706 w 652975"/>
                  <a:gd name="connsiteY4" fmla="*/ 592583 h 662481"/>
                  <a:gd name="connsiteX5" fmla="*/ 520706 w 652975"/>
                  <a:gd name="connsiteY5" fmla="*/ 586035 h 662481"/>
                  <a:gd name="connsiteX6" fmla="*/ 578303 w 652975"/>
                  <a:gd name="connsiteY6" fmla="*/ 527099 h 662481"/>
                  <a:gd name="connsiteX7" fmla="*/ 627495 w 652975"/>
                  <a:gd name="connsiteY7" fmla="*/ 433440 h 662481"/>
                  <a:gd name="connsiteX8" fmla="*/ 633910 w 652975"/>
                  <a:gd name="connsiteY8" fmla="*/ 433440 h 662481"/>
                  <a:gd name="connsiteX9" fmla="*/ 633910 w 652975"/>
                  <a:gd name="connsiteY9" fmla="*/ 440001 h 662481"/>
                  <a:gd name="connsiteX10" fmla="*/ 435051 w 652975"/>
                  <a:gd name="connsiteY10" fmla="*/ 643379 h 662481"/>
                  <a:gd name="connsiteX11" fmla="*/ 428637 w 652975"/>
                  <a:gd name="connsiteY11" fmla="*/ 643379 h 662481"/>
                  <a:gd name="connsiteX12" fmla="*/ 428637 w 652975"/>
                  <a:gd name="connsiteY12" fmla="*/ 636819 h 662481"/>
                  <a:gd name="connsiteX13" fmla="*/ 627495 w 652975"/>
                  <a:gd name="connsiteY13" fmla="*/ 433440 h 662481"/>
                  <a:gd name="connsiteX14" fmla="*/ 641708 w 652975"/>
                  <a:gd name="connsiteY14" fmla="*/ 374697 h 662481"/>
                  <a:gd name="connsiteX15" fmla="*/ 648179 w 652975"/>
                  <a:gd name="connsiteY15" fmla="*/ 374697 h 662481"/>
                  <a:gd name="connsiteX16" fmla="*/ 648179 w 652975"/>
                  <a:gd name="connsiteY16" fmla="*/ 383423 h 662481"/>
                  <a:gd name="connsiteX17" fmla="*/ 378547 w 652975"/>
                  <a:gd name="connsiteY17" fmla="*/ 656085 h 662481"/>
                  <a:gd name="connsiteX18" fmla="*/ 369918 w 652975"/>
                  <a:gd name="connsiteY18" fmla="*/ 656085 h 662481"/>
                  <a:gd name="connsiteX19" fmla="*/ 369918 w 652975"/>
                  <a:gd name="connsiteY19" fmla="*/ 649541 h 662481"/>
                  <a:gd name="connsiteX20" fmla="*/ 641708 w 652975"/>
                  <a:gd name="connsiteY20" fmla="*/ 374697 h 662481"/>
                  <a:gd name="connsiteX21" fmla="*/ 644935 w 652975"/>
                  <a:gd name="connsiteY21" fmla="*/ 328664 h 662481"/>
                  <a:gd name="connsiteX22" fmla="*/ 651367 w 652975"/>
                  <a:gd name="connsiteY22" fmla="*/ 328664 h 662481"/>
                  <a:gd name="connsiteX23" fmla="*/ 651367 w 652975"/>
                  <a:gd name="connsiteY23" fmla="*/ 335220 h 662481"/>
                  <a:gd name="connsiteX24" fmla="*/ 331888 w 652975"/>
                  <a:gd name="connsiteY24" fmla="*/ 660843 h 662481"/>
                  <a:gd name="connsiteX25" fmla="*/ 325455 w 652975"/>
                  <a:gd name="connsiteY25" fmla="*/ 660843 h 662481"/>
                  <a:gd name="connsiteX26" fmla="*/ 325455 w 652975"/>
                  <a:gd name="connsiteY26" fmla="*/ 654287 h 662481"/>
                  <a:gd name="connsiteX27" fmla="*/ 644935 w 652975"/>
                  <a:gd name="connsiteY27" fmla="*/ 328664 h 662481"/>
                  <a:gd name="connsiteX28" fmla="*/ 643322 w 652975"/>
                  <a:gd name="connsiteY28" fmla="*/ 287381 h 662481"/>
                  <a:gd name="connsiteX29" fmla="*/ 649774 w 652975"/>
                  <a:gd name="connsiteY29" fmla="*/ 287381 h 662481"/>
                  <a:gd name="connsiteX30" fmla="*/ 649774 w 652975"/>
                  <a:gd name="connsiteY30" fmla="*/ 293916 h 662481"/>
                  <a:gd name="connsiteX31" fmla="*/ 290638 w 652975"/>
                  <a:gd name="connsiteY31" fmla="*/ 657675 h 662481"/>
                  <a:gd name="connsiteX32" fmla="*/ 284187 w 652975"/>
                  <a:gd name="connsiteY32" fmla="*/ 657675 h 662481"/>
                  <a:gd name="connsiteX33" fmla="*/ 284187 w 652975"/>
                  <a:gd name="connsiteY33" fmla="*/ 651140 h 662481"/>
                  <a:gd name="connsiteX34" fmla="*/ 643322 w 652975"/>
                  <a:gd name="connsiteY34" fmla="*/ 287381 h 662481"/>
                  <a:gd name="connsiteX35" fmla="*/ 636970 w 652975"/>
                  <a:gd name="connsiteY35" fmla="*/ 250868 h 662481"/>
                  <a:gd name="connsiteX36" fmla="*/ 643422 w 652975"/>
                  <a:gd name="connsiteY36" fmla="*/ 250868 h 662481"/>
                  <a:gd name="connsiteX37" fmla="*/ 643422 w 652975"/>
                  <a:gd name="connsiteY37" fmla="*/ 257397 h 662481"/>
                  <a:gd name="connsiteX38" fmla="*/ 254126 w 652975"/>
                  <a:gd name="connsiteY38" fmla="*/ 651328 h 662481"/>
                  <a:gd name="connsiteX39" fmla="*/ 247674 w 652975"/>
                  <a:gd name="connsiteY39" fmla="*/ 651328 h 662481"/>
                  <a:gd name="connsiteX40" fmla="*/ 247674 w 652975"/>
                  <a:gd name="connsiteY40" fmla="*/ 644798 h 662481"/>
                  <a:gd name="connsiteX41" fmla="*/ 636970 w 652975"/>
                  <a:gd name="connsiteY41" fmla="*/ 250868 h 662481"/>
                  <a:gd name="connsiteX42" fmla="*/ 625843 w 652975"/>
                  <a:gd name="connsiteY42" fmla="*/ 217532 h 662481"/>
                  <a:gd name="connsiteX43" fmla="*/ 632307 w 652975"/>
                  <a:gd name="connsiteY43" fmla="*/ 217532 h 662481"/>
                  <a:gd name="connsiteX44" fmla="*/ 632307 w 652975"/>
                  <a:gd name="connsiteY44" fmla="*/ 224068 h 662481"/>
                  <a:gd name="connsiteX45" fmla="*/ 220804 w 652975"/>
                  <a:gd name="connsiteY45" fmla="*/ 640212 h 662481"/>
                  <a:gd name="connsiteX46" fmla="*/ 214341 w 652975"/>
                  <a:gd name="connsiteY46" fmla="*/ 640212 h 662481"/>
                  <a:gd name="connsiteX47" fmla="*/ 214341 w 652975"/>
                  <a:gd name="connsiteY47" fmla="*/ 633676 h 662481"/>
                  <a:gd name="connsiteX48" fmla="*/ 625843 w 652975"/>
                  <a:gd name="connsiteY48" fmla="*/ 217532 h 662481"/>
                  <a:gd name="connsiteX49" fmla="*/ 613139 w 652975"/>
                  <a:gd name="connsiteY49" fmla="*/ 187370 h 662481"/>
                  <a:gd name="connsiteX50" fmla="*/ 619606 w 652975"/>
                  <a:gd name="connsiteY50" fmla="*/ 187370 h 662481"/>
                  <a:gd name="connsiteX51" fmla="*/ 619606 w 652975"/>
                  <a:gd name="connsiteY51" fmla="*/ 193907 h 662481"/>
                  <a:gd name="connsiteX52" fmla="*/ 190646 w 652975"/>
                  <a:gd name="connsiteY52" fmla="*/ 627512 h 662481"/>
                  <a:gd name="connsiteX53" fmla="*/ 184179 w 652975"/>
                  <a:gd name="connsiteY53" fmla="*/ 627512 h 662481"/>
                  <a:gd name="connsiteX54" fmla="*/ 184179 w 652975"/>
                  <a:gd name="connsiteY54" fmla="*/ 620975 h 662481"/>
                  <a:gd name="connsiteX55" fmla="*/ 613139 w 652975"/>
                  <a:gd name="connsiteY55" fmla="*/ 187370 h 662481"/>
                  <a:gd name="connsiteX56" fmla="*/ 598856 w 652975"/>
                  <a:gd name="connsiteY56" fmla="*/ 158793 h 662481"/>
                  <a:gd name="connsiteX57" fmla="*/ 605320 w 652975"/>
                  <a:gd name="connsiteY57" fmla="*/ 158793 h 662481"/>
                  <a:gd name="connsiteX58" fmla="*/ 605320 w 652975"/>
                  <a:gd name="connsiteY58" fmla="*/ 165325 h 662481"/>
                  <a:gd name="connsiteX59" fmla="*/ 163654 w 652975"/>
                  <a:gd name="connsiteY59" fmla="*/ 611639 h 662481"/>
                  <a:gd name="connsiteX60" fmla="*/ 157191 w 652975"/>
                  <a:gd name="connsiteY60" fmla="*/ 611639 h 662481"/>
                  <a:gd name="connsiteX61" fmla="*/ 157191 w 652975"/>
                  <a:gd name="connsiteY61" fmla="*/ 605108 h 662481"/>
                  <a:gd name="connsiteX62" fmla="*/ 598856 w 652975"/>
                  <a:gd name="connsiteY62" fmla="*/ 158793 h 662481"/>
                  <a:gd name="connsiteX63" fmla="*/ 581376 w 652975"/>
                  <a:gd name="connsiteY63" fmla="*/ 133390 h 662481"/>
                  <a:gd name="connsiteX64" fmla="*/ 587853 w 652975"/>
                  <a:gd name="connsiteY64" fmla="*/ 133390 h 662481"/>
                  <a:gd name="connsiteX65" fmla="*/ 587853 w 652975"/>
                  <a:gd name="connsiteY65" fmla="*/ 139910 h 662481"/>
                  <a:gd name="connsiteX66" fmla="*/ 136683 w 652975"/>
                  <a:gd name="connsiteY66" fmla="*/ 594181 h 662481"/>
                  <a:gd name="connsiteX67" fmla="*/ 130207 w 652975"/>
                  <a:gd name="connsiteY67" fmla="*/ 594181 h 662481"/>
                  <a:gd name="connsiteX68" fmla="*/ 130207 w 652975"/>
                  <a:gd name="connsiteY68" fmla="*/ 587660 h 662481"/>
                  <a:gd name="connsiteX69" fmla="*/ 581376 w 652975"/>
                  <a:gd name="connsiteY69" fmla="*/ 133390 h 662481"/>
                  <a:gd name="connsiteX70" fmla="*/ 560789 w 652975"/>
                  <a:gd name="connsiteY70" fmla="*/ 109579 h 662481"/>
                  <a:gd name="connsiteX71" fmla="*/ 567227 w 652975"/>
                  <a:gd name="connsiteY71" fmla="*/ 109579 h 662481"/>
                  <a:gd name="connsiteX72" fmla="*/ 567227 w 652975"/>
                  <a:gd name="connsiteY72" fmla="*/ 116105 h 662481"/>
                  <a:gd name="connsiteX73" fmla="*/ 114408 w 652975"/>
                  <a:gd name="connsiteY73" fmla="*/ 575128 h 662481"/>
                  <a:gd name="connsiteX74" fmla="*/ 107969 w 652975"/>
                  <a:gd name="connsiteY74" fmla="*/ 575128 h 662481"/>
                  <a:gd name="connsiteX75" fmla="*/ 107969 w 652975"/>
                  <a:gd name="connsiteY75" fmla="*/ 568601 h 662481"/>
                  <a:gd name="connsiteX76" fmla="*/ 560789 w 652975"/>
                  <a:gd name="connsiteY76" fmla="*/ 109579 h 662481"/>
                  <a:gd name="connsiteX77" fmla="*/ 540123 w 652975"/>
                  <a:gd name="connsiteY77" fmla="*/ 87354 h 662481"/>
                  <a:gd name="connsiteX78" fmla="*/ 546583 w 652975"/>
                  <a:gd name="connsiteY78" fmla="*/ 87354 h 662481"/>
                  <a:gd name="connsiteX79" fmla="*/ 546583 w 652975"/>
                  <a:gd name="connsiteY79" fmla="*/ 93880 h 662481"/>
                  <a:gd name="connsiteX80" fmla="*/ 92212 w 652975"/>
                  <a:gd name="connsiteY80" fmla="*/ 552903 h 662481"/>
                  <a:gd name="connsiteX81" fmla="*/ 85752 w 652975"/>
                  <a:gd name="connsiteY81" fmla="*/ 552903 h 662481"/>
                  <a:gd name="connsiteX82" fmla="*/ 85752 w 652975"/>
                  <a:gd name="connsiteY82" fmla="*/ 546376 h 662481"/>
                  <a:gd name="connsiteX83" fmla="*/ 540123 w 652975"/>
                  <a:gd name="connsiteY83" fmla="*/ 87354 h 662481"/>
                  <a:gd name="connsiteX84" fmla="*/ 127255 w 652975"/>
                  <a:gd name="connsiteY84" fmla="*/ 69899 h 662481"/>
                  <a:gd name="connsiteX85" fmla="*/ 133803 w 652975"/>
                  <a:gd name="connsiteY85" fmla="*/ 69899 h 662481"/>
                  <a:gd name="connsiteX86" fmla="*/ 133803 w 652975"/>
                  <a:gd name="connsiteY86" fmla="*/ 76447 h 662481"/>
                  <a:gd name="connsiteX87" fmla="*/ 74867 w 652975"/>
                  <a:gd name="connsiteY87" fmla="*/ 135383 h 662481"/>
                  <a:gd name="connsiteX88" fmla="*/ 68319 w 652975"/>
                  <a:gd name="connsiteY88" fmla="*/ 135383 h 662481"/>
                  <a:gd name="connsiteX89" fmla="*/ 68319 w 652975"/>
                  <a:gd name="connsiteY89" fmla="*/ 128835 h 662481"/>
                  <a:gd name="connsiteX90" fmla="*/ 127255 w 652975"/>
                  <a:gd name="connsiteY90" fmla="*/ 69899 h 662481"/>
                  <a:gd name="connsiteX91" fmla="*/ 516318 w 652975"/>
                  <a:gd name="connsiteY91" fmla="*/ 68302 h 662481"/>
                  <a:gd name="connsiteX92" fmla="*/ 522772 w 652975"/>
                  <a:gd name="connsiteY92" fmla="*/ 68302 h 662481"/>
                  <a:gd name="connsiteX93" fmla="*/ 522772 w 652975"/>
                  <a:gd name="connsiteY93" fmla="*/ 74822 h 662481"/>
                  <a:gd name="connsiteX94" fmla="*/ 73153 w 652975"/>
                  <a:gd name="connsiteY94" fmla="*/ 529093 h 662481"/>
                  <a:gd name="connsiteX95" fmla="*/ 66700 w 652975"/>
                  <a:gd name="connsiteY95" fmla="*/ 529093 h 662481"/>
                  <a:gd name="connsiteX96" fmla="*/ 66700 w 652975"/>
                  <a:gd name="connsiteY96" fmla="*/ 522572 h 662481"/>
                  <a:gd name="connsiteX97" fmla="*/ 516318 w 652975"/>
                  <a:gd name="connsiteY97" fmla="*/ 68302 h 662481"/>
                  <a:gd name="connsiteX98" fmla="*/ 490906 w 652975"/>
                  <a:gd name="connsiteY98" fmla="*/ 50843 h 662481"/>
                  <a:gd name="connsiteX99" fmla="*/ 497370 w 652975"/>
                  <a:gd name="connsiteY99" fmla="*/ 50843 h 662481"/>
                  <a:gd name="connsiteX100" fmla="*/ 497370 w 652975"/>
                  <a:gd name="connsiteY100" fmla="*/ 57375 h 662481"/>
                  <a:gd name="connsiteX101" fmla="*/ 55704 w 652975"/>
                  <a:gd name="connsiteY101" fmla="*/ 503689 h 662481"/>
                  <a:gd name="connsiteX102" fmla="*/ 49241 w 652975"/>
                  <a:gd name="connsiteY102" fmla="*/ 503689 h 662481"/>
                  <a:gd name="connsiteX103" fmla="*/ 49241 w 652975"/>
                  <a:gd name="connsiteY103" fmla="*/ 497158 h 662481"/>
                  <a:gd name="connsiteX104" fmla="*/ 490906 w 652975"/>
                  <a:gd name="connsiteY104" fmla="*/ 50843 h 662481"/>
                  <a:gd name="connsiteX105" fmla="*/ 462327 w 652975"/>
                  <a:gd name="connsiteY105" fmla="*/ 34970 h 662481"/>
                  <a:gd name="connsiteX106" fmla="*/ 468794 w 652975"/>
                  <a:gd name="connsiteY106" fmla="*/ 34970 h 662481"/>
                  <a:gd name="connsiteX107" fmla="*/ 468794 w 652975"/>
                  <a:gd name="connsiteY107" fmla="*/ 41507 h 662481"/>
                  <a:gd name="connsiteX108" fmla="*/ 39834 w 652975"/>
                  <a:gd name="connsiteY108" fmla="*/ 475112 h 662481"/>
                  <a:gd name="connsiteX109" fmla="*/ 33367 w 652975"/>
                  <a:gd name="connsiteY109" fmla="*/ 475112 h 662481"/>
                  <a:gd name="connsiteX110" fmla="*/ 33367 w 652975"/>
                  <a:gd name="connsiteY110" fmla="*/ 468575 h 662481"/>
                  <a:gd name="connsiteX111" fmla="*/ 462327 w 652975"/>
                  <a:gd name="connsiteY111" fmla="*/ 34970 h 662481"/>
                  <a:gd name="connsiteX112" fmla="*/ 432168 w 652975"/>
                  <a:gd name="connsiteY112" fmla="*/ 22270 h 662481"/>
                  <a:gd name="connsiteX113" fmla="*/ 438632 w 652975"/>
                  <a:gd name="connsiteY113" fmla="*/ 22270 h 662481"/>
                  <a:gd name="connsiteX114" fmla="*/ 438632 w 652975"/>
                  <a:gd name="connsiteY114" fmla="*/ 28806 h 662481"/>
                  <a:gd name="connsiteX115" fmla="*/ 27129 w 652975"/>
                  <a:gd name="connsiteY115" fmla="*/ 444950 h 662481"/>
                  <a:gd name="connsiteX116" fmla="*/ 20665 w 652975"/>
                  <a:gd name="connsiteY116" fmla="*/ 444950 h 662481"/>
                  <a:gd name="connsiteX117" fmla="*/ 20665 w 652975"/>
                  <a:gd name="connsiteY117" fmla="*/ 438414 h 662481"/>
                  <a:gd name="connsiteX118" fmla="*/ 432168 w 652975"/>
                  <a:gd name="connsiteY118" fmla="*/ 22270 h 662481"/>
                  <a:gd name="connsiteX119" fmla="*/ 219443 w 652975"/>
                  <a:gd name="connsiteY119" fmla="*/ 19103 h 662481"/>
                  <a:gd name="connsiteX120" fmla="*/ 225907 w 652975"/>
                  <a:gd name="connsiteY120" fmla="*/ 19103 h 662481"/>
                  <a:gd name="connsiteX121" fmla="*/ 225907 w 652975"/>
                  <a:gd name="connsiteY121" fmla="*/ 25663 h 662481"/>
                  <a:gd name="connsiteX122" fmla="*/ 25541 w 652975"/>
                  <a:gd name="connsiteY122" fmla="*/ 229042 h 662481"/>
                  <a:gd name="connsiteX123" fmla="*/ 19077 w 652975"/>
                  <a:gd name="connsiteY123" fmla="*/ 229042 h 662481"/>
                  <a:gd name="connsiteX124" fmla="*/ 19077 w 652975"/>
                  <a:gd name="connsiteY124" fmla="*/ 222482 h 662481"/>
                  <a:gd name="connsiteX125" fmla="*/ 219443 w 652975"/>
                  <a:gd name="connsiteY125" fmla="*/ 19103 h 662481"/>
                  <a:gd name="connsiteX126" fmla="*/ 400433 w 652975"/>
                  <a:gd name="connsiteY126" fmla="*/ 11154 h 662481"/>
                  <a:gd name="connsiteX127" fmla="*/ 406885 w 652975"/>
                  <a:gd name="connsiteY127" fmla="*/ 11154 h 662481"/>
                  <a:gd name="connsiteX128" fmla="*/ 406885 w 652975"/>
                  <a:gd name="connsiteY128" fmla="*/ 17684 h 662481"/>
                  <a:gd name="connsiteX129" fmla="*/ 17589 w 652975"/>
                  <a:gd name="connsiteY129" fmla="*/ 411615 h 662481"/>
                  <a:gd name="connsiteX130" fmla="*/ 11137 w 652975"/>
                  <a:gd name="connsiteY130" fmla="*/ 411615 h 662481"/>
                  <a:gd name="connsiteX131" fmla="*/ 11137 w 652975"/>
                  <a:gd name="connsiteY131" fmla="*/ 405085 h 662481"/>
                  <a:gd name="connsiteX132" fmla="*/ 400433 w 652975"/>
                  <a:gd name="connsiteY132" fmla="*/ 11154 h 662481"/>
                  <a:gd name="connsiteX133" fmla="*/ 274487 w 652975"/>
                  <a:gd name="connsiteY133" fmla="*/ 6397 h 662481"/>
                  <a:gd name="connsiteX134" fmla="*/ 283066 w 652975"/>
                  <a:gd name="connsiteY134" fmla="*/ 6397 h 662481"/>
                  <a:gd name="connsiteX135" fmla="*/ 283066 w 652975"/>
                  <a:gd name="connsiteY135" fmla="*/ 12941 h 662481"/>
                  <a:gd name="connsiteX136" fmla="*/ 12803 w 652975"/>
                  <a:gd name="connsiteY136" fmla="*/ 287785 h 662481"/>
                  <a:gd name="connsiteX137" fmla="*/ 6368 w 652975"/>
                  <a:gd name="connsiteY137" fmla="*/ 287785 h 662481"/>
                  <a:gd name="connsiteX138" fmla="*/ 6368 w 652975"/>
                  <a:gd name="connsiteY138" fmla="*/ 279060 h 662481"/>
                  <a:gd name="connsiteX139" fmla="*/ 274487 w 652975"/>
                  <a:gd name="connsiteY139" fmla="*/ 6397 h 662481"/>
                  <a:gd name="connsiteX140" fmla="*/ 363884 w 652975"/>
                  <a:gd name="connsiteY140" fmla="*/ 4806 h 662481"/>
                  <a:gd name="connsiteX141" fmla="*/ 370363 w 652975"/>
                  <a:gd name="connsiteY141" fmla="*/ 4806 h 662481"/>
                  <a:gd name="connsiteX142" fmla="*/ 370363 w 652975"/>
                  <a:gd name="connsiteY142" fmla="*/ 11341 h 662481"/>
                  <a:gd name="connsiteX143" fmla="*/ 9687 w 652975"/>
                  <a:gd name="connsiteY143" fmla="*/ 375100 h 662481"/>
                  <a:gd name="connsiteX144" fmla="*/ 3207 w 652975"/>
                  <a:gd name="connsiteY144" fmla="*/ 375100 h 662481"/>
                  <a:gd name="connsiteX145" fmla="*/ 3207 w 652975"/>
                  <a:gd name="connsiteY145" fmla="*/ 368565 h 662481"/>
                  <a:gd name="connsiteX146" fmla="*/ 363884 w 652975"/>
                  <a:gd name="connsiteY146" fmla="*/ 4806 h 662481"/>
                  <a:gd name="connsiteX147" fmla="*/ 322631 w 652975"/>
                  <a:gd name="connsiteY147" fmla="*/ 1638 h 662481"/>
                  <a:gd name="connsiteX148" fmla="*/ 329095 w 652975"/>
                  <a:gd name="connsiteY148" fmla="*/ 1638 h 662481"/>
                  <a:gd name="connsiteX149" fmla="*/ 329095 w 652975"/>
                  <a:gd name="connsiteY149" fmla="*/ 8194 h 662481"/>
                  <a:gd name="connsiteX150" fmla="*/ 8079 w 652975"/>
                  <a:gd name="connsiteY150" fmla="*/ 333818 h 662481"/>
                  <a:gd name="connsiteX151" fmla="*/ 1615 w 652975"/>
                  <a:gd name="connsiteY151" fmla="*/ 333818 h 662481"/>
                  <a:gd name="connsiteX152" fmla="*/ 1615 w 652975"/>
                  <a:gd name="connsiteY152" fmla="*/ 327262 h 662481"/>
                  <a:gd name="connsiteX153" fmla="*/ 322631 w 652975"/>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5" h="662481">
                    <a:moveTo>
                      <a:pt x="578303" y="527099"/>
                    </a:moveTo>
                    <a:cubicBezTo>
                      <a:pt x="578303" y="524916"/>
                      <a:pt x="582570" y="524916"/>
                      <a:pt x="584703" y="527099"/>
                    </a:cubicBezTo>
                    <a:cubicBezTo>
                      <a:pt x="586836" y="529282"/>
                      <a:pt x="586836" y="531465"/>
                      <a:pt x="584703" y="533647"/>
                    </a:cubicBezTo>
                    <a:cubicBezTo>
                      <a:pt x="584703" y="533647"/>
                      <a:pt x="584703" y="533647"/>
                      <a:pt x="527106" y="592583"/>
                    </a:cubicBezTo>
                    <a:cubicBezTo>
                      <a:pt x="524973" y="594766"/>
                      <a:pt x="522840" y="594766"/>
                      <a:pt x="520706" y="592583"/>
                    </a:cubicBezTo>
                    <a:cubicBezTo>
                      <a:pt x="518573" y="590401"/>
                      <a:pt x="518573" y="586035"/>
                      <a:pt x="520706" y="586035"/>
                    </a:cubicBezTo>
                    <a:cubicBezTo>
                      <a:pt x="520706" y="586035"/>
                      <a:pt x="520706" y="586035"/>
                      <a:pt x="578303" y="527099"/>
                    </a:cubicBezTo>
                    <a:close/>
                    <a:moveTo>
                      <a:pt x="627495" y="433440"/>
                    </a:moveTo>
                    <a:cubicBezTo>
                      <a:pt x="629633" y="431253"/>
                      <a:pt x="631772" y="431253"/>
                      <a:pt x="633910" y="433440"/>
                    </a:cubicBezTo>
                    <a:cubicBezTo>
                      <a:pt x="636048" y="435627"/>
                      <a:pt x="636048" y="437814"/>
                      <a:pt x="633910" y="440001"/>
                    </a:cubicBezTo>
                    <a:cubicBezTo>
                      <a:pt x="633910" y="440001"/>
                      <a:pt x="633910" y="440001"/>
                      <a:pt x="435051" y="643379"/>
                    </a:cubicBezTo>
                    <a:cubicBezTo>
                      <a:pt x="432913" y="645566"/>
                      <a:pt x="430775" y="645566"/>
                      <a:pt x="428637" y="643379"/>
                    </a:cubicBezTo>
                    <a:cubicBezTo>
                      <a:pt x="426498" y="641192"/>
                      <a:pt x="426498" y="639006"/>
                      <a:pt x="428637" y="636819"/>
                    </a:cubicBezTo>
                    <a:cubicBezTo>
                      <a:pt x="428637" y="636819"/>
                      <a:pt x="428637" y="636819"/>
                      <a:pt x="627495" y="433440"/>
                    </a:cubicBezTo>
                    <a:close/>
                    <a:moveTo>
                      <a:pt x="641708" y="374697"/>
                    </a:moveTo>
                    <a:cubicBezTo>
                      <a:pt x="643865" y="372516"/>
                      <a:pt x="648179" y="372516"/>
                      <a:pt x="648179" y="374697"/>
                    </a:cubicBezTo>
                    <a:cubicBezTo>
                      <a:pt x="650336" y="376879"/>
                      <a:pt x="650336" y="381241"/>
                      <a:pt x="648179" y="383423"/>
                    </a:cubicBezTo>
                    <a:cubicBezTo>
                      <a:pt x="648179" y="383423"/>
                      <a:pt x="648179" y="383423"/>
                      <a:pt x="378547" y="656085"/>
                    </a:cubicBezTo>
                    <a:cubicBezTo>
                      <a:pt x="376389" y="658266"/>
                      <a:pt x="372075" y="658266"/>
                      <a:pt x="369918" y="656085"/>
                    </a:cubicBezTo>
                    <a:cubicBezTo>
                      <a:pt x="367761" y="656085"/>
                      <a:pt x="367761" y="651722"/>
                      <a:pt x="369918" y="649541"/>
                    </a:cubicBezTo>
                    <a:cubicBezTo>
                      <a:pt x="369918" y="649541"/>
                      <a:pt x="369918" y="649541"/>
                      <a:pt x="641708" y="374697"/>
                    </a:cubicBezTo>
                    <a:close/>
                    <a:moveTo>
                      <a:pt x="644935" y="328664"/>
                    </a:moveTo>
                    <a:cubicBezTo>
                      <a:pt x="647079" y="326478"/>
                      <a:pt x="649223" y="326478"/>
                      <a:pt x="651367" y="328664"/>
                    </a:cubicBezTo>
                    <a:cubicBezTo>
                      <a:pt x="653511" y="330849"/>
                      <a:pt x="653511" y="333034"/>
                      <a:pt x="651367" y="335220"/>
                    </a:cubicBezTo>
                    <a:cubicBezTo>
                      <a:pt x="651367" y="335220"/>
                      <a:pt x="651367" y="335220"/>
                      <a:pt x="331888" y="660843"/>
                    </a:cubicBezTo>
                    <a:cubicBezTo>
                      <a:pt x="329744" y="663028"/>
                      <a:pt x="327600" y="663028"/>
                      <a:pt x="325455" y="660843"/>
                    </a:cubicBezTo>
                    <a:cubicBezTo>
                      <a:pt x="323311" y="658657"/>
                      <a:pt x="323311" y="656472"/>
                      <a:pt x="325455" y="654287"/>
                    </a:cubicBezTo>
                    <a:cubicBezTo>
                      <a:pt x="325455" y="654287"/>
                      <a:pt x="325455" y="654287"/>
                      <a:pt x="644935" y="328664"/>
                    </a:cubicBezTo>
                    <a:close/>
                    <a:moveTo>
                      <a:pt x="643322" y="287381"/>
                    </a:moveTo>
                    <a:cubicBezTo>
                      <a:pt x="645473" y="285203"/>
                      <a:pt x="647623" y="285203"/>
                      <a:pt x="649774" y="287381"/>
                    </a:cubicBezTo>
                    <a:cubicBezTo>
                      <a:pt x="651924" y="289560"/>
                      <a:pt x="651924" y="291738"/>
                      <a:pt x="649774" y="293916"/>
                    </a:cubicBezTo>
                    <a:cubicBezTo>
                      <a:pt x="649774" y="293916"/>
                      <a:pt x="649774" y="293916"/>
                      <a:pt x="290638" y="657675"/>
                    </a:cubicBezTo>
                    <a:cubicBezTo>
                      <a:pt x="288488" y="659853"/>
                      <a:pt x="286337" y="659853"/>
                      <a:pt x="284187" y="657675"/>
                    </a:cubicBezTo>
                    <a:cubicBezTo>
                      <a:pt x="282036" y="655497"/>
                      <a:pt x="282036" y="653319"/>
                      <a:pt x="284187" y="651140"/>
                    </a:cubicBezTo>
                    <a:cubicBezTo>
                      <a:pt x="284187" y="651140"/>
                      <a:pt x="284187" y="651140"/>
                      <a:pt x="643322" y="287381"/>
                    </a:cubicBezTo>
                    <a:close/>
                    <a:moveTo>
                      <a:pt x="636970" y="250868"/>
                    </a:moveTo>
                    <a:cubicBezTo>
                      <a:pt x="639121" y="248691"/>
                      <a:pt x="641272" y="248691"/>
                      <a:pt x="643422" y="250868"/>
                    </a:cubicBezTo>
                    <a:cubicBezTo>
                      <a:pt x="645573" y="253044"/>
                      <a:pt x="645573" y="255220"/>
                      <a:pt x="643422" y="257397"/>
                    </a:cubicBezTo>
                    <a:cubicBezTo>
                      <a:pt x="643422" y="257397"/>
                      <a:pt x="643422" y="257397"/>
                      <a:pt x="254126" y="651328"/>
                    </a:cubicBezTo>
                    <a:cubicBezTo>
                      <a:pt x="251976" y="653504"/>
                      <a:pt x="249825" y="653504"/>
                      <a:pt x="247674" y="651328"/>
                    </a:cubicBezTo>
                    <a:cubicBezTo>
                      <a:pt x="245523" y="649151"/>
                      <a:pt x="245523" y="646975"/>
                      <a:pt x="247674" y="644798"/>
                    </a:cubicBezTo>
                    <a:cubicBezTo>
                      <a:pt x="247674" y="644798"/>
                      <a:pt x="247674" y="644798"/>
                      <a:pt x="636970" y="250868"/>
                    </a:cubicBezTo>
                    <a:close/>
                    <a:moveTo>
                      <a:pt x="625843" y="217532"/>
                    </a:moveTo>
                    <a:cubicBezTo>
                      <a:pt x="627998" y="215353"/>
                      <a:pt x="630152" y="215353"/>
                      <a:pt x="632307" y="217532"/>
                    </a:cubicBezTo>
                    <a:cubicBezTo>
                      <a:pt x="634461" y="219711"/>
                      <a:pt x="634461" y="221889"/>
                      <a:pt x="632307" y="224068"/>
                    </a:cubicBezTo>
                    <a:cubicBezTo>
                      <a:pt x="632307" y="224068"/>
                      <a:pt x="632307" y="224068"/>
                      <a:pt x="220804" y="640212"/>
                    </a:cubicBezTo>
                    <a:cubicBezTo>
                      <a:pt x="218650" y="642391"/>
                      <a:pt x="216495" y="642391"/>
                      <a:pt x="214341" y="640212"/>
                    </a:cubicBezTo>
                    <a:cubicBezTo>
                      <a:pt x="212186" y="638034"/>
                      <a:pt x="212186" y="635855"/>
                      <a:pt x="214341" y="633676"/>
                    </a:cubicBezTo>
                    <a:cubicBezTo>
                      <a:pt x="214341" y="633676"/>
                      <a:pt x="214341" y="633676"/>
                      <a:pt x="625843" y="217532"/>
                    </a:cubicBezTo>
                    <a:close/>
                    <a:moveTo>
                      <a:pt x="613139" y="187370"/>
                    </a:moveTo>
                    <a:cubicBezTo>
                      <a:pt x="615294" y="185191"/>
                      <a:pt x="617450" y="185191"/>
                      <a:pt x="619606" y="187370"/>
                    </a:cubicBezTo>
                    <a:cubicBezTo>
                      <a:pt x="621761" y="187370"/>
                      <a:pt x="621761" y="191728"/>
                      <a:pt x="619606" y="193907"/>
                    </a:cubicBezTo>
                    <a:cubicBezTo>
                      <a:pt x="619606" y="193907"/>
                      <a:pt x="619606" y="193907"/>
                      <a:pt x="190646" y="627512"/>
                    </a:cubicBezTo>
                    <a:cubicBezTo>
                      <a:pt x="188490" y="629691"/>
                      <a:pt x="184179" y="629691"/>
                      <a:pt x="184179" y="627512"/>
                    </a:cubicBezTo>
                    <a:cubicBezTo>
                      <a:pt x="182023" y="625333"/>
                      <a:pt x="182023" y="623154"/>
                      <a:pt x="184179" y="620975"/>
                    </a:cubicBezTo>
                    <a:cubicBezTo>
                      <a:pt x="184179" y="620975"/>
                      <a:pt x="184179" y="620975"/>
                      <a:pt x="613139" y="187370"/>
                    </a:cubicBezTo>
                    <a:close/>
                    <a:moveTo>
                      <a:pt x="598856" y="158793"/>
                    </a:moveTo>
                    <a:cubicBezTo>
                      <a:pt x="601011" y="156616"/>
                      <a:pt x="603165" y="156616"/>
                      <a:pt x="605320" y="158793"/>
                    </a:cubicBezTo>
                    <a:cubicBezTo>
                      <a:pt x="607474" y="160970"/>
                      <a:pt x="607474" y="163148"/>
                      <a:pt x="605320" y="165325"/>
                    </a:cubicBezTo>
                    <a:cubicBezTo>
                      <a:pt x="605320" y="165325"/>
                      <a:pt x="605320" y="165325"/>
                      <a:pt x="163654" y="611639"/>
                    </a:cubicBezTo>
                    <a:cubicBezTo>
                      <a:pt x="161500" y="613816"/>
                      <a:pt x="159345" y="613816"/>
                      <a:pt x="157191" y="611639"/>
                    </a:cubicBezTo>
                    <a:cubicBezTo>
                      <a:pt x="155036" y="609462"/>
                      <a:pt x="155036" y="607285"/>
                      <a:pt x="157191" y="605108"/>
                    </a:cubicBezTo>
                    <a:cubicBezTo>
                      <a:pt x="157191" y="605108"/>
                      <a:pt x="157191" y="605108"/>
                      <a:pt x="598856" y="158793"/>
                    </a:cubicBezTo>
                    <a:close/>
                    <a:moveTo>
                      <a:pt x="581376" y="133390"/>
                    </a:moveTo>
                    <a:cubicBezTo>
                      <a:pt x="583535" y="131216"/>
                      <a:pt x="585694" y="131216"/>
                      <a:pt x="587853" y="133390"/>
                    </a:cubicBezTo>
                    <a:cubicBezTo>
                      <a:pt x="590011" y="135563"/>
                      <a:pt x="590011" y="137737"/>
                      <a:pt x="587853" y="139910"/>
                    </a:cubicBezTo>
                    <a:cubicBezTo>
                      <a:pt x="587853" y="139910"/>
                      <a:pt x="587853" y="139910"/>
                      <a:pt x="136683" y="594181"/>
                    </a:cubicBezTo>
                    <a:cubicBezTo>
                      <a:pt x="134524" y="596354"/>
                      <a:pt x="132366" y="596354"/>
                      <a:pt x="130207" y="594181"/>
                    </a:cubicBezTo>
                    <a:cubicBezTo>
                      <a:pt x="128048" y="592007"/>
                      <a:pt x="128048" y="589834"/>
                      <a:pt x="130207" y="587660"/>
                    </a:cubicBezTo>
                    <a:cubicBezTo>
                      <a:pt x="130207" y="587660"/>
                      <a:pt x="130207" y="587660"/>
                      <a:pt x="581376" y="133390"/>
                    </a:cubicBezTo>
                    <a:close/>
                    <a:moveTo>
                      <a:pt x="560789" y="109579"/>
                    </a:moveTo>
                    <a:cubicBezTo>
                      <a:pt x="562935" y="107403"/>
                      <a:pt x="565081" y="107403"/>
                      <a:pt x="567227" y="109579"/>
                    </a:cubicBezTo>
                    <a:cubicBezTo>
                      <a:pt x="569373" y="111754"/>
                      <a:pt x="569373" y="113930"/>
                      <a:pt x="567227" y="116105"/>
                    </a:cubicBezTo>
                    <a:cubicBezTo>
                      <a:pt x="567227" y="116105"/>
                      <a:pt x="567227" y="116105"/>
                      <a:pt x="114408" y="575128"/>
                    </a:cubicBezTo>
                    <a:cubicBezTo>
                      <a:pt x="112261" y="577303"/>
                      <a:pt x="110115" y="577303"/>
                      <a:pt x="107969" y="575128"/>
                    </a:cubicBezTo>
                    <a:cubicBezTo>
                      <a:pt x="105823" y="572952"/>
                      <a:pt x="105823" y="570777"/>
                      <a:pt x="107969" y="568601"/>
                    </a:cubicBezTo>
                    <a:cubicBezTo>
                      <a:pt x="107969" y="568601"/>
                      <a:pt x="107969" y="568601"/>
                      <a:pt x="560789" y="109579"/>
                    </a:cubicBezTo>
                    <a:close/>
                    <a:moveTo>
                      <a:pt x="540123" y="87354"/>
                    </a:moveTo>
                    <a:cubicBezTo>
                      <a:pt x="542276" y="85178"/>
                      <a:pt x="544429" y="85178"/>
                      <a:pt x="546583" y="87354"/>
                    </a:cubicBezTo>
                    <a:cubicBezTo>
                      <a:pt x="548736" y="89529"/>
                      <a:pt x="548736" y="91705"/>
                      <a:pt x="546583" y="93880"/>
                    </a:cubicBezTo>
                    <a:cubicBezTo>
                      <a:pt x="546583" y="93880"/>
                      <a:pt x="546583" y="93880"/>
                      <a:pt x="92212" y="552903"/>
                    </a:cubicBezTo>
                    <a:cubicBezTo>
                      <a:pt x="90058" y="555078"/>
                      <a:pt x="87905" y="555078"/>
                      <a:pt x="85752" y="552903"/>
                    </a:cubicBezTo>
                    <a:cubicBezTo>
                      <a:pt x="83598" y="550727"/>
                      <a:pt x="83598" y="548552"/>
                      <a:pt x="85752" y="546376"/>
                    </a:cubicBezTo>
                    <a:cubicBezTo>
                      <a:pt x="85752" y="546376"/>
                      <a:pt x="85752" y="546376"/>
                      <a:pt x="540123" y="87354"/>
                    </a:cubicBezTo>
                    <a:close/>
                    <a:moveTo>
                      <a:pt x="127255" y="69899"/>
                    </a:moveTo>
                    <a:cubicBezTo>
                      <a:pt x="129438" y="67716"/>
                      <a:pt x="131621" y="67716"/>
                      <a:pt x="133803" y="69899"/>
                    </a:cubicBezTo>
                    <a:cubicBezTo>
                      <a:pt x="135986" y="72082"/>
                      <a:pt x="135986" y="76447"/>
                      <a:pt x="133803" y="76447"/>
                    </a:cubicBezTo>
                    <a:cubicBezTo>
                      <a:pt x="133803" y="76447"/>
                      <a:pt x="133803" y="76447"/>
                      <a:pt x="74867" y="135383"/>
                    </a:cubicBezTo>
                    <a:cubicBezTo>
                      <a:pt x="74867" y="137566"/>
                      <a:pt x="70502" y="137566"/>
                      <a:pt x="68319" y="135383"/>
                    </a:cubicBezTo>
                    <a:cubicBezTo>
                      <a:pt x="66136" y="133201"/>
                      <a:pt x="66136" y="131018"/>
                      <a:pt x="68319" y="128835"/>
                    </a:cubicBezTo>
                    <a:cubicBezTo>
                      <a:pt x="68319" y="128835"/>
                      <a:pt x="68319" y="128835"/>
                      <a:pt x="127255" y="69899"/>
                    </a:cubicBezTo>
                    <a:close/>
                    <a:moveTo>
                      <a:pt x="516318" y="68302"/>
                    </a:moveTo>
                    <a:cubicBezTo>
                      <a:pt x="518469" y="66128"/>
                      <a:pt x="520621" y="66128"/>
                      <a:pt x="522772" y="68302"/>
                    </a:cubicBezTo>
                    <a:cubicBezTo>
                      <a:pt x="524923" y="70475"/>
                      <a:pt x="524923" y="72649"/>
                      <a:pt x="522772" y="74822"/>
                    </a:cubicBezTo>
                    <a:cubicBezTo>
                      <a:pt x="522772" y="74822"/>
                      <a:pt x="522772" y="74822"/>
                      <a:pt x="73153" y="529093"/>
                    </a:cubicBezTo>
                    <a:cubicBezTo>
                      <a:pt x="71002" y="531266"/>
                      <a:pt x="68851" y="531266"/>
                      <a:pt x="66700" y="529093"/>
                    </a:cubicBezTo>
                    <a:cubicBezTo>
                      <a:pt x="64548" y="526919"/>
                      <a:pt x="64548" y="524746"/>
                      <a:pt x="66700" y="522572"/>
                    </a:cubicBezTo>
                    <a:cubicBezTo>
                      <a:pt x="66700" y="522572"/>
                      <a:pt x="66700" y="522572"/>
                      <a:pt x="516318" y="68302"/>
                    </a:cubicBezTo>
                    <a:close/>
                    <a:moveTo>
                      <a:pt x="490906" y="50843"/>
                    </a:moveTo>
                    <a:cubicBezTo>
                      <a:pt x="493061" y="48666"/>
                      <a:pt x="495215" y="48666"/>
                      <a:pt x="497370" y="50843"/>
                    </a:cubicBezTo>
                    <a:cubicBezTo>
                      <a:pt x="499524" y="53020"/>
                      <a:pt x="499524" y="55198"/>
                      <a:pt x="497370" y="57375"/>
                    </a:cubicBezTo>
                    <a:cubicBezTo>
                      <a:pt x="497370" y="57375"/>
                      <a:pt x="497370" y="57375"/>
                      <a:pt x="55704" y="503689"/>
                    </a:cubicBezTo>
                    <a:cubicBezTo>
                      <a:pt x="53550" y="505866"/>
                      <a:pt x="51395" y="505866"/>
                      <a:pt x="49241" y="503689"/>
                    </a:cubicBezTo>
                    <a:cubicBezTo>
                      <a:pt x="47086" y="501512"/>
                      <a:pt x="47086" y="499335"/>
                      <a:pt x="49241" y="497158"/>
                    </a:cubicBezTo>
                    <a:cubicBezTo>
                      <a:pt x="49241" y="497158"/>
                      <a:pt x="49241" y="497158"/>
                      <a:pt x="490906" y="50843"/>
                    </a:cubicBezTo>
                    <a:close/>
                    <a:moveTo>
                      <a:pt x="462327" y="34970"/>
                    </a:moveTo>
                    <a:cubicBezTo>
                      <a:pt x="464482" y="32791"/>
                      <a:pt x="468794" y="32791"/>
                      <a:pt x="468794" y="34970"/>
                    </a:cubicBezTo>
                    <a:cubicBezTo>
                      <a:pt x="470949" y="37149"/>
                      <a:pt x="470949" y="39328"/>
                      <a:pt x="468794" y="41507"/>
                    </a:cubicBezTo>
                    <a:cubicBezTo>
                      <a:pt x="468794" y="41507"/>
                      <a:pt x="468794" y="41507"/>
                      <a:pt x="39834" y="475112"/>
                    </a:cubicBezTo>
                    <a:cubicBezTo>
                      <a:pt x="37678" y="477291"/>
                      <a:pt x="35522" y="477291"/>
                      <a:pt x="33367" y="475112"/>
                    </a:cubicBezTo>
                    <a:cubicBezTo>
                      <a:pt x="31211" y="475112"/>
                      <a:pt x="31211" y="470754"/>
                      <a:pt x="33367" y="468575"/>
                    </a:cubicBezTo>
                    <a:cubicBezTo>
                      <a:pt x="33367" y="468575"/>
                      <a:pt x="33367" y="468575"/>
                      <a:pt x="462327" y="34970"/>
                    </a:cubicBezTo>
                    <a:close/>
                    <a:moveTo>
                      <a:pt x="432168" y="22270"/>
                    </a:moveTo>
                    <a:cubicBezTo>
                      <a:pt x="434323" y="20091"/>
                      <a:pt x="436477" y="20091"/>
                      <a:pt x="438632" y="22270"/>
                    </a:cubicBezTo>
                    <a:cubicBezTo>
                      <a:pt x="440786" y="24448"/>
                      <a:pt x="440786" y="26627"/>
                      <a:pt x="438632" y="28806"/>
                    </a:cubicBezTo>
                    <a:cubicBezTo>
                      <a:pt x="438632" y="28806"/>
                      <a:pt x="438632" y="28806"/>
                      <a:pt x="27129" y="444950"/>
                    </a:cubicBezTo>
                    <a:cubicBezTo>
                      <a:pt x="24974" y="447129"/>
                      <a:pt x="22820" y="447129"/>
                      <a:pt x="20665" y="444950"/>
                    </a:cubicBezTo>
                    <a:cubicBezTo>
                      <a:pt x="18511" y="442772"/>
                      <a:pt x="18511" y="440593"/>
                      <a:pt x="20665" y="438414"/>
                    </a:cubicBezTo>
                    <a:cubicBezTo>
                      <a:pt x="20665" y="438414"/>
                      <a:pt x="20665" y="438414"/>
                      <a:pt x="432168" y="22270"/>
                    </a:cubicBezTo>
                    <a:close/>
                    <a:moveTo>
                      <a:pt x="219443" y="19103"/>
                    </a:moveTo>
                    <a:cubicBezTo>
                      <a:pt x="221598" y="16916"/>
                      <a:pt x="223752" y="16916"/>
                      <a:pt x="225907" y="19103"/>
                    </a:cubicBezTo>
                    <a:cubicBezTo>
                      <a:pt x="228061" y="21290"/>
                      <a:pt x="228061" y="23476"/>
                      <a:pt x="225907" y="25663"/>
                    </a:cubicBezTo>
                    <a:cubicBezTo>
                      <a:pt x="225907" y="25663"/>
                      <a:pt x="225907" y="25663"/>
                      <a:pt x="25541" y="229042"/>
                    </a:cubicBezTo>
                    <a:cubicBezTo>
                      <a:pt x="23386" y="231229"/>
                      <a:pt x="21232" y="231229"/>
                      <a:pt x="19077" y="229042"/>
                    </a:cubicBezTo>
                    <a:cubicBezTo>
                      <a:pt x="16923" y="226855"/>
                      <a:pt x="16923" y="224669"/>
                      <a:pt x="19077" y="222482"/>
                    </a:cubicBezTo>
                    <a:cubicBezTo>
                      <a:pt x="19077" y="222482"/>
                      <a:pt x="19077" y="222482"/>
                      <a:pt x="219443" y="19103"/>
                    </a:cubicBezTo>
                    <a:close/>
                    <a:moveTo>
                      <a:pt x="400433" y="11154"/>
                    </a:moveTo>
                    <a:cubicBezTo>
                      <a:pt x="402584" y="8978"/>
                      <a:pt x="404735" y="8978"/>
                      <a:pt x="406885" y="11154"/>
                    </a:cubicBezTo>
                    <a:cubicBezTo>
                      <a:pt x="409036" y="13331"/>
                      <a:pt x="409036" y="15507"/>
                      <a:pt x="406885" y="17684"/>
                    </a:cubicBezTo>
                    <a:cubicBezTo>
                      <a:pt x="406885" y="17684"/>
                      <a:pt x="406885" y="17684"/>
                      <a:pt x="17589" y="411615"/>
                    </a:cubicBezTo>
                    <a:cubicBezTo>
                      <a:pt x="15438" y="413791"/>
                      <a:pt x="13287" y="413791"/>
                      <a:pt x="11137" y="411615"/>
                    </a:cubicBezTo>
                    <a:cubicBezTo>
                      <a:pt x="8986" y="409438"/>
                      <a:pt x="8986" y="407262"/>
                      <a:pt x="11137" y="405085"/>
                    </a:cubicBezTo>
                    <a:cubicBezTo>
                      <a:pt x="11137" y="405085"/>
                      <a:pt x="11137" y="405085"/>
                      <a:pt x="400433" y="11154"/>
                    </a:cubicBezTo>
                    <a:close/>
                    <a:moveTo>
                      <a:pt x="274487" y="6397"/>
                    </a:moveTo>
                    <a:cubicBezTo>
                      <a:pt x="276631" y="4216"/>
                      <a:pt x="280921" y="4216"/>
                      <a:pt x="283066" y="6397"/>
                    </a:cubicBezTo>
                    <a:cubicBezTo>
                      <a:pt x="285211" y="6397"/>
                      <a:pt x="285211" y="10760"/>
                      <a:pt x="283066" y="12941"/>
                    </a:cubicBezTo>
                    <a:cubicBezTo>
                      <a:pt x="283066" y="12941"/>
                      <a:pt x="283066" y="12941"/>
                      <a:pt x="12803" y="287785"/>
                    </a:cubicBezTo>
                    <a:cubicBezTo>
                      <a:pt x="10658" y="289966"/>
                      <a:pt x="6368" y="289966"/>
                      <a:pt x="6368" y="287785"/>
                    </a:cubicBezTo>
                    <a:cubicBezTo>
                      <a:pt x="4223" y="285604"/>
                      <a:pt x="4223" y="281241"/>
                      <a:pt x="6368" y="279060"/>
                    </a:cubicBezTo>
                    <a:cubicBezTo>
                      <a:pt x="6368" y="279060"/>
                      <a:pt x="6368" y="279060"/>
                      <a:pt x="274487" y="6397"/>
                    </a:cubicBezTo>
                    <a:close/>
                    <a:moveTo>
                      <a:pt x="363884" y="4806"/>
                    </a:moveTo>
                    <a:cubicBezTo>
                      <a:pt x="366044" y="2628"/>
                      <a:pt x="368204" y="2628"/>
                      <a:pt x="370363" y="4806"/>
                    </a:cubicBezTo>
                    <a:cubicBezTo>
                      <a:pt x="372523" y="6984"/>
                      <a:pt x="372523" y="9162"/>
                      <a:pt x="370363" y="11341"/>
                    </a:cubicBezTo>
                    <a:cubicBezTo>
                      <a:pt x="370363" y="11341"/>
                      <a:pt x="370363" y="11341"/>
                      <a:pt x="9687" y="375100"/>
                    </a:cubicBezTo>
                    <a:cubicBezTo>
                      <a:pt x="7527" y="377278"/>
                      <a:pt x="5367" y="377278"/>
                      <a:pt x="3207" y="375100"/>
                    </a:cubicBezTo>
                    <a:cubicBezTo>
                      <a:pt x="1048" y="372922"/>
                      <a:pt x="1048" y="370744"/>
                      <a:pt x="3207" y="368565"/>
                    </a:cubicBezTo>
                    <a:cubicBezTo>
                      <a:pt x="3207" y="368565"/>
                      <a:pt x="3207" y="368565"/>
                      <a:pt x="363884" y="4806"/>
                    </a:cubicBezTo>
                    <a:close/>
                    <a:moveTo>
                      <a:pt x="322631" y="1638"/>
                    </a:moveTo>
                    <a:cubicBezTo>
                      <a:pt x="324786" y="-547"/>
                      <a:pt x="326940" y="-547"/>
                      <a:pt x="329095" y="1638"/>
                    </a:cubicBezTo>
                    <a:cubicBezTo>
                      <a:pt x="331249" y="3824"/>
                      <a:pt x="331249" y="6009"/>
                      <a:pt x="329095" y="8194"/>
                    </a:cubicBezTo>
                    <a:cubicBezTo>
                      <a:pt x="329095" y="8194"/>
                      <a:pt x="329095" y="8194"/>
                      <a:pt x="8079" y="333818"/>
                    </a:cubicBezTo>
                    <a:cubicBezTo>
                      <a:pt x="5924" y="336003"/>
                      <a:pt x="3770" y="336003"/>
                      <a:pt x="1615" y="333818"/>
                    </a:cubicBezTo>
                    <a:cubicBezTo>
                      <a:pt x="-539" y="331632"/>
                      <a:pt x="-539" y="329447"/>
                      <a:pt x="1615" y="327262"/>
                    </a:cubicBezTo>
                    <a:cubicBezTo>
                      <a:pt x="1615" y="327262"/>
                      <a:pt x="1615" y="327262"/>
                      <a:pt x="322631" y="1638"/>
                    </a:cubicBezTo>
                    <a:close/>
                  </a:path>
                </a:pathLst>
              </a:custGeom>
              <a:solidFill>
                <a:srgbClr val="01BCEA"/>
              </a:solidFill>
              <a:ln>
                <a:noFill/>
              </a:ln>
            </p:spPr>
            <p:txBody>
              <a:bodyPr vert="horz" wrap="square" lIns="91440" tIns="45720" rIns="91440" bIns="45720" numCol="1" anchor="t" anchorCtr="0" compatLnSpc="1">
                <a:prstTxWarp prst="textNoShape">
                  <a:avLst/>
                </a:prstTxWarp>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pic>
            <p:nvPicPr>
              <p:cNvPr id="1760" name="Picture 1759" descr="A picture containing food&#10;&#10;Description automatically generated">
                <a:extLst>
                  <a:ext uri="{FF2B5EF4-FFF2-40B4-BE49-F238E27FC236}">
                    <a16:creationId xmlns:a16="http://schemas.microsoft.com/office/drawing/2014/main" id="{87F0B301-4C3B-5248-9636-E96D692675DD}"/>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aturation sat="0"/>
                        </a14:imgEffect>
                        <a14:imgEffect>
                          <a14:brightnessContrast bright="-6000"/>
                        </a14:imgEffect>
                      </a14:imgLayer>
                    </a14:imgProps>
                  </a:ext>
                  <a:ext uri="{28A0092B-C50C-407E-A947-70E740481C1C}">
                    <a14:useLocalDpi xmlns:a14="http://schemas.microsoft.com/office/drawing/2010/main"/>
                  </a:ext>
                </a:extLst>
              </a:blip>
              <a:srcRect/>
              <a:stretch/>
            </p:blipFill>
            <p:spPr>
              <a:xfrm>
                <a:off x="4934163" y="911098"/>
                <a:ext cx="2633203" cy="2746282"/>
              </a:xfrm>
              <a:custGeom>
                <a:avLst/>
                <a:gdLst>
                  <a:gd name="connsiteX0" fmla="*/ 1412522 w 2633203"/>
                  <a:gd name="connsiteY0" fmla="*/ 0 h 2746282"/>
                  <a:gd name="connsiteX1" fmla="*/ 1847991 w 2633203"/>
                  <a:gd name="connsiteY1" fmla="*/ 0 h 2746282"/>
                  <a:gd name="connsiteX2" fmla="*/ 1958810 w 2633203"/>
                  <a:gd name="connsiteY2" fmla="*/ 16913 h 2746282"/>
                  <a:gd name="connsiteX3" fmla="*/ 2541748 w 2633203"/>
                  <a:gd name="connsiteY3" fmla="*/ 262214 h 2746282"/>
                  <a:gd name="connsiteX4" fmla="*/ 2633203 w 2633203"/>
                  <a:gd name="connsiteY4" fmla="*/ 330603 h 2746282"/>
                  <a:gd name="connsiteX5" fmla="*/ 2633203 w 2633203"/>
                  <a:gd name="connsiteY5" fmla="*/ 2746282 h 2746282"/>
                  <a:gd name="connsiteX6" fmla="*/ 458831 w 2633203"/>
                  <a:gd name="connsiteY6" fmla="*/ 2746282 h 2746282"/>
                  <a:gd name="connsiteX7" fmla="*/ 372271 w 2633203"/>
                  <a:gd name="connsiteY7" fmla="*/ 2651043 h 2746282"/>
                  <a:gd name="connsiteX8" fmla="*/ 0 w 2633203"/>
                  <a:gd name="connsiteY8" fmla="*/ 1614048 h 2746282"/>
                  <a:gd name="connsiteX9" fmla="*/ 1301703 w 2633203"/>
                  <a:gd name="connsiteY9" fmla="*/ 16913 h 274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3203" h="2746282">
                    <a:moveTo>
                      <a:pt x="1412522" y="0"/>
                    </a:moveTo>
                    <a:lnTo>
                      <a:pt x="1847991" y="0"/>
                    </a:lnTo>
                    <a:lnTo>
                      <a:pt x="1958810" y="16913"/>
                    </a:lnTo>
                    <a:cubicBezTo>
                      <a:pt x="2171061" y="60346"/>
                      <a:pt x="2368288" y="145027"/>
                      <a:pt x="2541748" y="262214"/>
                    </a:cubicBezTo>
                    <a:lnTo>
                      <a:pt x="2633203" y="330603"/>
                    </a:lnTo>
                    <a:lnTo>
                      <a:pt x="2633203" y="2746282"/>
                    </a:lnTo>
                    <a:lnTo>
                      <a:pt x="458831" y="2746282"/>
                    </a:lnTo>
                    <a:lnTo>
                      <a:pt x="372271" y="2651043"/>
                    </a:lnTo>
                    <a:cubicBezTo>
                      <a:pt x="139706" y="2369238"/>
                      <a:pt x="0" y="2007958"/>
                      <a:pt x="0" y="1614048"/>
                    </a:cubicBezTo>
                    <a:cubicBezTo>
                      <a:pt x="0" y="826228"/>
                      <a:pt x="558822" y="168928"/>
                      <a:pt x="1301703" y="16913"/>
                    </a:cubicBezTo>
                    <a:close/>
                  </a:path>
                </a:pathLst>
              </a:custGeom>
            </p:spPr>
          </p:pic>
          <p:sp>
            <p:nvSpPr>
              <p:cNvPr id="1761" name="Arc 1760">
                <a:extLst>
                  <a:ext uri="{FF2B5EF4-FFF2-40B4-BE49-F238E27FC236}">
                    <a16:creationId xmlns:a16="http://schemas.microsoft.com/office/drawing/2014/main" id="{3EB5AA9F-9D17-0C48-A8DD-CD9AC6C33DA8}"/>
                  </a:ext>
                </a:extLst>
              </p:cNvPr>
              <p:cNvSpPr/>
              <p:nvPr/>
            </p:nvSpPr>
            <p:spPr>
              <a:xfrm>
                <a:off x="4934163" y="901573"/>
                <a:ext cx="3260511" cy="3260511"/>
              </a:xfrm>
              <a:prstGeom prst="arc">
                <a:avLst>
                  <a:gd name="adj1" fmla="val 64536"/>
                  <a:gd name="adj2" fmla="val 15721895"/>
                </a:avLst>
              </a:prstGeom>
              <a:noFill/>
              <a:ln w="25400" cap="flat" cmpd="sng" algn="ctr">
                <a:solidFill>
                  <a:srgbClr val="6BBF4E"/>
                </a:solid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0D274D"/>
                  </a:solidFill>
                  <a:effectLst/>
                  <a:uLnTx/>
                  <a:uFillTx/>
                  <a:latin typeface="Helvetica"/>
                </a:endParaRPr>
              </a:p>
            </p:txBody>
          </p:sp>
          <p:pic>
            <p:nvPicPr>
              <p:cNvPr id="1762" name="Picture 1761" descr="A picture containing food&#10;&#10;Description automatically generated">
                <a:extLst>
                  <a:ext uri="{FF2B5EF4-FFF2-40B4-BE49-F238E27FC236}">
                    <a16:creationId xmlns:a16="http://schemas.microsoft.com/office/drawing/2014/main" id="{A64BE5E2-283C-984B-B665-B554BB3A6071}"/>
                  </a:ext>
                </a:extLst>
              </p:cNvPr>
              <p:cNvPicPr>
                <a:picLocks noChangeAspect="1"/>
              </p:cNvPicPr>
              <p:nvPr/>
            </p:nvPicPr>
            <p:blipFill rotWithShape="1">
              <a:blip r:embed="rId6" cstate="screen">
                <a:duotone>
                  <a:prstClr val="black"/>
                  <a:srgbClr val="17365E">
                    <a:tint val="45000"/>
                    <a:satMod val="400000"/>
                  </a:srgbClr>
                </a:duotone>
                <a:extLst>
                  <a:ext uri="{BEBA8EAE-BF5A-486C-A8C5-ECC9F3942E4B}">
                    <a14:imgProps xmlns:a14="http://schemas.microsoft.com/office/drawing/2010/main">
                      <a14:imgLayer r:embed="rId7">
                        <a14:imgEffect>
                          <a14:brightnessContrast bright="-3000" contrast="10000"/>
                        </a14:imgEffect>
                      </a14:imgLayer>
                    </a14:imgProps>
                  </a:ext>
                  <a:ext uri="{28A0092B-C50C-407E-A947-70E740481C1C}">
                    <a14:useLocalDpi xmlns:a14="http://schemas.microsoft.com/office/drawing/2010/main"/>
                  </a:ext>
                </a:extLst>
              </a:blip>
              <a:srcRect/>
              <a:stretch/>
            </p:blipFill>
            <p:spPr>
              <a:xfrm>
                <a:off x="6310965" y="1132556"/>
                <a:ext cx="1256401" cy="1328539"/>
              </a:xfrm>
              <a:custGeom>
                <a:avLst/>
                <a:gdLst>
                  <a:gd name="connsiteX0" fmla="*/ 902154 w 1706336"/>
                  <a:gd name="connsiteY0" fmla="*/ 0 h 1804308"/>
                  <a:gd name="connsiteX1" fmla="*/ 1695423 w 1706336"/>
                  <a:gd name="connsiteY1" fmla="*/ 472134 h 1804308"/>
                  <a:gd name="connsiteX2" fmla="*/ 1706336 w 1706336"/>
                  <a:gd name="connsiteY2" fmla="*/ 494788 h 1804308"/>
                  <a:gd name="connsiteX3" fmla="*/ 1706336 w 1706336"/>
                  <a:gd name="connsiteY3" fmla="*/ 1309520 h 1804308"/>
                  <a:gd name="connsiteX4" fmla="*/ 1695423 w 1706336"/>
                  <a:gd name="connsiteY4" fmla="*/ 1332174 h 1804308"/>
                  <a:gd name="connsiteX5" fmla="*/ 902154 w 1706336"/>
                  <a:gd name="connsiteY5" fmla="*/ 1804308 h 1804308"/>
                  <a:gd name="connsiteX6" fmla="*/ 0 w 1706336"/>
                  <a:gd name="connsiteY6" fmla="*/ 902154 h 1804308"/>
                  <a:gd name="connsiteX7" fmla="*/ 902154 w 1706336"/>
                  <a:gd name="connsiteY7" fmla="*/ 0 h 180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336" h="1804308">
                    <a:moveTo>
                      <a:pt x="902154" y="0"/>
                    </a:moveTo>
                    <a:cubicBezTo>
                      <a:pt x="1244698" y="0"/>
                      <a:pt x="1542653" y="190910"/>
                      <a:pt x="1695423" y="472134"/>
                    </a:cubicBezTo>
                    <a:lnTo>
                      <a:pt x="1706336" y="494788"/>
                    </a:lnTo>
                    <a:lnTo>
                      <a:pt x="1706336" y="1309520"/>
                    </a:lnTo>
                    <a:lnTo>
                      <a:pt x="1695423" y="1332174"/>
                    </a:lnTo>
                    <a:cubicBezTo>
                      <a:pt x="1542653" y="1613399"/>
                      <a:pt x="1244698" y="1804308"/>
                      <a:pt x="902154" y="1804308"/>
                    </a:cubicBezTo>
                    <a:cubicBezTo>
                      <a:pt x="403908" y="1804308"/>
                      <a:pt x="0" y="1400400"/>
                      <a:pt x="0" y="902154"/>
                    </a:cubicBezTo>
                    <a:cubicBezTo>
                      <a:pt x="0" y="403908"/>
                      <a:pt x="403908" y="0"/>
                      <a:pt x="902154" y="0"/>
                    </a:cubicBezTo>
                    <a:close/>
                  </a:path>
                </a:pathLst>
              </a:custGeom>
            </p:spPr>
          </p:pic>
          <p:grpSp>
            <p:nvGrpSpPr>
              <p:cNvPr id="1763" name="Group 1762">
                <a:extLst>
                  <a:ext uri="{FF2B5EF4-FFF2-40B4-BE49-F238E27FC236}">
                    <a16:creationId xmlns:a16="http://schemas.microsoft.com/office/drawing/2014/main" id="{BD01E52E-CAE6-2148-A695-5801A65DD7AA}"/>
                  </a:ext>
                </a:extLst>
              </p:cNvPr>
              <p:cNvGrpSpPr/>
              <p:nvPr/>
            </p:nvGrpSpPr>
            <p:grpSpPr>
              <a:xfrm>
                <a:off x="7569722" y="3336268"/>
                <a:ext cx="147488" cy="905660"/>
                <a:chOff x="7569722" y="3336268"/>
                <a:chExt cx="147488" cy="905660"/>
              </a:xfrm>
            </p:grpSpPr>
            <p:sp>
              <p:nvSpPr>
                <p:cNvPr id="1773" name="Freeform: Shape 344">
                  <a:extLst>
                    <a:ext uri="{FF2B5EF4-FFF2-40B4-BE49-F238E27FC236}">
                      <a16:creationId xmlns:a16="http://schemas.microsoft.com/office/drawing/2014/main" id="{7D7D589B-BC40-6E4B-910C-B31755D9D520}"/>
                    </a:ext>
                  </a:extLst>
                </p:cNvPr>
                <p:cNvSpPr/>
                <p:nvPr/>
              </p:nvSpPr>
              <p:spPr>
                <a:xfrm rot="5400000">
                  <a:off x="7568628" y="4093347"/>
                  <a:ext cx="149675" cy="147488"/>
                </a:xfrm>
                <a:custGeom>
                  <a:avLst/>
                  <a:gdLst>
                    <a:gd name="connsiteX0" fmla="*/ 74838 w 149675"/>
                    <a:gd name="connsiteY0" fmla="*/ 0 h 147488"/>
                    <a:gd name="connsiteX1" fmla="*/ 149676 w 149675"/>
                    <a:gd name="connsiteY1" fmla="*/ 73744 h 147488"/>
                    <a:gd name="connsiteX2" fmla="*/ 74838 w 149675"/>
                    <a:gd name="connsiteY2" fmla="*/ 147489 h 147488"/>
                    <a:gd name="connsiteX3" fmla="*/ 0 w 149675"/>
                    <a:gd name="connsiteY3" fmla="*/ 73744 h 147488"/>
                    <a:gd name="connsiteX4" fmla="*/ 74838 w 149675"/>
                    <a:gd name="connsiteY4" fmla="*/ 0 h 147488"/>
                    <a:gd name="connsiteX5" fmla="*/ 74838 w 149675"/>
                    <a:gd name="connsiteY5" fmla="*/ 0 h 147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675" h="147488">
                      <a:moveTo>
                        <a:pt x="74838" y="0"/>
                      </a:moveTo>
                      <a:cubicBezTo>
                        <a:pt x="116156" y="0"/>
                        <a:pt x="149676" y="32997"/>
                        <a:pt x="149676" y="73744"/>
                      </a:cubicBezTo>
                      <a:cubicBezTo>
                        <a:pt x="149676" y="114492"/>
                        <a:pt x="116156" y="147489"/>
                        <a:pt x="74838" y="147489"/>
                      </a:cubicBezTo>
                      <a:cubicBezTo>
                        <a:pt x="33520" y="147489"/>
                        <a:pt x="0" y="114444"/>
                        <a:pt x="0" y="73744"/>
                      </a:cubicBezTo>
                      <a:cubicBezTo>
                        <a:pt x="0" y="33045"/>
                        <a:pt x="33520" y="0"/>
                        <a:pt x="74838" y="0"/>
                      </a:cubicBezTo>
                      <a:lnTo>
                        <a:pt x="74838" y="0"/>
                      </a:lnTo>
                      <a:close/>
                    </a:path>
                  </a:pathLst>
                </a:custGeom>
                <a:solidFill>
                  <a:srgbClr val="6ABF4A"/>
                </a:solidFill>
                <a:ln w="4749"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4" name="Freeform: Shape 345">
                  <a:extLst>
                    <a:ext uri="{FF2B5EF4-FFF2-40B4-BE49-F238E27FC236}">
                      <a16:creationId xmlns:a16="http://schemas.microsoft.com/office/drawing/2014/main" id="{66E238C4-5F9A-DE46-BD84-D1A00B5CFCEF}"/>
                    </a:ext>
                  </a:extLst>
                </p:cNvPr>
                <p:cNvSpPr/>
                <p:nvPr/>
              </p:nvSpPr>
              <p:spPr>
                <a:xfrm rot="5400000">
                  <a:off x="7210794" y="3728525"/>
                  <a:ext cx="865342" cy="80828"/>
                </a:xfrm>
                <a:custGeom>
                  <a:avLst/>
                  <a:gdLst>
                    <a:gd name="connsiteX0" fmla="*/ 40414 w 865342"/>
                    <a:gd name="connsiteY0" fmla="*/ 0 h 80828"/>
                    <a:gd name="connsiteX1" fmla="*/ 824928 w 865342"/>
                    <a:gd name="connsiteY1" fmla="*/ 0 h 80828"/>
                    <a:gd name="connsiteX2" fmla="*/ 865343 w 865342"/>
                    <a:gd name="connsiteY2" fmla="*/ 40414 h 80828"/>
                    <a:gd name="connsiteX3" fmla="*/ 824928 w 865342"/>
                    <a:gd name="connsiteY3" fmla="*/ 80829 h 80828"/>
                    <a:gd name="connsiteX4" fmla="*/ 40414 w 865342"/>
                    <a:gd name="connsiteY4" fmla="*/ 80829 h 80828"/>
                    <a:gd name="connsiteX5" fmla="*/ 0 w 865342"/>
                    <a:gd name="connsiteY5" fmla="*/ 40414 h 80828"/>
                    <a:gd name="connsiteX6" fmla="*/ 40414 w 865342"/>
                    <a:gd name="connsiteY6" fmla="*/ 0 h 80828"/>
                    <a:gd name="connsiteX7" fmla="*/ 40414 w 865342"/>
                    <a:gd name="connsiteY7" fmla="*/ 0 h 80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5342" h="80828">
                      <a:moveTo>
                        <a:pt x="40414" y="0"/>
                      </a:moveTo>
                      <a:lnTo>
                        <a:pt x="824928" y="0"/>
                      </a:lnTo>
                      <a:cubicBezTo>
                        <a:pt x="847275" y="0"/>
                        <a:pt x="865343" y="18115"/>
                        <a:pt x="865343" y="40414"/>
                      </a:cubicBezTo>
                      <a:cubicBezTo>
                        <a:pt x="865343" y="62761"/>
                        <a:pt x="847275" y="80829"/>
                        <a:pt x="824928" y="80829"/>
                      </a:cubicBezTo>
                      <a:lnTo>
                        <a:pt x="40414" y="80829"/>
                      </a:lnTo>
                      <a:cubicBezTo>
                        <a:pt x="18068" y="80829"/>
                        <a:pt x="0" y="62714"/>
                        <a:pt x="0" y="40414"/>
                      </a:cubicBezTo>
                      <a:cubicBezTo>
                        <a:pt x="0" y="18115"/>
                        <a:pt x="18115" y="0"/>
                        <a:pt x="40414" y="0"/>
                      </a:cubicBezTo>
                      <a:lnTo>
                        <a:pt x="40414" y="0"/>
                      </a:lnTo>
                      <a:close/>
                    </a:path>
                  </a:pathLst>
                </a:custGeom>
                <a:solidFill>
                  <a:srgbClr val="0BBCEA"/>
                </a:solidFill>
                <a:ln w="4749" cap="flat">
                  <a:no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5" name="Freeform: Shape 346">
                  <a:extLst>
                    <a:ext uri="{FF2B5EF4-FFF2-40B4-BE49-F238E27FC236}">
                      <a16:creationId xmlns:a16="http://schemas.microsoft.com/office/drawing/2014/main" id="{1547E357-F0DA-324A-B0E2-4FF9C566DDD5}"/>
                    </a:ext>
                  </a:extLst>
                </p:cNvPr>
                <p:cNvSpPr/>
                <p:nvPr/>
              </p:nvSpPr>
              <p:spPr>
                <a:xfrm rot="5400000">
                  <a:off x="7588787" y="4106519"/>
                  <a:ext cx="109358" cy="80829"/>
                </a:xfrm>
                <a:custGeom>
                  <a:avLst/>
                  <a:gdLst>
                    <a:gd name="connsiteX0" fmla="*/ 0 w 109358"/>
                    <a:gd name="connsiteY0" fmla="*/ 40413 h 80829"/>
                    <a:gd name="connsiteX1" fmla="*/ 5883 w 109358"/>
                    <a:gd name="connsiteY1" fmla="*/ 11721 h 80829"/>
                    <a:gd name="connsiteX2" fmla="*/ 13904 w 109358"/>
                    <a:gd name="connsiteY2" fmla="*/ 0 h 80829"/>
                    <a:gd name="connsiteX3" fmla="*/ 68943 w 109358"/>
                    <a:gd name="connsiteY3" fmla="*/ 0 h 80829"/>
                    <a:gd name="connsiteX4" fmla="*/ 109358 w 109358"/>
                    <a:gd name="connsiteY4" fmla="*/ 40414 h 80829"/>
                    <a:gd name="connsiteX5" fmla="*/ 68943 w 109358"/>
                    <a:gd name="connsiteY5" fmla="*/ 80829 h 80829"/>
                    <a:gd name="connsiteX6" fmla="*/ 13905 w 109358"/>
                    <a:gd name="connsiteY6" fmla="*/ 80829 h 80829"/>
                    <a:gd name="connsiteX7" fmla="*/ 5883 w 109358"/>
                    <a:gd name="connsiteY7" fmla="*/ 69106 h 80829"/>
                    <a:gd name="connsiteX8" fmla="*/ 0 w 109358"/>
                    <a:gd name="connsiteY8" fmla="*/ 40413 h 80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58" h="80829">
                      <a:moveTo>
                        <a:pt x="0" y="40413"/>
                      </a:moveTo>
                      <a:cubicBezTo>
                        <a:pt x="0" y="30239"/>
                        <a:pt x="2095" y="20542"/>
                        <a:pt x="5883" y="11721"/>
                      </a:cubicBezTo>
                      <a:lnTo>
                        <a:pt x="13904" y="0"/>
                      </a:lnTo>
                      <a:lnTo>
                        <a:pt x="68943" y="0"/>
                      </a:lnTo>
                      <a:cubicBezTo>
                        <a:pt x="91290" y="0"/>
                        <a:pt x="109358" y="18115"/>
                        <a:pt x="109358" y="40414"/>
                      </a:cubicBezTo>
                      <a:cubicBezTo>
                        <a:pt x="109358" y="62761"/>
                        <a:pt x="91290" y="80829"/>
                        <a:pt x="68943" y="80829"/>
                      </a:cubicBezTo>
                      <a:lnTo>
                        <a:pt x="13905" y="80829"/>
                      </a:lnTo>
                      <a:lnTo>
                        <a:pt x="5883" y="69106"/>
                      </a:lnTo>
                      <a:cubicBezTo>
                        <a:pt x="2095" y="60285"/>
                        <a:pt x="0" y="50588"/>
                        <a:pt x="0" y="40413"/>
                      </a:cubicBezTo>
                      <a:close/>
                    </a:path>
                  </a:pathLst>
                </a:custGeom>
                <a:solidFill>
                  <a:srgbClr val="01BCEA">
                    <a:lumMod val="50000"/>
                  </a:srgbClr>
                </a:solidFill>
                <a:ln w="4749" cap="flat">
                  <a:noFill/>
                  <a:prstDash val="solid"/>
                  <a:miter/>
                </a:ln>
              </p:spPr>
              <p:txBody>
                <a:bodyPr wrap="square" rtlCol="0" anchor="ctr">
                  <a:noAutofit/>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FFFFFF"/>
                    </a:solidFill>
                    <a:effectLst/>
                    <a:uLnTx/>
                    <a:uFillTx/>
                    <a:latin typeface="Arial" charset="0"/>
                    <a:ea typeface="ＭＳ Ｐゴシック" charset="0"/>
                  </a:endParaRPr>
                </a:p>
              </p:txBody>
            </p:sp>
          </p:grpSp>
          <p:sp>
            <p:nvSpPr>
              <p:cNvPr id="1764" name="Oval 1763">
                <a:extLst>
                  <a:ext uri="{FF2B5EF4-FFF2-40B4-BE49-F238E27FC236}">
                    <a16:creationId xmlns:a16="http://schemas.microsoft.com/office/drawing/2014/main" id="{4AC8A440-5255-3443-81CD-1AD9FBDE6A59}"/>
                  </a:ext>
                </a:extLst>
              </p:cNvPr>
              <p:cNvSpPr/>
              <p:nvPr/>
            </p:nvSpPr>
            <p:spPr>
              <a:xfrm>
                <a:off x="6310965" y="1132556"/>
                <a:ext cx="1328538" cy="1328538"/>
              </a:xfrm>
              <a:prstGeom prst="ellipse">
                <a:avLst/>
              </a:prstGeom>
              <a:noFill/>
              <a:ln w="25400" cap="flat" cmpd="sng" algn="ctr">
                <a:solidFill>
                  <a:srgbClr val="01BCEA"/>
                </a:solidFill>
                <a:prstDash val="solid"/>
              </a:ln>
              <a:effectLst/>
            </p:spPr>
            <p:txBody>
              <a:bodyPr rtlCol="0" anchor="t"/>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a:ln>
                    <a:noFill/>
                  </a:ln>
                  <a:solidFill>
                    <a:srgbClr val="0D274D"/>
                  </a:solidFill>
                  <a:effectLst/>
                  <a:uLnTx/>
                  <a:uFillTx/>
                  <a:latin typeface="Helvetica"/>
                </a:endParaRPr>
              </a:p>
            </p:txBody>
          </p:sp>
          <p:grpSp>
            <p:nvGrpSpPr>
              <p:cNvPr id="1765" name="Group 1764">
                <a:extLst>
                  <a:ext uri="{FF2B5EF4-FFF2-40B4-BE49-F238E27FC236}">
                    <a16:creationId xmlns:a16="http://schemas.microsoft.com/office/drawing/2014/main" id="{9283D020-A75E-D546-B78C-4AB011752863}"/>
                  </a:ext>
                </a:extLst>
              </p:cNvPr>
              <p:cNvGrpSpPr/>
              <p:nvPr/>
            </p:nvGrpSpPr>
            <p:grpSpPr>
              <a:xfrm>
                <a:off x="6543551" y="1958195"/>
                <a:ext cx="257535" cy="82554"/>
                <a:chOff x="1943827" y="4419366"/>
                <a:chExt cx="257535" cy="82554"/>
              </a:xfrm>
            </p:grpSpPr>
            <p:sp>
              <p:nvSpPr>
                <p:cNvPr id="1771" name="Freeform: Shape 342">
                  <a:extLst>
                    <a:ext uri="{FF2B5EF4-FFF2-40B4-BE49-F238E27FC236}">
                      <a16:creationId xmlns:a16="http://schemas.microsoft.com/office/drawing/2014/main" id="{06979CEC-0A24-CB48-8B70-340297F73D69}"/>
                    </a:ext>
                  </a:extLst>
                </p:cNvPr>
                <p:cNvSpPr/>
                <p:nvPr/>
              </p:nvSpPr>
              <p:spPr>
                <a:xfrm>
                  <a:off x="1949837" y="4419366"/>
                  <a:ext cx="128767" cy="14307"/>
                </a:xfrm>
                <a:custGeom>
                  <a:avLst/>
                  <a:gdLst>
                    <a:gd name="connsiteX0" fmla="*/ 122508 w 128767"/>
                    <a:gd name="connsiteY0" fmla="*/ 8048 h 14307"/>
                    <a:gd name="connsiteX1" fmla="*/ 8048 w 128767"/>
                    <a:gd name="connsiteY1" fmla="*/ 8048 h 14307"/>
                  </a:gdLst>
                  <a:ahLst/>
                  <a:cxnLst>
                    <a:cxn ang="0">
                      <a:pos x="connsiteX0" y="connsiteY0"/>
                    </a:cxn>
                    <a:cxn ang="0">
                      <a:pos x="connsiteX1" y="connsiteY1"/>
                    </a:cxn>
                  </a:cxnLst>
                  <a:rect l="l" t="t" r="r" b="b"/>
                  <a:pathLst>
                    <a:path w="128767" h="14307">
                      <a:moveTo>
                        <a:pt x="122508" y="8048"/>
                      </a:moveTo>
                      <a:lnTo>
                        <a:pt x="8048" y="8048"/>
                      </a:lnTo>
                    </a:path>
                  </a:pathLst>
                </a:custGeom>
                <a:ln w="7144" cap="flat">
                  <a:solidFill>
                    <a:srgbClr val="17365E"/>
                  </a:solid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sp>
              <p:nvSpPr>
                <p:cNvPr id="1772" name="Freeform: Shape 343">
                  <a:extLst>
                    <a:ext uri="{FF2B5EF4-FFF2-40B4-BE49-F238E27FC236}">
                      <a16:creationId xmlns:a16="http://schemas.microsoft.com/office/drawing/2014/main" id="{F48127BF-FD04-D94C-972B-11CEA63C2C39}"/>
                    </a:ext>
                  </a:extLst>
                </p:cNvPr>
                <p:cNvSpPr/>
                <p:nvPr/>
              </p:nvSpPr>
              <p:spPr>
                <a:xfrm>
                  <a:off x="1943827" y="4487613"/>
                  <a:ext cx="257535" cy="14307"/>
                </a:xfrm>
                <a:custGeom>
                  <a:avLst/>
                  <a:gdLst>
                    <a:gd name="connsiteX0" fmla="*/ 256426 w 257534"/>
                    <a:gd name="connsiteY0" fmla="*/ 8048 h 14307"/>
                    <a:gd name="connsiteX1" fmla="*/ 8048 w 257534"/>
                    <a:gd name="connsiteY1" fmla="*/ 8048 h 14307"/>
                  </a:gdLst>
                  <a:ahLst/>
                  <a:cxnLst>
                    <a:cxn ang="0">
                      <a:pos x="connsiteX0" y="connsiteY0"/>
                    </a:cxn>
                    <a:cxn ang="0">
                      <a:pos x="connsiteX1" y="connsiteY1"/>
                    </a:cxn>
                  </a:cxnLst>
                  <a:rect l="l" t="t" r="r" b="b"/>
                  <a:pathLst>
                    <a:path w="257534" h="14307">
                      <a:moveTo>
                        <a:pt x="256426" y="8048"/>
                      </a:moveTo>
                      <a:lnTo>
                        <a:pt x="8048" y="8048"/>
                      </a:lnTo>
                    </a:path>
                  </a:pathLst>
                </a:custGeom>
                <a:ln w="7144" cap="flat">
                  <a:solidFill>
                    <a:srgbClr val="17365E"/>
                  </a:solidFill>
                  <a:prstDash val="solid"/>
                  <a:miter/>
                </a:ln>
              </p:spPr>
              <p:txBody>
                <a:bodyPr rtlCol="0" anchor="ct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endParaRPr>
                </a:p>
              </p:txBody>
            </p:sp>
          </p:grpSp>
          <p:grpSp>
            <p:nvGrpSpPr>
              <p:cNvPr id="1766" name="Group 1765">
                <a:extLst>
                  <a:ext uri="{FF2B5EF4-FFF2-40B4-BE49-F238E27FC236}">
                    <a16:creationId xmlns:a16="http://schemas.microsoft.com/office/drawing/2014/main" id="{D0F79517-6870-1444-991C-FCE64CE6E33C}"/>
                  </a:ext>
                </a:extLst>
              </p:cNvPr>
              <p:cNvGrpSpPr/>
              <p:nvPr/>
            </p:nvGrpSpPr>
            <p:grpSpPr>
              <a:xfrm>
                <a:off x="6276873" y="2211611"/>
                <a:ext cx="743594" cy="66675"/>
                <a:chOff x="5317328" y="3563267"/>
                <a:chExt cx="743594" cy="66675"/>
              </a:xfrm>
            </p:grpSpPr>
            <p:cxnSp>
              <p:nvCxnSpPr>
                <p:cNvPr id="1768" name="Straight Connector 1767">
                  <a:extLst>
                    <a:ext uri="{FF2B5EF4-FFF2-40B4-BE49-F238E27FC236}">
                      <a16:creationId xmlns:a16="http://schemas.microsoft.com/office/drawing/2014/main" id="{8A6759FC-F179-114B-B81F-7DDD565816D4}"/>
                    </a:ext>
                  </a:extLst>
                </p:cNvPr>
                <p:cNvCxnSpPr/>
                <p:nvPr/>
              </p:nvCxnSpPr>
              <p:spPr>
                <a:xfrm>
                  <a:off x="5372927" y="3563267"/>
                  <a:ext cx="687995" cy="0"/>
                </a:xfrm>
                <a:prstGeom prst="line">
                  <a:avLst/>
                </a:prstGeom>
                <a:noFill/>
                <a:ln w="9525" cap="flat" cmpd="sng" algn="ctr">
                  <a:solidFill>
                    <a:srgbClr val="17365E"/>
                  </a:solidFill>
                  <a:prstDash val="solid"/>
                </a:ln>
                <a:effectLst/>
              </p:spPr>
            </p:cxnSp>
            <p:cxnSp>
              <p:nvCxnSpPr>
                <p:cNvPr id="1769" name="Straight Connector 1768">
                  <a:extLst>
                    <a:ext uri="{FF2B5EF4-FFF2-40B4-BE49-F238E27FC236}">
                      <a16:creationId xmlns:a16="http://schemas.microsoft.com/office/drawing/2014/main" id="{135EAF75-B095-9B49-8DD7-ED69BB540C24}"/>
                    </a:ext>
                  </a:extLst>
                </p:cNvPr>
                <p:cNvCxnSpPr/>
                <p:nvPr/>
              </p:nvCxnSpPr>
              <p:spPr>
                <a:xfrm>
                  <a:off x="5345127" y="3596604"/>
                  <a:ext cx="687995" cy="0"/>
                </a:xfrm>
                <a:prstGeom prst="line">
                  <a:avLst/>
                </a:prstGeom>
                <a:noFill/>
                <a:ln w="9525" cap="flat" cmpd="sng" algn="ctr">
                  <a:solidFill>
                    <a:srgbClr val="17365E"/>
                  </a:solidFill>
                  <a:prstDash val="solid"/>
                </a:ln>
                <a:effectLst/>
              </p:spPr>
            </p:cxnSp>
            <p:cxnSp>
              <p:nvCxnSpPr>
                <p:cNvPr id="1770" name="Straight Connector 1769">
                  <a:extLst>
                    <a:ext uri="{FF2B5EF4-FFF2-40B4-BE49-F238E27FC236}">
                      <a16:creationId xmlns:a16="http://schemas.microsoft.com/office/drawing/2014/main" id="{E29CCCE3-AE31-3040-9987-AB0ECB34D832}"/>
                    </a:ext>
                  </a:extLst>
                </p:cNvPr>
                <p:cNvCxnSpPr/>
                <p:nvPr/>
              </p:nvCxnSpPr>
              <p:spPr>
                <a:xfrm>
                  <a:off x="5317328" y="3629942"/>
                  <a:ext cx="687995" cy="0"/>
                </a:xfrm>
                <a:prstGeom prst="line">
                  <a:avLst/>
                </a:prstGeom>
                <a:noFill/>
                <a:ln w="9525" cap="flat" cmpd="sng" algn="ctr">
                  <a:solidFill>
                    <a:srgbClr val="17365E"/>
                  </a:solidFill>
                  <a:prstDash val="solid"/>
                </a:ln>
                <a:effectLst/>
              </p:spPr>
            </p:cxnSp>
          </p:grpSp>
          <p:sp>
            <p:nvSpPr>
              <p:cNvPr id="1767" name="Oval 1766">
                <a:extLst>
                  <a:ext uri="{FF2B5EF4-FFF2-40B4-BE49-F238E27FC236}">
                    <a16:creationId xmlns:a16="http://schemas.microsoft.com/office/drawing/2014/main" id="{215DC398-7D0C-8841-BB9A-76D5844C7EC6}"/>
                  </a:ext>
                </a:extLst>
              </p:cNvPr>
              <p:cNvSpPr/>
              <p:nvPr/>
            </p:nvSpPr>
            <p:spPr>
              <a:xfrm>
                <a:off x="6283271" y="840529"/>
                <a:ext cx="122609" cy="122609"/>
              </a:xfrm>
              <a:prstGeom prst="ellipse">
                <a:avLst/>
              </a:prstGeom>
              <a:solidFill>
                <a:srgbClr val="6BBF4E"/>
              </a:solidFill>
              <a:ln w="526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srgbClr val="FFFFFF"/>
                  </a:solidFill>
                  <a:effectLst/>
                  <a:uLnTx/>
                  <a:uFillTx/>
                  <a:ea typeface="ＭＳ Ｐゴシック" charset="0"/>
                </a:endParaRPr>
              </a:p>
            </p:txBody>
          </p:sp>
        </p:grpSp>
      </p:grpSp>
      <p:grpSp>
        <p:nvGrpSpPr>
          <p:cNvPr id="1803" name="Group 1802">
            <a:extLst>
              <a:ext uri="{FF2B5EF4-FFF2-40B4-BE49-F238E27FC236}">
                <a16:creationId xmlns:a16="http://schemas.microsoft.com/office/drawing/2014/main" id="{F30D40F3-5691-B244-A895-483A9A05D53F}"/>
              </a:ext>
            </a:extLst>
          </p:cNvPr>
          <p:cNvGrpSpPr/>
          <p:nvPr/>
        </p:nvGrpSpPr>
        <p:grpSpPr>
          <a:xfrm>
            <a:off x="3391329" y="1394704"/>
            <a:ext cx="2361339" cy="2116138"/>
            <a:chOff x="3391329" y="1394704"/>
            <a:chExt cx="2361339" cy="2116138"/>
          </a:xfrm>
        </p:grpSpPr>
        <p:sp>
          <p:nvSpPr>
            <p:cNvPr id="1804" name="Your Success...">
              <a:extLst>
                <a:ext uri="{FF2B5EF4-FFF2-40B4-BE49-F238E27FC236}">
                  <a16:creationId xmlns:a16="http://schemas.microsoft.com/office/drawing/2014/main" id="{A821BB57-E314-3047-89F6-FEFA1FD10D01}"/>
                </a:ext>
              </a:extLst>
            </p:cNvPr>
            <p:cNvSpPr txBox="1">
              <a:spLocks/>
            </p:cNvSpPr>
            <p:nvPr/>
          </p:nvSpPr>
          <p:spPr bwMode="auto">
            <a:xfrm>
              <a:off x="4029254" y="3062129"/>
              <a:ext cx="1085490" cy="448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none" lIns="0" tIns="0" rIns="0" bIns="0" numCol="1" anchor="ctr" anchorCtr="0" compatLnSpc="1">
              <a:prstTxWarp prst="textNoShape">
                <a:avLst/>
              </a:prstTxWarp>
              <a:sp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mn-lt"/>
                </a:rPr>
                <a:t>Success</a:t>
              </a:r>
              <a:endParaRPr lang="en-US" sz="1800" b="0" i="0" u="none" strike="noStrike" kern="1200" cap="none" spc="0" normalizeH="0" baseline="0" noProof="0">
                <a:ln>
                  <a:noFill/>
                </a:ln>
                <a:effectLst/>
                <a:uLnTx/>
                <a:uFillTx/>
                <a:latin typeface="+mn-lt"/>
              </a:endParaRPr>
            </a:p>
            <a:p>
              <a:pPr marL="0" marR="0" lvl="0" indent="0" algn="ctr"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mn-lt"/>
                </a:rPr>
                <a:t>accelerated</a:t>
              </a:r>
              <a:endParaRPr lang="en-US" sz="1800" b="0" i="0" u="none" strike="noStrike" kern="1200" cap="none" spc="0" normalizeH="0" baseline="0" noProof="0">
                <a:ln>
                  <a:noFill/>
                </a:ln>
                <a:effectLst/>
                <a:uLnTx/>
                <a:uFillTx/>
                <a:latin typeface="+mn-lt"/>
              </a:endParaRPr>
            </a:p>
          </p:txBody>
        </p:sp>
        <p:pic>
          <p:nvPicPr>
            <p:cNvPr id="1805" name="Picture 1804">
              <a:extLst>
                <a:ext uri="{FF2B5EF4-FFF2-40B4-BE49-F238E27FC236}">
                  <a16:creationId xmlns:a16="http://schemas.microsoft.com/office/drawing/2014/main" id="{22952A4E-E8D0-514F-8D7E-44A189A5F0A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391329" y="1394704"/>
              <a:ext cx="2361339" cy="1353483"/>
            </a:xfrm>
            <a:prstGeom prst="rect">
              <a:avLst/>
            </a:prstGeom>
          </p:spPr>
        </p:pic>
      </p:grpSp>
      <p:grpSp>
        <p:nvGrpSpPr>
          <p:cNvPr id="1806" name="Group 1805">
            <a:extLst>
              <a:ext uri="{FF2B5EF4-FFF2-40B4-BE49-F238E27FC236}">
                <a16:creationId xmlns:a16="http://schemas.microsoft.com/office/drawing/2014/main" id="{C326E2C0-F0F6-0849-BB7B-2B2A7430CF0E}"/>
              </a:ext>
            </a:extLst>
          </p:cNvPr>
          <p:cNvGrpSpPr/>
          <p:nvPr/>
        </p:nvGrpSpPr>
        <p:grpSpPr>
          <a:xfrm>
            <a:off x="-3112" y="3797067"/>
            <a:ext cx="8786366" cy="799933"/>
            <a:chOff x="-3112" y="3797067"/>
            <a:chExt cx="8786366" cy="799933"/>
          </a:xfrm>
        </p:grpSpPr>
        <p:sp>
          <p:nvSpPr>
            <p:cNvPr id="1807" name="Rectangle 1806">
              <a:extLst>
                <a:ext uri="{FF2B5EF4-FFF2-40B4-BE49-F238E27FC236}">
                  <a16:creationId xmlns:a16="http://schemas.microsoft.com/office/drawing/2014/main" id="{94F03072-8B86-6F43-B1D8-76DAE64252F8}"/>
                </a:ext>
              </a:extLst>
            </p:cNvPr>
            <p:cNvSpPr/>
            <p:nvPr/>
          </p:nvSpPr>
          <p:spPr>
            <a:xfrm>
              <a:off x="-3112" y="3891618"/>
              <a:ext cx="8345488" cy="670063"/>
            </a:xfrm>
            <a:prstGeom prst="rect">
              <a:avLst/>
            </a:prstGeom>
            <a:gradFill>
              <a:gsLst>
                <a:gs pos="0">
                  <a:srgbClr val="FFFFFF">
                    <a:lumMod val="95000"/>
                    <a:alpha val="7000"/>
                  </a:srgbClr>
                </a:gs>
                <a:gs pos="100000">
                  <a:srgbClr val="FFFFFF">
                    <a:lumMod val="95000"/>
                  </a:srgbClr>
                </a:gs>
              </a:gsLst>
              <a:lin ang="0" scaled="1"/>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1808" name="Title 1">
              <a:extLst>
                <a:ext uri="{FF2B5EF4-FFF2-40B4-BE49-F238E27FC236}">
                  <a16:creationId xmlns:a16="http://schemas.microsoft.com/office/drawing/2014/main" id="{F62D0150-B60C-A444-9752-8D5D55185040}"/>
                </a:ext>
              </a:extLst>
            </p:cNvPr>
            <p:cNvSpPr txBox="1">
              <a:spLocks/>
            </p:cNvSpPr>
            <p:nvPr/>
          </p:nvSpPr>
          <p:spPr bwMode="auto">
            <a:xfrm>
              <a:off x="785041" y="3865163"/>
              <a:ext cx="799821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bg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0" lang="en-SG" sz="2400" b="0" i="0" u="none" strike="noStrike" kern="1200" cap="none" spc="0" normalizeH="0" baseline="0" noProof="0">
                  <a:ln>
                    <a:noFill/>
                  </a:ln>
                  <a:solidFill>
                    <a:srgbClr val="0D274D"/>
                  </a:solidFill>
                  <a:effectLst/>
                  <a:uLnTx/>
                  <a:uFillTx/>
                  <a:latin typeface="+mn-lt"/>
                  <a:cs typeface="CiscoSansTT Thin" charset="0"/>
                </a:rPr>
                <a:t>…while keeping pace with business transformation</a:t>
              </a:r>
            </a:p>
          </p:txBody>
        </p:sp>
        <p:grpSp>
          <p:nvGrpSpPr>
            <p:cNvPr id="1809" name="Group 1808">
              <a:extLst>
                <a:ext uri="{FF2B5EF4-FFF2-40B4-BE49-F238E27FC236}">
                  <a16:creationId xmlns:a16="http://schemas.microsoft.com/office/drawing/2014/main" id="{94202132-3416-014B-A127-1FCC7922E83A}"/>
                </a:ext>
              </a:extLst>
            </p:cNvPr>
            <p:cNvGrpSpPr/>
            <p:nvPr/>
          </p:nvGrpSpPr>
          <p:grpSpPr>
            <a:xfrm>
              <a:off x="7825005" y="3797067"/>
              <a:ext cx="885240" cy="762434"/>
              <a:chOff x="1055533" y="1949294"/>
              <a:chExt cx="1169507" cy="1007266"/>
            </a:xfrm>
          </p:grpSpPr>
          <p:sp>
            <p:nvSpPr>
              <p:cNvPr id="1810" name="Oval 1809">
                <a:extLst>
                  <a:ext uri="{FF2B5EF4-FFF2-40B4-BE49-F238E27FC236}">
                    <a16:creationId xmlns:a16="http://schemas.microsoft.com/office/drawing/2014/main" id="{666EC06C-903E-434E-A1D2-44FB4989A108}"/>
                  </a:ext>
                </a:extLst>
              </p:cNvPr>
              <p:cNvSpPr/>
              <p:nvPr/>
            </p:nvSpPr>
            <p:spPr>
              <a:xfrm>
                <a:off x="1391920" y="2123440"/>
                <a:ext cx="833120" cy="833120"/>
              </a:xfrm>
              <a:prstGeom prst="ellipse">
                <a:avLst/>
              </a:prstGeom>
              <a:solidFill>
                <a:srgbClr val="00BCEB"/>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5073"/>
                  </a:solidFill>
                  <a:effectLst/>
                  <a:uLnTx/>
                  <a:uFillTx/>
                </a:endParaRPr>
              </a:p>
            </p:txBody>
          </p:sp>
          <p:sp>
            <p:nvSpPr>
              <p:cNvPr id="1811" name="Freeform: Shape 446">
                <a:extLst>
                  <a:ext uri="{FF2B5EF4-FFF2-40B4-BE49-F238E27FC236}">
                    <a16:creationId xmlns:a16="http://schemas.microsoft.com/office/drawing/2014/main" id="{37C527B0-B3E4-3F4C-9D5E-275A55534D1F}"/>
                  </a:ext>
                </a:extLst>
              </p:cNvPr>
              <p:cNvSpPr>
                <a:spLocks/>
              </p:cNvSpPr>
              <p:nvPr/>
            </p:nvSpPr>
            <p:spPr bwMode="auto">
              <a:xfrm>
                <a:off x="1057275" y="1965960"/>
                <a:ext cx="972812" cy="98697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812" name="Freeform: Shape 447">
                <a:extLst>
                  <a:ext uri="{FF2B5EF4-FFF2-40B4-BE49-F238E27FC236}">
                    <a16:creationId xmlns:a16="http://schemas.microsoft.com/office/drawing/2014/main" id="{B4DFC67F-F1A7-D94E-A2C3-E18028320A6D}"/>
                  </a:ext>
                </a:extLst>
              </p:cNvPr>
              <p:cNvSpPr>
                <a:spLocks/>
              </p:cNvSpPr>
              <p:nvPr/>
            </p:nvSpPr>
            <p:spPr bwMode="auto">
              <a:xfrm>
                <a:off x="1055533" y="1949294"/>
                <a:ext cx="972812" cy="986972"/>
              </a:xfrm>
              <a:custGeom>
                <a:avLst/>
                <a:gdLst>
                  <a:gd name="connsiteX0" fmla="*/ 578108 w 652976"/>
                  <a:gd name="connsiteY0" fmla="*/ 527099 h 662481"/>
                  <a:gd name="connsiteX1" fmla="*/ 584656 w 652976"/>
                  <a:gd name="connsiteY1" fmla="*/ 527099 h 662481"/>
                  <a:gd name="connsiteX2" fmla="*/ 584656 w 652976"/>
                  <a:gd name="connsiteY2" fmla="*/ 533647 h 662481"/>
                  <a:gd name="connsiteX3" fmla="*/ 525720 w 652976"/>
                  <a:gd name="connsiteY3" fmla="*/ 592583 h 662481"/>
                  <a:gd name="connsiteX4" fmla="*/ 519172 w 652976"/>
                  <a:gd name="connsiteY4" fmla="*/ 592583 h 662481"/>
                  <a:gd name="connsiteX5" fmla="*/ 519172 w 652976"/>
                  <a:gd name="connsiteY5" fmla="*/ 586035 h 662481"/>
                  <a:gd name="connsiteX6" fmla="*/ 578108 w 652976"/>
                  <a:gd name="connsiteY6" fmla="*/ 527099 h 662481"/>
                  <a:gd name="connsiteX7" fmla="*/ 627434 w 652976"/>
                  <a:gd name="connsiteY7" fmla="*/ 433440 h 662481"/>
                  <a:gd name="connsiteX8" fmla="*/ 633898 w 652976"/>
                  <a:gd name="connsiteY8" fmla="*/ 433440 h 662481"/>
                  <a:gd name="connsiteX9" fmla="*/ 633898 w 652976"/>
                  <a:gd name="connsiteY9" fmla="*/ 440001 h 662481"/>
                  <a:gd name="connsiteX10" fmla="*/ 433532 w 652976"/>
                  <a:gd name="connsiteY10" fmla="*/ 643379 h 662481"/>
                  <a:gd name="connsiteX11" fmla="*/ 427069 w 652976"/>
                  <a:gd name="connsiteY11" fmla="*/ 643379 h 662481"/>
                  <a:gd name="connsiteX12" fmla="*/ 427069 w 652976"/>
                  <a:gd name="connsiteY12" fmla="*/ 636819 h 662481"/>
                  <a:gd name="connsiteX13" fmla="*/ 627434 w 652976"/>
                  <a:gd name="connsiteY13" fmla="*/ 433440 h 662481"/>
                  <a:gd name="connsiteX14" fmla="*/ 640172 w 652976"/>
                  <a:gd name="connsiteY14" fmla="*/ 374697 h 662481"/>
                  <a:gd name="connsiteX15" fmla="*/ 646607 w 652976"/>
                  <a:gd name="connsiteY15" fmla="*/ 374697 h 662481"/>
                  <a:gd name="connsiteX16" fmla="*/ 646607 w 652976"/>
                  <a:gd name="connsiteY16" fmla="*/ 383423 h 662481"/>
                  <a:gd name="connsiteX17" fmla="*/ 378489 w 652976"/>
                  <a:gd name="connsiteY17" fmla="*/ 656085 h 662481"/>
                  <a:gd name="connsiteX18" fmla="*/ 369909 w 652976"/>
                  <a:gd name="connsiteY18" fmla="*/ 656085 h 662481"/>
                  <a:gd name="connsiteX19" fmla="*/ 369909 w 652976"/>
                  <a:gd name="connsiteY19" fmla="*/ 649541 h 662481"/>
                  <a:gd name="connsiteX20" fmla="*/ 640172 w 652976"/>
                  <a:gd name="connsiteY20" fmla="*/ 374697 h 662481"/>
                  <a:gd name="connsiteX21" fmla="*/ 644897 w 652976"/>
                  <a:gd name="connsiteY21" fmla="*/ 328664 h 662481"/>
                  <a:gd name="connsiteX22" fmla="*/ 651361 w 652976"/>
                  <a:gd name="connsiteY22" fmla="*/ 328664 h 662481"/>
                  <a:gd name="connsiteX23" fmla="*/ 651361 w 652976"/>
                  <a:gd name="connsiteY23" fmla="*/ 335220 h 662481"/>
                  <a:gd name="connsiteX24" fmla="*/ 330345 w 652976"/>
                  <a:gd name="connsiteY24" fmla="*/ 660843 h 662481"/>
                  <a:gd name="connsiteX25" fmla="*/ 323882 w 652976"/>
                  <a:gd name="connsiteY25" fmla="*/ 660843 h 662481"/>
                  <a:gd name="connsiteX26" fmla="*/ 323882 w 652976"/>
                  <a:gd name="connsiteY26" fmla="*/ 654287 h 662481"/>
                  <a:gd name="connsiteX27" fmla="*/ 644897 w 652976"/>
                  <a:gd name="connsiteY27" fmla="*/ 328664 h 662481"/>
                  <a:gd name="connsiteX28" fmla="*/ 643288 w 652976"/>
                  <a:gd name="connsiteY28" fmla="*/ 287381 h 662481"/>
                  <a:gd name="connsiteX29" fmla="*/ 649767 w 652976"/>
                  <a:gd name="connsiteY29" fmla="*/ 287381 h 662481"/>
                  <a:gd name="connsiteX30" fmla="*/ 649767 w 652976"/>
                  <a:gd name="connsiteY30" fmla="*/ 293916 h 662481"/>
                  <a:gd name="connsiteX31" fmla="*/ 289091 w 652976"/>
                  <a:gd name="connsiteY31" fmla="*/ 657675 h 662481"/>
                  <a:gd name="connsiteX32" fmla="*/ 282612 w 652976"/>
                  <a:gd name="connsiteY32" fmla="*/ 657675 h 662481"/>
                  <a:gd name="connsiteX33" fmla="*/ 282612 w 652976"/>
                  <a:gd name="connsiteY33" fmla="*/ 651140 h 662481"/>
                  <a:gd name="connsiteX34" fmla="*/ 643288 w 652976"/>
                  <a:gd name="connsiteY34" fmla="*/ 287381 h 662481"/>
                  <a:gd name="connsiteX35" fmla="*/ 635386 w 652976"/>
                  <a:gd name="connsiteY35" fmla="*/ 250868 h 662481"/>
                  <a:gd name="connsiteX36" fmla="*/ 641838 w 652976"/>
                  <a:gd name="connsiteY36" fmla="*/ 250868 h 662481"/>
                  <a:gd name="connsiteX37" fmla="*/ 641838 w 652976"/>
                  <a:gd name="connsiteY37" fmla="*/ 257397 h 662481"/>
                  <a:gd name="connsiteX38" fmla="*/ 252542 w 652976"/>
                  <a:gd name="connsiteY38" fmla="*/ 651328 h 662481"/>
                  <a:gd name="connsiteX39" fmla="*/ 246090 w 652976"/>
                  <a:gd name="connsiteY39" fmla="*/ 651328 h 662481"/>
                  <a:gd name="connsiteX40" fmla="*/ 246090 w 652976"/>
                  <a:gd name="connsiteY40" fmla="*/ 644798 h 662481"/>
                  <a:gd name="connsiteX41" fmla="*/ 635386 w 652976"/>
                  <a:gd name="connsiteY41" fmla="*/ 250868 h 662481"/>
                  <a:gd name="connsiteX42" fmla="*/ 625846 w 652976"/>
                  <a:gd name="connsiteY42" fmla="*/ 217532 h 662481"/>
                  <a:gd name="connsiteX43" fmla="*/ 632310 w 652976"/>
                  <a:gd name="connsiteY43" fmla="*/ 217532 h 662481"/>
                  <a:gd name="connsiteX44" fmla="*/ 632310 w 652976"/>
                  <a:gd name="connsiteY44" fmla="*/ 224068 h 662481"/>
                  <a:gd name="connsiteX45" fmla="*/ 220807 w 652976"/>
                  <a:gd name="connsiteY45" fmla="*/ 640212 h 662481"/>
                  <a:gd name="connsiteX46" fmla="*/ 214344 w 652976"/>
                  <a:gd name="connsiteY46" fmla="*/ 640212 h 662481"/>
                  <a:gd name="connsiteX47" fmla="*/ 214344 w 652976"/>
                  <a:gd name="connsiteY47" fmla="*/ 633676 h 662481"/>
                  <a:gd name="connsiteX48" fmla="*/ 625846 w 652976"/>
                  <a:gd name="connsiteY48" fmla="*/ 217532 h 662481"/>
                  <a:gd name="connsiteX49" fmla="*/ 613143 w 652976"/>
                  <a:gd name="connsiteY49" fmla="*/ 187370 h 662481"/>
                  <a:gd name="connsiteX50" fmla="*/ 619610 w 652976"/>
                  <a:gd name="connsiteY50" fmla="*/ 187370 h 662481"/>
                  <a:gd name="connsiteX51" fmla="*/ 619610 w 652976"/>
                  <a:gd name="connsiteY51" fmla="*/ 193907 h 662481"/>
                  <a:gd name="connsiteX52" fmla="*/ 190649 w 652976"/>
                  <a:gd name="connsiteY52" fmla="*/ 627512 h 662481"/>
                  <a:gd name="connsiteX53" fmla="*/ 184183 w 652976"/>
                  <a:gd name="connsiteY53" fmla="*/ 627512 h 662481"/>
                  <a:gd name="connsiteX54" fmla="*/ 184183 w 652976"/>
                  <a:gd name="connsiteY54" fmla="*/ 620975 h 662481"/>
                  <a:gd name="connsiteX55" fmla="*/ 613143 w 652976"/>
                  <a:gd name="connsiteY55" fmla="*/ 187370 h 662481"/>
                  <a:gd name="connsiteX56" fmla="*/ 597272 w 652976"/>
                  <a:gd name="connsiteY56" fmla="*/ 158793 h 662481"/>
                  <a:gd name="connsiteX57" fmla="*/ 603736 w 652976"/>
                  <a:gd name="connsiteY57" fmla="*/ 158793 h 662481"/>
                  <a:gd name="connsiteX58" fmla="*/ 603736 w 652976"/>
                  <a:gd name="connsiteY58" fmla="*/ 165325 h 662481"/>
                  <a:gd name="connsiteX59" fmla="*/ 162070 w 652976"/>
                  <a:gd name="connsiteY59" fmla="*/ 611639 h 662481"/>
                  <a:gd name="connsiteX60" fmla="*/ 155607 w 652976"/>
                  <a:gd name="connsiteY60" fmla="*/ 611639 h 662481"/>
                  <a:gd name="connsiteX61" fmla="*/ 155607 w 652976"/>
                  <a:gd name="connsiteY61" fmla="*/ 605108 h 662481"/>
                  <a:gd name="connsiteX62" fmla="*/ 597272 w 652976"/>
                  <a:gd name="connsiteY62" fmla="*/ 158793 h 662481"/>
                  <a:gd name="connsiteX63" fmla="*/ 579822 w 652976"/>
                  <a:gd name="connsiteY63" fmla="*/ 133390 h 662481"/>
                  <a:gd name="connsiteX64" fmla="*/ 586276 w 652976"/>
                  <a:gd name="connsiteY64" fmla="*/ 133390 h 662481"/>
                  <a:gd name="connsiteX65" fmla="*/ 586276 w 652976"/>
                  <a:gd name="connsiteY65" fmla="*/ 139910 h 662481"/>
                  <a:gd name="connsiteX66" fmla="*/ 136657 w 652976"/>
                  <a:gd name="connsiteY66" fmla="*/ 594181 h 662481"/>
                  <a:gd name="connsiteX67" fmla="*/ 130203 w 652976"/>
                  <a:gd name="connsiteY67" fmla="*/ 594181 h 662481"/>
                  <a:gd name="connsiteX68" fmla="*/ 130203 w 652976"/>
                  <a:gd name="connsiteY68" fmla="*/ 587660 h 662481"/>
                  <a:gd name="connsiteX69" fmla="*/ 579822 w 652976"/>
                  <a:gd name="connsiteY69" fmla="*/ 133390 h 662481"/>
                  <a:gd name="connsiteX70" fmla="*/ 560763 w 652976"/>
                  <a:gd name="connsiteY70" fmla="*/ 109579 h 662481"/>
                  <a:gd name="connsiteX71" fmla="*/ 567224 w 652976"/>
                  <a:gd name="connsiteY71" fmla="*/ 109579 h 662481"/>
                  <a:gd name="connsiteX72" fmla="*/ 567224 w 652976"/>
                  <a:gd name="connsiteY72" fmla="*/ 116105 h 662481"/>
                  <a:gd name="connsiteX73" fmla="*/ 112853 w 652976"/>
                  <a:gd name="connsiteY73" fmla="*/ 575128 h 662481"/>
                  <a:gd name="connsiteX74" fmla="*/ 106393 w 652976"/>
                  <a:gd name="connsiteY74" fmla="*/ 575128 h 662481"/>
                  <a:gd name="connsiteX75" fmla="*/ 106393 w 652976"/>
                  <a:gd name="connsiteY75" fmla="*/ 568601 h 662481"/>
                  <a:gd name="connsiteX76" fmla="*/ 560763 w 652976"/>
                  <a:gd name="connsiteY76" fmla="*/ 109579 h 662481"/>
                  <a:gd name="connsiteX77" fmla="*/ 538568 w 652976"/>
                  <a:gd name="connsiteY77" fmla="*/ 87354 h 662481"/>
                  <a:gd name="connsiteX78" fmla="*/ 545006 w 652976"/>
                  <a:gd name="connsiteY78" fmla="*/ 87354 h 662481"/>
                  <a:gd name="connsiteX79" fmla="*/ 545006 w 652976"/>
                  <a:gd name="connsiteY79" fmla="*/ 93880 h 662481"/>
                  <a:gd name="connsiteX80" fmla="*/ 92186 w 652976"/>
                  <a:gd name="connsiteY80" fmla="*/ 552903 h 662481"/>
                  <a:gd name="connsiteX81" fmla="*/ 85748 w 652976"/>
                  <a:gd name="connsiteY81" fmla="*/ 552903 h 662481"/>
                  <a:gd name="connsiteX82" fmla="*/ 85748 w 652976"/>
                  <a:gd name="connsiteY82" fmla="*/ 546376 h 662481"/>
                  <a:gd name="connsiteX83" fmla="*/ 538568 w 652976"/>
                  <a:gd name="connsiteY83" fmla="*/ 87354 h 662481"/>
                  <a:gd name="connsiteX84" fmla="*/ 125869 w 652976"/>
                  <a:gd name="connsiteY84" fmla="*/ 69899 h 662481"/>
                  <a:gd name="connsiteX85" fmla="*/ 132269 w 652976"/>
                  <a:gd name="connsiteY85" fmla="*/ 69899 h 662481"/>
                  <a:gd name="connsiteX86" fmla="*/ 132269 w 652976"/>
                  <a:gd name="connsiteY86" fmla="*/ 76447 h 662481"/>
                  <a:gd name="connsiteX87" fmla="*/ 74672 w 652976"/>
                  <a:gd name="connsiteY87" fmla="*/ 135383 h 662481"/>
                  <a:gd name="connsiteX88" fmla="*/ 68272 w 652976"/>
                  <a:gd name="connsiteY88" fmla="*/ 135383 h 662481"/>
                  <a:gd name="connsiteX89" fmla="*/ 68272 w 652976"/>
                  <a:gd name="connsiteY89" fmla="*/ 128835 h 662481"/>
                  <a:gd name="connsiteX90" fmla="*/ 125869 w 652976"/>
                  <a:gd name="connsiteY90" fmla="*/ 69899 h 662481"/>
                  <a:gd name="connsiteX91" fmla="*/ 516292 w 652976"/>
                  <a:gd name="connsiteY91" fmla="*/ 68302 h 662481"/>
                  <a:gd name="connsiteX92" fmla="*/ 522768 w 652976"/>
                  <a:gd name="connsiteY92" fmla="*/ 68302 h 662481"/>
                  <a:gd name="connsiteX93" fmla="*/ 522768 w 652976"/>
                  <a:gd name="connsiteY93" fmla="*/ 74822 h 662481"/>
                  <a:gd name="connsiteX94" fmla="*/ 71599 w 652976"/>
                  <a:gd name="connsiteY94" fmla="*/ 529093 h 662481"/>
                  <a:gd name="connsiteX95" fmla="*/ 65123 w 652976"/>
                  <a:gd name="connsiteY95" fmla="*/ 529093 h 662481"/>
                  <a:gd name="connsiteX96" fmla="*/ 65123 w 652976"/>
                  <a:gd name="connsiteY96" fmla="*/ 522572 h 662481"/>
                  <a:gd name="connsiteX97" fmla="*/ 516292 w 652976"/>
                  <a:gd name="connsiteY97" fmla="*/ 68302 h 662481"/>
                  <a:gd name="connsiteX98" fmla="*/ 489322 w 652976"/>
                  <a:gd name="connsiteY98" fmla="*/ 50843 h 662481"/>
                  <a:gd name="connsiteX99" fmla="*/ 495786 w 652976"/>
                  <a:gd name="connsiteY99" fmla="*/ 50843 h 662481"/>
                  <a:gd name="connsiteX100" fmla="*/ 495786 w 652976"/>
                  <a:gd name="connsiteY100" fmla="*/ 57375 h 662481"/>
                  <a:gd name="connsiteX101" fmla="*/ 54120 w 652976"/>
                  <a:gd name="connsiteY101" fmla="*/ 503689 h 662481"/>
                  <a:gd name="connsiteX102" fmla="*/ 47657 w 652976"/>
                  <a:gd name="connsiteY102" fmla="*/ 503689 h 662481"/>
                  <a:gd name="connsiteX103" fmla="*/ 47657 w 652976"/>
                  <a:gd name="connsiteY103" fmla="*/ 497158 h 662481"/>
                  <a:gd name="connsiteX104" fmla="*/ 489322 w 652976"/>
                  <a:gd name="connsiteY104" fmla="*/ 50843 h 662481"/>
                  <a:gd name="connsiteX105" fmla="*/ 462330 w 652976"/>
                  <a:gd name="connsiteY105" fmla="*/ 34970 h 662481"/>
                  <a:gd name="connsiteX106" fmla="*/ 468797 w 652976"/>
                  <a:gd name="connsiteY106" fmla="*/ 34970 h 662481"/>
                  <a:gd name="connsiteX107" fmla="*/ 468797 w 652976"/>
                  <a:gd name="connsiteY107" fmla="*/ 41507 h 662481"/>
                  <a:gd name="connsiteX108" fmla="*/ 39836 w 652976"/>
                  <a:gd name="connsiteY108" fmla="*/ 475112 h 662481"/>
                  <a:gd name="connsiteX109" fmla="*/ 33370 w 652976"/>
                  <a:gd name="connsiteY109" fmla="*/ 475112 h 662481"/>
                  <a:gd name="connsiteX110" fmla="*/ 33370 w 652976"/>
                  <a:gd name="connsiteY110" fmla="*/ 468575 h 662481"/>
                  <a:gd name="connsiteX111" fmla="*/ 462330 w 652976"/>
                  <a:gd name="connsiteY111" fmla="*/ 34970 h 662481"/>
                  <a:gd name="connsiteX112" fmla="*/ 432171 w 652976"/>
                  <a:gd name="connsiteY112" fmla="*/ 22270 h 662481"/>
                  <a:gd name="connsiteX113" fmla="*/ 438635 w 652976"/>
                  <a:gd name="connsiteY113" fmla="*/ 22270 h 662481"/>
                  <a:gd name="connsiteX114" fmla="*/ 438635 w 652976"/>
                  <a:gd name="connsiteY114" fmla="*/ 28806 h 662481"/>
                  <a:gd name="connsiteX115" fmla="*/ 27132 w 652976"/>
                  <a:gd name="connsiteY115" fmla="*/ 444950 h 662481"/>
                  <a:gd name="connsiteX116" fmla="*/ 20668 w 652976"/>
                  <a:gd name="connsiteY116" fmla="*/ 444950 h 662481"/>
                  <a:gd name="connsiteX117" fmla="*/ 20668 w 652976"/>
                  <a:gd name="connsiteY117" fmla="*/ 438414 h 662481"/>
                  <a:gd name="connsiteX118" fmla="*/ 432171 w 652976"/>
                  <a:gd name="connsiteY118" fmla="*/ 22270 h 662481"/>
                  <a:gd name="connsiteX119" fmla="*/ 217859 w 652976"/>
                  <a:gd name="connsiteY119" fmla="*/ 19103 h 662481"/>
                  <a:gd name="connsiteX120" fmla="*/ 224323 w 652976"/>
                  <a:gd name="connsiteY120" fmla="*/ 19103 h 662481"/>
                  <a:gd name="connsiteX121" fmla="*/ 224323 w 652976"/>
                  <a:gd name="connsiteY121" fmla="*/ 25663 h 662481"/>
                  <a:gd name="connsiteX122" fmla="*/ 23957 w 652976"/>
                  <a:gd name="connsiteY122" fmla="*/ 229042 h 662481"/>
                  <a:gd name="connsiteX123" fmla="*/ 17493 w 652976"/>
                  <a:gd name="connsiteY123" fmla="*/ 229042 h 662481"/>
                  <a:gd name="connsiteX124" fmla="*/ 17493 w 652976"/>
                  <a:gd name="connsiteY124" fmla="*/ 222482 h 662481"/>
                  <a:gd name="connsiteX125" fmla="*/ 217859 w 652976"/>
                  <a:gd name="connsiteY125" fmla="*/ 19103 h 662481"/>
                  <a:gd name="connsiteX126" fmla="*/ 398849 w 652976"/>
                  <a:gd name="connsiteY126" fmla="*/ 11154 h 662481"/>
                  <a:gd name="connsiteX127" fmla="*/ 405301 w 652976"/>
                  <a:gd name="connsiteY127" fmla="*/ 11154 h 662481"/>
                  <a:gd name="connsiteX128" fmla="*/ 405301 w 652976"/>
                  <a:gd name="connsiteY128" fmla="*/ 17684 h 662481"/>
                  <a:gd name="connsiteX129" fmla="*/ 16005 w 652976"/>
                  <a:gd name="connsiteY129" fmla="*/ 411615 h 662481"/>
                  <a:gd name="connsiteX130" fmla="*/ 9553 w 652976"/>
                  <a:gd name="connsiteY130" fmla="*/ 411615 h 662481"/>
                  <a:gd name="connsiteX131" fmla="*/ 9553 w 652976"/>
                  <a:gd name="connsiteY131" fmla="*/ 405085 h 662481"/>
                  <a:gd name="connsiteX132" fmla="*/ 398849 w 652976"/>
                  <a:gd name="connsiteY132" fmla="*/ 11154 h 662481"/>
                  <a:gd name="connsiteX133" fmla="*/ 274429 w 652976"/>
                  <a:gd name="connsiteY133" fmla="*/ 6397 h 662481"/>
                  <a:gd name="connsiteX134" fmla="*/ 283057 w 652976"/>
                  <a:gd name="connsiteY134" fmla="*/ 6397 h 662481"/>
                  <a:gd name="connsiteX135" fmla="*/ 283057 w 652976"/>
                  <a:gd name="connsiteY135" fmla="*/ 12941 h 662481"/>
                  <a:gd name="connsiteX136" fmla="*/ 11267 w 652976"/>
                  <a:gd name="connsiteY136" fmla="*/ 287785 h 662481"/>
                  <a:gd name="connsiteX137" fmla="*/ 4796 w 652976"/>
                  <a:gd name="connsiteY137" fmla="*/ 287785 h 662481"/>
                  <a:gd name="connsiteX138" fmla="*/ 4796 w 652976"/>
                  <a:gd name="connsiteY138" fmla="*/ 279060 h 662481"/>
                  <a:gd name="connsiteX139" fmla="*/ 274429 w 652976"/>
                  <a:gd name="connsiteY139" fmla="*/ 6397 h 662481"/>
                  <a:gd name="connsiteX140" fmla="*/ 362338 w 652976"/>
                  <a:gd name="connsiteY140" fmla="*/ 4806 h 662481"/>
                  <a:gd name="connsiteX141" fmla="*/ 368790 w 652976"/>
                  <a:gd name="connsiteY141" fmla="*/ 4806 h 662481"/>
                  <a:gd name="connsiteX142" fmla="*/ 368790 w 652976"/>
                  <a:gd name="connsiteY142" fmla="*/ 11341 h 662481"/>
                  <a:gd name="connsiteX143" fmla="*/ 9654 w 652976"/>
                  <a:gd name="connsiteY143" fmla="*/ 375100 h 662481"/>
                  <a:gd name="connsiteX144" fmla="*/ 3202 w 652976"/>
                  <a:gd name="connsiteY144" fmla="*/ 375100 h 662481"/>
                  <a:gd name="connsiteX145" fmla="*/ 3202 w 652976"/>
                  <a:gd name="connsiteY145" fmla="*/ 368565 h 662481"/>
                  <a:gd name="connsiteX146" fmla="*/ 362338 w 652976"/>
                  <a:gd name="connsiteY146" fmla="*/ 4806 h 662481"/>
                  <a:gd name="connsiteX147" fmla="*/ 321088 w 652976"/>
                  <a:gd name="connsiteY147" fmla="*/ 1638 h 662481"/>
                  <a:gd name="connsiteX148" fmla="*/ 327520 w 652976"/>
                  <a:gd name="connsiteY148" fmla="*/ 1638 h 662481"/>
                  <a:gd name="connsiteX149" fmla="*/ 327520 w 652976"/>
                  <a:gd name="connsiteY149" fmla="*/ 8194 h 662481"/>
                  <a:gd name="connsiteX150" fmla="*/ 8040 w 652976"/>
                  <a:gd name="connsiteY150" fmla="*/ 333818 h 662481"/>
                  <a:gd name="connsiteX151" fmla="*/ 1608 w 652976"/>
                  <a:gd name="connsiteY151" fmla="*/ 333818 h 662481"/>
                  <a:gd name="connsiteX152" fmla="*/ 1608 w 652976"/>
                  <a:gd name="connsiteY152" fmla="*/ 327262 h 662481"/>
                  <a:gd name="connsiteX153" fmla="*/ 321088 w 652976"/>
                  <a:gd name="connsiteY153" fmla="*/ 1638 h 662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52976" h="662481">
                    <a:moveTo>
                      <a:pt x="578108" y="527099"/>
                    </a:moveTo>
                    <a:cubicBezTo>
                      <a:pt x="578108" y="524916"/>
                      <a:pt x="582474" y="524916"/>
                      <a:pt x="584656" y="527099"/>
                    </a:cubicBezTo>
                    <a:cubicBezTo>
                      <a:pt x="586839" y="529282"/>
                      <a:pt x="586839" y="531465"/>
                      <a:pt x="584656" y="533647"/>
                    </a:cubicBezTo>
                    <a:cubicBezTo>
                      <a:pt x="584656" y="533647"/>
                      <a:pt x="584656" y="533647"/>
                      <a:pt x="525720" y="592583"/>
                    </a:cubicBezTo>
                    <a:cubicBezTo>
                      <a:pt x="523538" y="594766"/>
                      <a:pt x="521355" y="594766"/>
                      <a:pt x="519172" y="592583"/>
                    </a:cubicBezTo>
                    <a:cubicBezTo>
                      <a:pt x="516989" y="590401"/>
                      <a:pt x="516989" y="586035"/>
                      <a:pt x="519172" y="586035"/>
                    </a:cubicBezTo>
                    <a:cubicBezTo>
                      <a:pt x="519172" y="586035"/>
                      <a:pt x="519172" y="586035"/>
                      <a:pt x="578108" y="527099"/>
                    </a:cubicBezTo>
                    <a:close/>
                    <a:moveTo>
                      <a:pt x="627434" y="433440"/>
                    </a:moveTo>
                    <a:cubicBezTo>
                      <a:pt x="629589" y="431253"/>
                      <a:pt x="631743" y="431253"/>
                      <a:pt x="633898" y="433440"/>
                    </a:cubicBezTo>
                    <a:cubicBezTo>
                      <a:pt x="636052" y="435627"/>
                      <a:pt x="636052" y="437814"/>
                      <a:pt x="633898" y="440001"/>
                    </a:cubicBezTo>
                    <a:cubicBezTo>
                      <a:pt x="633898" y="440001"/>
                      <a:pt x="633898" y="440001"/>
                      <a:pt x="433532" y="643379"/>
                    </a:cubicBezTo>
                    <a:cubicBezTo>
                      <a:pt x="431378" y="645566"/>
                      <a:pt x="429223" y="645566"/>
                      <a:pt x="427069" y="643379"/>
                    </a:cubicBezTo>
                    <a:cubicBezTo>
                      <a:pt x="424914" y="641192"/>
                      <a:pt x="424914" y="639006"/>
                      <a:pt x="427069" y="636819"/>
                    </a:cubicBezTo>
                    <a:cubicBezTo>
                      <a:pt x="427069" y="636819"/>
                      <a:pt x="427069" y="636819"/>
                      <a:pt x="627434" y="433440"/>
                    </a:cubicBezTo>
                    <a:close/>
                    <a:moveTo>
                      <a:pt x="640172" y="374697"/>
                    </a:moveTo>
                    <a:cubicBezTo>
                      <a:pt x="642317" y="372516"/>
                      <a:pt x="646607" y="372516"/>
                      <a:pt x="646607" y="374697"/>
                    </a:cubicBezTo>
                    <a:cubicBezTo>
                      <a:pt x="648752" y="376879"/>
                      <a:pt x="648752" y="381241"/>
                      <a:pt x="646607" y="383423"/>
                    </a:cubicBezTo>
                    <a:cubicBezTo>
                      <a:pt x="646607" y="383423"/>
                      <a:pt x="646607" y="383423"/>
                      <a:pt x="378489" y="656085"/>
                    </a:cubicBezTo>
                    <a:cubicBezTo>
                      <a:pt x="376344" y="658266"/>
                      <a:pt x="372054" y="658266"/>
                      <a:pt x="369909" y="656085"/>
                    </a:cubicBezTo>
                    <a:cubicBezTo>
                      <a:pt x="367764" y="656085"/>
                      <a:pt x="367764" y="651722"/>
                      <a:pt x="369909" y="649541"/>
                    </a:cubicBezTo>
                    <a:cubicBezTo>
                      <a:pt x="369909" y="649541"/>
                      <a:pt x="369909" y="649541"/>
                      <a:pt x="640172" y="374697"/>
                    </a:cubicBezTo>
                    <a:close/>
                    <a:moveTo>
                      <a:pt x="644897" y="328664"/>
                    </a:moveTo>
                    <a:cubicBezTo>
                      <a:pt x="647052" y="326478"/>
                      <a:pt x="649206" y="326478"/>
                      <a:pt x="651361" y="328664"/>
                    </a:cubicBezTo>
                    <a:cubicBezTo>
                      <a:pt x="653515" y="330849"/>
                      <a:pt x="653515" y="333034"/>
                      <a:pt x="651361" y="335220"/>
                    </a:cubicBezTo>
                    <a:cubicBezTo>
                      <a:pt x="651361" y="335220"/>
                      <a:pt x="651361" y="335220"/>
                      <a:pt x="330345" y="660843"/>
                    </a:cubicBezTo>
                    <a:cubicBezTo>
                      <a:pt x="328191" y="663028"/>
                      <a:pt x="326036" y="663028"/>
                      <a:pt x="323882" y="660843"/>
                    </a:cubicBezTo>
                    <a:cubicBezTo>
                      <a:pt x="321727" y="658657"/>
                      <a:pt x="321727" y="656472"/>
                      <a:pt x="323882" y="654287"/>
                    </a:cubicBezTo>
                    <a:cubicBezTo>
                      <a:pt x="323882" y="654287"/>
                      <a:pt x="323882" y="654287"/>
                      <a:pt x="644897" y="328664"/>
                    </a:cubicBezTo>
                    <a:close/>
                    <a:moveTo>
                      <a:pt x="643288" y="287381"/>
                    </a:moveTo>
                    <a:cubicBezTo>
                      <a:pt x="645448" y="285203"/>
                      <a:pt x="647608" y="285203"/>
                      <a:pt x="649767" y="287381"/>
                    </a:cubicBezTo>
                    <a:cubicBezTo>
                      <a:pt x="651927" y="289560"/>
                      <a:pt x="651927" y="291738"/>
                      <a:pt x="649767" y="293916"/>
                    </a:cubicBezTo>
                    <a:cubicBezTo>
                      <a:pt x="649767" y="293916"/>
                      <a:pt x="649767" y="293916"/>
                      <a:pt x="289091" y="657675"/>
                    </a:cubicBezTo>
                    <a:cubicBezTo>
                      <a:pt x="286931" y="659853"/>
                      <a:pt x="284772" y="659853"/>
                      <a:pt x="282612" y="657675"/>
                    </a:cubicBezTo>
                    <a:cubicBezTo>
                      <a:pt x="280452" y="655497"/>
                      <a:pt x="280452" y="653319"/>
                      <a:pt x="282612" y="651140"/>
                    </a:cubicBezTo>
                    <a:cubicBezTo>
                      <a:pt x="282612" y="651140"/>
                      <a:pt x="282612" y="651140"/>
                      <a:pt x="643288" y="287381"/>
                    </a:cubicBezTo>
                    <a:close/>
                    <a:moveTo>
                      <a:pt x="635386" y="250868"/>
                    </a:moveTo>
                    <a:cubicBezTo>
                      <a:pt x="637537" y="248691"/>
                      <a:pt x="639688" y="248691"/>
                      <a:pt x="641838" y="250868"/>
                    </a:cubicBezTo>
                    <a:cubicBezTo>
                      <a:pt x="643989" y="253044"/>
                      <a:pt x="643989" y="255220"/>
                      <a:pt x="641838" y="257397"/>
                    </a:cubicBezTo>
                    <a:cubicBezTo>
                      <a:pt x="641838" y="257397"/>
                      <a:pt x="641838" y="257397"/>
                      <a:pt x="252542" y="651328"/>
                    </a:cubicBezTo>
                    <a:cubicBezTo>
                      <a:pt x="250392" y="653504"/>
                      <a:pt x="248241" y="653504"/>
                      <a:pt x="246090" y="651328"/>
                    </a:cubicBezTo>
                    <a:cubicBezTo>
                      <a:pt x="243939" y="649151"/>
                      <a:pt x="243939" y="646975"/>
                      <a:pt x="246090" y="644798"/>
                    </a:cubicBezTo>
                    <a:cubicBezTo>
                      <a:pt x="246090" y="644798"/>
                      <a:pt x="246090" y="644798"/>
                      <a:pt x="635386" y="250868"/>
                    </a:cubicBezTo>
                    <a:close/>
                    <a:moveTo>
                      <a:pt x="625846" y="217532"/>
                    </a:moveTo>
                    <a:cubicBezTo>
                      <a:pt x="628001" y="215353"/>
                      <a:pt x="630155" y="215353"/>
                      <a:pt x="632310" y="217532"/>
                    </a:cubicBezTo>
                    <a:cubicBezTo>
                      <a:pt x="634464" y="219711"/>
                      <a:pt x="634464" y="221889"/>
                      <a:pt x="632310" y="224068"/>
                    </a:cubicBezTo>
                    <a:cubicBezTo>
                      <a:pt x="632310" y="224068"/>
                      <a:pt x="632310" y="224068"/>
                      <a:pt x="220807" y="640212"/>
                    </a:cubicBezTo>
                    <a:cubicBezTo>
                      <a:pt x="218653" y="642391"/>
                      <a:pt x="216498" y="642391"/>
                      <a:pt x="214344" y="640212"/>
                    </a:cubicBezTo>
                    <a:cubicBezTo>
                      <a:pt x="212189" y="638034"/>
                      <a:pt x="212189" y="635855"/>
                      <a:pt x="214344" y="633676"/>
                    </a:cubicBezTo>
                    <a:cubicBezTo>
                      <a:pt x="214344" y="633676"/>
                      <a:pt x="214344" y="633676"/>
                      <a:pt x="625846" y="217532"/>
                    </a:cubicBezTo>
                    <a:close/>
                    <a:moveTo>
                      <a:pt x="613143" y="187370"/>
                    </a:moveTo>
                    <a:cubicBezTo>
                      <a:pt x="615298" y="185191"/>
                      <a:pt x="617454" y="185191"/>
                      <a:pt x="619610" y="187370"/>
                    </a:cubicBezTo>
                    <a:cubicBezTo>
                      <a:pt x="621765" y="187370"/>
                      <a:pt x="621765" y="191728"/>
                      <a:pt x="619610" y="193907"/>
                    </a:cubicBezTo>
                    <a:cubicBezTo>
                      <a:pt x="619610" y="193907"/>
                      <a:pt x="619610" y="193907"/>
                      <a:pt x="190649" y="627512"/>
                    </a:cubicBezTo>
                    <a:cubicBezTo>
                      <a:pt x="188494" y="629691"/>
                      <a:pt x="184183" y="629691"/>
                      <a:pt x="184183" y="627512"/>
                    </a:cubicBezTo>
                    <a:cubicBezTo>
                      <a:pt x="182027" y="625333"/>
                      <a:pt x="182027" y="623154"/>
                      <a:pt x="184183" y="620975"/>
                    </a:cubicBezTo>
                    <a:cubicBezTo>
                      <a:pt x="184183" y="620975"/>
                      <a:pt x="184183" y="620975"/>
                      <a:pt x="613143" y="187370"/>
                    </a:cubicBezTo>
                    <a:close/>
                    <a:moveTo>
                      <a:pt x="597272" y="158793"/>
                    </a:moveTo>
                    <a:cubicBezTo>
                      <a:pt x="599427" y="156616"/>
                      <a:pt x="601581" y="156616"/>
                      <a:pt x="603736" y="158793"/>
                    </a:cubicBezTo>
                    <a:cubicBezTo>
                      <a:pt x="605890" y="160970"/>
                      <a:pt x="605890" y="163148"/>
                      <a:pt x="603736" y="165325"/>
                    </a:cubicBezTo>
                    <a:cubicBezTo>
                      <a:pt x="603736" y="165325"/>
                      <a:pt x="603736" y="165325"/>
                      <a:pt x="162070" y="611639"/>
                    </a:cubicBezTo>
                    <a:cubicBezTo>
                      <a:pt x="159916" y="613816"/>
                      <a:pt x="157761" y="613816"/>
                      <a:pt x="155607" y="611639"/>
                    </a:cubicBezTo>
                    <a:cubicBezTo>
                      <a:pt x="153452" y="609462"/>
                      <a:pt x="153452" y="607285"/>
                      <a:pt x="155607" y="605108"/>
                    </a:cubicBezTo>
                    <a:cubicBezTo>
                      <a:pt x="155607" y="605108"/>
                      <a:pt x="155607" y="605108"/>
                      <a:pt x="597272" y="158793"/>
                    </a:cubicBezTo>
                    <a:close/>
                    <a:moveTo>
                      <a:pt x="579822" y="133390"/>
                    </a:moveTo>
                    <a:cubicBezTo>
                      <a:pt x="581973" y="131216"/>
                      <a:pt x="584125" y="131216"/>
                      <a:pt x="586276" y="133390"/>
                    </a:cubicBezTo>
                    <a:cubicBezTo>
                      <a:pt x="588427" y="135563"/>
                      <a:pt x="588427" y="137737"/>
                      <a:pt x="586276" y="139910"/>
                    </a:cubicBezTo>
                    <a:cubicBezTo>
                      <a:pt x="586276" y="139910"/>
                      <a:pt x="586276" y="139910"/>
                      <a:pt x="136657" y="594181"/>
                    </a:cubicBezTo>
                    <a:cubicBezTo>
                      <a:pt x="134506" y="596354"/>
                      <a:pt x="132355" y="596354"/>
                      <a:pt x="130203" y="594181"/>
                    </a:cubicBezTo>
                    <a:cubicBezTo>
                      <a:pt x="128052" y="592007"/>
                      <a:pt x="128052" y="589834"/>
                      <a:pt x="130203" y="587660"/>
                    </a:cubicBezTo>
                    <a:cubicBezTo>
                      <a:pt x="130203" y="587660"/>
                      <a:pt x="130203" y="587660"/>
                      <a:pt x="579822" y="133390"/>
                    </a:cubicBezTo>
                    <a:close/>
                    <a:moveTo>
                      <a:pt x="560763" y="109579"/>
                    </a:moveTo>
                    <a:cubicBezTo>
                      <a:pt x="562917" y="107403"/>
                      <a:pt x="565070" y="107403"/>
                      <a:pt x="567224" y="109579"/>
                    </a:cubicBezTo>
                    <a:cubicBezTo>
                      <a:pt x="569377" y="111754"/>
                      <a:pt x="569377" y="113930"/>
                      <a:pt x="567224" y="116105"/>
                    </a:cubicBezTo>
                    <a:cubicBezTo>
                      <a:pt x="567224" y="116105"/>
                      <a:pt x="567224" y="116105"/>
                      <a:pt x="112853" y="575128"/>
                    </a:cubicBezTo>
                    <a:cubicBezTo>
                      <a:pt x="110699" y="577303"/>
                      <a:pt x="108546" y="577303"/>
                      <a:pt x="106393" y="575128"/>
                    </a:cubicBezTo>
                    <a:cubicBezTo>
                      <a:pt x="104239" y="572952"/>
                      <a:pt x="104239" y="570777"/>
                      <a:pt x="106393" y="568601"/>
                    </a:cubicBezTo>
                    <a:cubicBezTo>
                      <a:pt x="106393" y="568601"/>
                      <a:pt x="106393" y="568601"/>
                      <a:pt x="560763" y="109579"/>
                    </a:cubicBezTo>
                    <a:close/>
                    <a:moveTo>
                      <a:pt x="538568" y="87354"/>
                    </a:moveTo>
                    <a:cubicBezTo>
                      <a:pt x="540714" y="85178"/>
                      <a:pt x="542860" y="85178"/>
                      <a:pt x="545006" y="87354"/>
                    </a:cubicBezTo>
                    <a:cubicBezTo>
                      <a:pt x="547152" y="89529"/>
                      <a:pt x="547152" y="91705"/>
                      <a:pt x="545006" y="93880"/>
                    </a:cubicBezTo>
                    <a:cubicBezTo>
                      <a:pt x="545006" y="93880"/>
                      <a:pt x="545006" y="93880"/>
                      <a:pt x="92186" y="552903"/>
                    </a:cubicBezTo>
                    <a:cubicBezTo>
                      <a:pt x="90040" y="555078"/>
                      <a:pt x="87894" y="555078"/>
                      <a:pt x="85748" y="552903"/>
                    </a:cubicBezTo>
                    <a:cubicBezTo>
                      <a:pt x="83602" y="550727"/>
                      <a:pt x="83602" y="548552"/>
                      <a:pt x="85748" y="546376"/>
                    </a:cubicBezTo>
                    <a:cubicBezTo>
                      <a:pt x="85748" y="546376"/>
                      <a:pt x="85748" y="546376"/>
                      <a:pt x="538568" y="87354"/>
                    </a:cubicBezTo>
                    <a:close/>
                    <a:moveTo>
                      <a:pt x="125869" y="69899"/>
                    </a:moveTo>
                    <a:cubicBezTo>
                      <a:pt x="128002" y="67716"/>
                      <a:pt x="130136" y="67716"/>
                      <a:pt x="132269" y="69899"/>
                    </a:cubicBezTo>
                    <a:cubicBezTo>
                      <a:pt x="134402" y="72082"/>
                      <a:pt x="134402" y="76447"/>
                      <a:pt x="132269" y="76447"/>
                    </a:cubicBezTo>
                    <a:cubicBezTo>
                      <a:pt x="132269" y="76447"/>
                      <a:pt x="132269" y="76447"/>
                      <a:pt x="74672" y="135383"/>
                    </a:cubicBezTo>
                    <a:cubicBezTo>
                      <a:pt x="74672" y="137566"/>
                      <a:pt x="70406" y="137566"/>
                      <a:pt x="68272" y="135383"/>
                    </a:cubicBezTo>
                    <a:cubicBezTo>
                      <a:pt x="66139" y="133201"/>
                      <a:pt x="66139" y="131018"/>
                      <a:pt x="68272" y="128835"/>
                    </a:cubicBezTo>
                    <a:cubicBezTo>
                      <a:pt x="68272" y="128835"/>
                      <a:pt x="68272" y="128835"/>
                      <a:pt x="125869" y="69899"/>
                    </a:cubicBezTo>
                    <a:close/>
                    <a:moveTo>
                      <a:pt x="516292" y="68302"/>
                    </a:moveTo>
                    <a:cubicBezTo>
                      <a:pt x="518451" y="66128"/>
                      <a:pt x="520610" y="66128"/>
                      <a:pt x="522768" y="68302"/>
                    </a:cubicBezTo>
                    <a:cubicBezTo>
                      <a:pt x="524927" y="70475"/>
                      <a:pt x="524927" y="72649"/>
                      <a:pt x="522768" y="74822"/>
                    </a:cubicBezTo>
                    <a:cubicBezTo>
                      <a:pt x="522768" y="74822"/>
                      <a:pt x="522768" y="74822"/>
                      <a:pt x="71599" y="529093"/>
                    </a:cubicBezTo>
                    <a:cubicBezTo>
                      <a:pt x="69440" y="531266"/>
                      <a:pt x="67282" y="531266"/>
                      <a:pt x="65123" y="529093"/>
                    </a:cubicBezTo>
                    <a:cubicBezTo>
                      <a:pt x="62964" y="526919"/>
                      <a:pt x="62964" y="524746"/>
                      <a:pt x="65123" y="522572"/>
                    </a:cubicBezTo>
                    <a:cubicBezTo>
                      <a:pt x="65123" y="522572"/>
                      <a:pt x="65123" y="522572"/>
                      <a:pt x="516292" y="68302"/>
                    </a:cubicBezTo>
                    <a:close/>
                    <a:moveTo>
                      <a:pt x="489322" y="50843"/>
                    </a:moveTo>
                    <a:cubicBezTo>
                      <a:pt x="491477" y="48666"/>
                      <a:pt x="493631" y="48666"/>
                      <a:pt x="495786" y="50843"/>
                    </a:cubicBezTo>
                    <a:cubicBezTo>
                      <a:pt x="497940" y="53020"/>
                      <a:pt x="497940" y="55198"/>
                      <a:pt x="495786" y="57375"/>
                    </a:cubicBezTo>
                    <a:cubicBezTo>
                      <a:pt x="495786" y="57375"/>
                      <a:pt x="495786" y="57375"/>
                      <a:pt x="54120" y="503689"/>
                    </a:cubicBezTo>
                    <a:cubicBezTo>
                      <a:pt x="51966" y="505866"/>
                      <a:pt x="49811" y="505866"/>
                      <a:pt x="47657" y="503689"/>
                    </a:cubicBezTo>
                    <a:cubicBezTo>
                      <a:pt x="45502" y="501512"/>
                      <a:pt x="45502" y="499335"/>
                      <a:pt x="47657" y="497158"/>
                    </a:cubicBezTo>
                    <a:cubicBezTo>
                      <a:pt x="47657" y="497158"/>
                      <a:pt x="47657" y="497158"/>
                      <a:pt x="489322" y="50843"/>
                    </a:cubicBezTo>
                    <a:close/>
                    <a:moveTo>
                      <a:pt x="462330" y="34970"/>
                    </a:moveTo>
                    <a:cubicBezTo>
                      <a:pt x="464485" y="32791"/>
                      <a:pt x="468797" y="32791"/>
                      <a:pt x="468797" y="34970"/>
                    </a:cubicBezTo>
                    <a:cubicBezTo>
                      <a:pt x="470952" y="37149"/>
                      <a:pt x="470952" y="39328"/>
                      <a:pt x="468797" y="41507"/>
                    </a:cubicBezTo>
                    <a:cubicBezTo>
                      <a:pt x="468797" y="41507"/>
                      <a:pt x="468797" y="41507"/>
                      <a:pt x="39836" y="475112"/>
                    </a:cubicBezTo>
                    <a:cubicBezTo>
                      <a:pt x="37681" y="477291"/>
                      <a:pt x="35525" y="477291"/>
                      <a:pt x="33370" y="475112"/>
                    </a:cubicBezTo>
                    <a:cubicBezTo>
                      <a:pt x="31214" y="475112"/>
                      <a:pt x="31214" y="470754"/>
                      <a:pt x="33370" y="468575"/>
                    </a:cubicBezTo>
                    <a:cubicBezTo>
                      <a:pt x="33370" y="468575"/>
                      <a:pt x="33370" y="468575"/>
                      <a:pt x="462330" y="34970"/>
                    </a:cubicBezTo>
                    <a:close/>
                    <a:moveTo>
                      <a:pt x="432171" y="22270"/>
                    </a:moveTo>
                    <a:cubicBezTo>
                      <a:pt x="434326" y="20091"/>
                      <a:pt x="436480" y="20091"/>
                      <a:pt x="438635" y="22270"/>
                    </a:cubicBezTo>
                    <a:cubicBezTo>
                      <a:pt x="440789" y="24448"/>
                      <a:pt x="440789" y="26627"/>
                      <a:pt x="438635" y="28806"/>
                    </a:cubicBezTo>
                    <a:cubicBezTo>
                      <a:pt x="438635" y="28806"/>
                      <a:pt x="438635" y="28806"/>
                      <a:pt x="27132" y="444950"/>
                    </a:cubicBezTo>
                    <a:cubicBezTo>
                      <a:pt x="24977" y="447129"/>
                      <a:pt x="22823" y="447129"/>
                      <a:pt x="20668" y="444950"/>
                    </a:cubicBezTo>
                    <a:cubicBezTo>
                      <a:pt x="18514" y="442772"/>
                      <a:pt x="18514" y="440593"/>
                      <a:pt x="20668" y="438414"/>
                    </a:cubicBezTo>
                    <a:cubicBezTo>
                      <a:pt x="20668" y="438414"/>
                      <a:pt x="20668" y="438414"/>
                      <a:pt x="432171" y="22270"/>
                    </a:cubicBezTo>
                    <a:close/>
                    <a:moveTo>
                      <a:pt x="217859" y="19103"/>
                    </a:moveTo>
                    <a:cubicBezTo>
                      <a:pt x="220014" y="16916"/>
                      <a:pt x="222168" y="16916"/>
                      <a:pt x="224323" y="19103"/>
                    </a:cubicBezTo>
                    <a:cubicBezTo>
                      <a:pt x="226477" y="21290"/>
                      <a:pt x="226477" y="23476"/>
                      <a:pt x="224323" y="25663"/>
                    </a:cubicBezTo>
                    <a:cubicBezTo>
                      <a:pt x="224323" y="25663"/>
                      <a:pt x="224323" y="25663"/>
                      <a:pt x="23957" y="229042"/>
                    </a:cubicBezTo>
                    <a:cubicBezTo>
                      <a:pt x="21802" y="231229"/>
                      <a:pt x="19648" y="231229"/>
                      <a:pt x="17493" y="229042"/>
                    </a:cubicBezTo>
                    <a:cubicBezTo>
                      <a:pt x="15339" y="226855"/>
                      <a:pt x="15339" y="224669"/>
                      <a:pt x="17493" y="222482"/>
                    </a:cubicBezTo>
                    <a:cubicBezTo>
                      <a:pt x="17493" y="222482"/>
                      <a:pt x="17493" y="222482"/>
                      <a:pt x="217859" y="19103"/>
                    </a:cubicBezTo>
                    <a:close/>
                    <a:moveTo>
                      <a:pt x="398849" y="11154"/>
                    </a:moveTo>
                    <a:cubicBezTo>
                      <a:pt x="401000" y="8978"/>
                      <a:pt x="403151" y="8978"/>
                      <a:pt x="405301" y="11154"/>
                    </a:cubicBezTo>
                    <a:cubicBezTo>
                      <a:pt x="407452" y="13331"/>
                      <a:pt x="407452" y="15507"/>
                      <a:pt x="405301" y="17684"/>
                    </a:cubicBezTo>
                    <a:cubicBezTo>
                      <a:pt x="405301" y="17684"/>
                      <a:pt x="405301" y="17684"/>
                      <a:pt x="16005" y="411615"/>
                    </a:cubicBezTo>
                    <a:cubicBezTo>
                      <a:pt x="13854" y="413791"/>
                      <a:pt x="11703" y="413791"/>
                      <a:pt x="9553" y="411615"/>
                    </a:cubicBezTo>
                    <a:cubicBezTo>
                      <a:pt x="7402" y="409438"/>
                      <a:pt x="7402" y="407262"/>
                      <a:pt x="9553" y="405085"/>
                    </a:cubicBezTo>
                    <a:cubicBezTo>
                      <a:pt x="9553" y="405085"/>
                      <a:pt x="9553" y="405085"/>
                      <a:pt x="398849" y="11154"/>
                    </a:cubicBezTo>
                    <a:close/>
                    <a:moveTo>
                      <a:pt x="274429" y="6397"/>
                    </a:moveTo>
                    <a:cubicBezTo>
                      <a:pt x="276586" y="4216"/>
                      <a:pt x="280900" y="4216"/>
                      <a:pt x="283057" y="6397"/>
                    </a:cubicBezTo>
                    <a:cubicBezTo>
                      <a:pt x="285214" y="6397"/>
                      <a:pt x="285214" y="10760"/>
                      <a:pt x="283057" y="12941"/>
                    </a:cubicBezTo>
                    <a:cubicBezTo>
                      <a:pt x="283057" y="12941"/>
                      <a:pt x="283057" y="12941"/>
                      <a:pt x="11267" y="287785"/>
                    </a:cubicBezTo>
                    <a:cubicBezTo>
                      <a:pt x="9110" y="289966"/>
                      <a:pt x="4796" y="289966"/>
                      <a:pt x="4796" y="287785"/>
                    </a:cubicBezTo>
                    <a:cubicBezTo>
                      <a:pt x="2639" y="285604"/>
                      <a:pt x="2639" y="281241"/>
                      <a:pt x="4796" y="279060"/>
                    </a:cubicBezTo>
                    <a:cubicBezTo>
                      <a:pt x="4796" y="279060"/>
                      <a:pt x="4796" y="279060"/>
                      <a:pt x="274429" y="6397"/>
                    </a:cubicBezTo>
                    <a:close/>
                    <a:moveTo>
                      <a:pt x="362338" y="4806"/>
                    </a:moveTo>
                    <a:cubicBezTo>
                      <a:pt x="364489" y="2628"/>
                      <a:pt x="366639" y="2628"/>
                      <a:pt x="368790" y="4806"/>
                    </a:cubicBezTo>
                    <a:cubicBezTo>
                      <a:pt x="370940" y="6984"/>
                      <a:pt x="370940" y="9162"/>
                      <a:pt x="368790" y="11341"/>
                    </a:cubicBezTo>
                    <a:cubicBezTo>
                      <a:pt x="368790" y="11341"/>
                      <a:pt x="368790" y="11341"/>
                      <a:pt x="9654" y="375100"/>
                    </a:cubicBezTo>
                    <a:cubicBezTo>
                      <a:pt x="7503" y="377278"/>
                      <a:pt x="5353" y="377278"/>
                      <a:pt x="3202" y="375100"/>
                    </a:cubicBezTo>
                    <a:cubicBezTo>
                      <a:pt x="1052" y="372922"/>
                      <a:pt x="1052" y="370744"/>
                      <a:pt x="3202" y="368565"/>
                    </a:cubicBezTo>
                    <a:cubicBezTo>
                      <a:pt x="3202" y="368565"/>
                      <a:pt x="3202" y="368565"/>
                      <a:pt x="362338" y="4806"/>
                    </a:cubicBezTo>
                    <a:close/>
                    <a:moveTo>
                      <a:pt x="321088" y="1638"/>
                    </a:moveTo>
                    <a:cubicBezTo>
                      <a:pt x="323232" y="-547"/>
                      <a:pt x="325376" y="-547"/>
                      <a:pt x="327520" y="1638"/>
                    </a:cubicBezTo>
                    <a:cubicBezTo>
                      <a:pt x="329664" y="3824"/>
                      <a:pt x="329664" y="6009"/>
                      <a:pt x="327520" y="8194"/>
                    </a:cubicBezTo>
                    <a:cubicBezTo>
                      <a:pt x="327520" y="8194"/>
                      <a:pt x="327520" y="8194"/>
                      <a:pt x="8040" y="333818"/>
                    </a:cubicBezTo>
                    <a:cubicBezTo>
                      <a:pt x="5896" y="336003"/>
                      <a:pt x="3752" y="336003"/>
                      <a:pt x="1608" y="333818"/>
                    </a:cubicBezTo>
                    <a:cubicBezTo>
                      <a:pt x="-536" y="331632"/>
                      <a:pt x="-536" y="329447"/>
                      <a:pt x="1608" y="327262"/>
                    </a:cubicBezTo>
                    <a:cubicBezTo>
                      <a:pt x="1608" y="327262"/>
                      <a:pt x="1608" y="327262"/>
                      <a:pt x="321088" y="163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grpSp>
    </p:spTree>
    <p:extLst>
      <p:ext uri="{BB962C8B-B14F-4D97-AF65-F5344CB8AC3E}">
        <p14:creationId xmlns:p14="http://schemas.microsoft.com/office/powerpoint/2010/main" val="2512773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9724B4-991C-4EC0-8AB1-9A2656EDFB7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425" imgH="424" progId="TCLayout.ActiveDocument.1">
                  <p:embed/>
                </p:oleObj>
              </mc:Choice>
              <mc:Fallback>
                <p:oleObj name="think-cell Slide" r:id="rId5" imgW="425" imgH="424" progId="TCLayout.ActiveDocument.1">
                  <p:embed/>
                  <p:pic>
                    <p:nvPicPr>
                      <p:cNvPr id="4" name="Object 3" hidden="1">
                        <a:extLst>
                          <a:ext uri="{FF2B5EF4-FFF2-40B4-BE49-F238E27FC236}">
                            <a16:creationId xmlns:a16="http://schemas.microsoft.com/office/drawing/2014/main" id="{8C9724B4-991C-4EC0-8AB1-9A2656EDFB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4476E5F5-F289-4084-9C21-9632A39B8B19}"/>
              </a:ext>
            </a:extLst>
          </p:cNvPr>
          <p:cNvSpPr>
            <a:spLocks noGrp="1"/>
          </p:cNvSpPr>
          <p:nvPr>
            <p:ph type="body" sz="quarter" idx="10"/>
          </p:nvPr>
        </p:nvSpPr>
        <p:spPr>
          <a:xfrm>
            <a:off x="528638" y="758305"/>
            <a:ext cx="2642724" cy="3558538"/>
          </a:xfrm>
        </p:spPr>
        <p:txBody>
          <a:bodyPr/>
          <a:lstStyle/>
          <a:p>
            <a:r>
              <a:rPr lang="en-US" dirty="0">
                <a:solidFill>
                  <a:schemeClr val="accent1"/>
                </a:solidFill>
              </a:rPr>
              <a:t>Proven platform with </a:t>
            </a:r>
            <a:r>
              <a:rPr lang="en-US" dirty="0">
                <a:solidFill>
                  <a:schemeClr val="accent2"/>
                </a:solidFill>
                <a:latin typeface="CiscoSansTT" panose="020B0503020201020303" pitchFamily="34" charset="0"/>
                <a:cs typeface="CiscoSansTT" panose="020B0503020201020303" pitchFamily="34" charset="0"/>
              </a:rPr>
              <a:t>9,000+</a:t>
            </a:r>
            <a:r>
              <a:rPr lang="en-US" dirty="0">
                <a:latin typeface="CiscoSansTT" panose="020B0503020201020303" pitchFamily="34" charset="0"/>
                <a:cs typeface="CiscoSansTT" panose="020B0503020201020303" pitchFamily="34" charset="0"/>
              </a:rPr>
              <a:t> </a:t>
            </a:r>
            <a:r>
              <a:rPr lang="en-US" dirty="0">
                <a:solidFill>
                  <a:schemeClr val="accent2"/>
                </a:solidFill>
                <a:latin typeface="CiscoSansTT" panose="020B0503020201020303" pitchFamily="34" charset="0"/>
                <a:cs typeface="CiscoSansTT" panose="020B0503020201020303" pitchFamily="34" charset="0"/>
              </a:rPr>
              <a:t>customers</a:t>
            </a:r>
            <a:r>
              <a:rPr lang="en-US" dirty="0">
                <a:latin typeface="CiscoSansTT" panose="020B0503020201020303" pitchFamily="34" charset="0"/>
                <a:cs typeface="CiscoSansTT" panose="020B0503020201020303" pitchFamily="34" charset="0"/>
              </a:rPr>
              <a:t> </a:t>
            </a:r>
            <a:r>
              <a:rPr lang="en-US" dirty="0">
                <a:solidFill>
                  <a:schemeClr val="accent1"/>
                </a:solidFill>
              </a:rPr>
              <a:t>unlocking new value today with</a:t>
            </a:r>
            <a:r>
              <a:rPr lang="en-US" dirty="0"/>
              <a:t> </a:t>
            </a:r>
            <a:r>
              <a:rPr lang="en-US" dirty="0">
                <a:solidFill>
                  <a:schemeClr val="accent2"/>
                </a:solidFill>
                <a:latin typeface="CiscoSansTT" panose="020B0503020201020303" pitchFamily="34" charset="0"/>
                <a:cs typeface="CiscoSansTT" panose="020B0503020201020303" pitchFamily="34" charset="0"/>
              </a:rPr>
              <a:t>SecureX threat response</a:t>
            </a:r>
          </a:p>
        </p:txBody>
      </p:sp>
      <p:grpSp>
        <p:nvGrpSpPr>
          <p:cNvPr id="7" name="Group 6">
            <a:extLst>
              <a:ext uri="{FF2B5EF4-FFF2-40B4-BE49-F238E27FC236}">
                <a16:creationId xmlns:a16="http://schemas.microsoft.com/office/drawing/2014/main" id="{DC783FC4-7333-4790-BC44-2C6B3E8B57DC}"/>
              </a:ext>
            </a:extLst>
          </p:cNvPr>
          <p:cNvGrpSpPr/>
          <p:nvPr/>
        </p:nvGrpSpPr>
        <p:grpSpPr>
          <a:xfrm>
            <a:off x="3424845" y="1161527"/>
            <a:ext cx="5719155" cy="3235442"/>
            <a:chOff x="3424845" y="1161527"/>
            <a:chExt cx="5719155" cy="3235442"/>
          </a:xfrm>
        </p:grpSpPr>
        <p:sp>
          <p:nvSpPr>
            <p:cNvPr id="12" name="Rectangle 11">
              <a:extLst>
                <a:ext uri="{FF2B5EF4-FFF2-40B4-BE49-F238E27FC236}">
                  <a16:creationId xmlns:a16="http://schemas.microsoft.com/office/drawing/2014/main" id="{D1ACF4BF-D350-FA49-ADB2-F7B5C916ECC2}"/>
                </a:ext>
              </a:extLst>
            </p:cNvPr>
            <p:cNvSpPr/>
            <p:nvPr/>
          </p:nvSpPr>
          <p:spPr>
            <a:xfrm>
              <a:off x="3424845" y="2754600"/>
              <a:ext cx="5719155" cy="1489311"/>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81" name="Retail">
              <a:extLst>
                <a:ext uri="{FF2B5EF4-FFF2-40B4-BE49-F238E27FC236}">
                  <a16:creationId xmlns:a16="http://schemas.microsoft.com/office/drawing/2014/main" id="{6576FB5C-4247-484A-9D54-F1E3A93AFF89}"/>
                </a:ext>
              </a:extLst>
            </p:cNvPr>
            <p:cNvSpPr txBox="1"/>
            <p:nvPr/>
          </p:nvSpPr>
          <p:spPr>
            <a:xfrm>
              <a:off x="3635210" y="2570624"/>
              <a:ext cx="5508790" cy="1826345"/>
            </a:xfrm>
            <a:prstGeom prst="roundRect">
              <a:avLst>
                <a:gd name="adj" fmla="val 8134"/>
              </a:avLst>
            </a:prstGeom>
            <a:solidFill>
              <a:schemeClr val="bg2">
                <a:alpha val="80000"/>
              </a:schemeClr>
            </a:solidFill>
            <a:ln>
              <a:noFill/>
            </a:ln>
          </p:spPr>
          <p:txBody>
            <a:bodyPr wrap="square" lIns="137160" tIns="91440" rIns="137160" bIns="91440" rtlCol="0" anchor="ctr">
              <a:noAutofit/>
            </a:bodyPr>
            <a:lstStyle/>
            <a:p>
              <a:pPr marL="0" marR="0" lvl="0" indent="0" algn="l" defTabSz="342900" rtl="0" eaLnBrk="1" fontAlgn="auto" latinLnBrk="0" hangingPunct="1">
                <a:lnSpc>
                  <a:spcPct val="100000"/>
                </a:lnSpc>
                <a:spcBef>
                  <a:spcPts val="600"/>
                </a:spcBef>
                <a:spcAft>
                  <a:spcPts val="225"/>
                </a:spcAft>
                <a:buClrTx/>
                <a:buSzTx/>
                <a:buFontTx/>
                <a:buNone/>
                <a:tabLst/>
                <a:defRPr/>
              </a:pPr>
              <a:r>
                <a:rPr kumimoji="0" lang="en-US" sz="2000" b="0" i="1" u="none" strike="noStrike" kern="1200" cap="none" spc="0" normalizeH="0" baseline="0" noProof="0">
                  <a:ln>
                    <a:noFill/>
                  </a:ln>
                  <a:solidFill>
                    <a:srgbClr val="0D274D"/>
                  </a:solidFill>
                  <a:effectLst/>
                  <a:uLnTx/>
                  <a:uFillTx/>
                  <a:latin typeface="CiscoSansTT" panose="020B0503020201020303" pitchFamily="34" charset="0"/>
                  <a:ea typeface="+mn-ea"/>
                  <a:cs typeface="+mn-cs"/>
                </a:rPr>
                <a:t>“I am able to visualize threats within my environment and take action in </a:t>
              </a:r>
              <a:r>
                <a:rPr kumimoji="0" lang="en-US" sz="2000" b="0" i="1" u="none" strike="noStrike" kern="1200" cap="none" spc="0" normalizeH="0" baseline="0" noProof="0">
                  <a:ln>
                    <a:noFill/>
                  </a:ln>
                  <a:solidFill>
                    <a:srgbClr val="6EBE4A"/>
                  </a:solidFill>
                  <a:effectLst/>
                  <a:uLnTx/>
                  <a:uFillTx/>
                  <a:latin typeface="CiscoSansTT" panose="020B0503020201020303" pitchFamily="34" charset="0"/>
                  <a:ea typeface="+mn-ea"/>
                  <a:cs typeface="+mn-cs"/>
                </a:rPr>
                <a:t>half the time </a:t>
              </a:r>
              <a:r>
                <a:rPr kumimoji="0" lang="en-US" sz="2000" b="0" i="1" u="none" strike="noStrike" kern="1200" cap="none" spc="0" normalizeH="0" baseline="0" noProof="0">
                  <a:ln>
                    <a:noFill/>
                  </a:ln>
                  <a:solidFill>
                    <a:srgbClr val="0D274D"/>
                  </a:solidFill>
                  <a:effectLst/>
                  <a:uLnTx/>
                  <a:uFillTx/>
                  <a:latin typeface="CiscoSansTT" panose="020B0503020201020303" pitchFamily="34" charset="0"/>
                  <a:ea typeface="+mn-ea"/>
                  <a:cs typeface="+mn-cs"/>
                </a:rPr>
                <a:t>it used to take me.”</a:t>
              </a:r>
            </a:p>
            <a:p>
              <a:pPr marL="0" marR="0" lvl="0" indent="0" algn="l" defTabSz="342900" rtl="0" eaLnBrk="1" fontAlgn="auto" latinLnBrk="0" hangingPunct="1">
                <a:lnSpc>
                  <a:spcPct val="100000"/>
                </a:lnSpc>
                <a:spcBef>
                  <a:spcPts val="600"/>
                </a:spcBef>
                <a:spcAft>
                  <a:spcPts val="225"/>
                </a:spcAft>
                <a:buClrTx/>
                <a:buSzTx/>
                <a:buFontTx/>
                <a:buNone/>
                <a:tabLst/>
                <a:defRPr/>
              </a:pPr>
              <a:r>
                <a:rPr kumimoji="0" lang="en-US" sz="1050" b="0" i="1" u="none" strike="noStrike" kern="1200" cap="none" spc="0" normalizeH="0" baseline="0" noProof="0">
                  <a:ln>
                    <a:noFill/>
                  </a:ln>
                  <a:solidFill>
                    <a:srgbClr val="0D274D"/>
                  </a:solidFill>
                  <a:effectLst/>
                  <a:uLnTx/>
                  <a:uFillTx/>
                  <a:latin typeface="CiscoSansTT" panose="020B0503020201020303" pitchFamily="34" charset="0"/>
                  <a:ea typeface="+mn-ea"/>
                  <a:cs typeface="+mn-cs"/>
                </a:rPr>
                <a:t>—Security Engineer, </a:t>
              </a:r>
              <a:br>
                <a:rPr kumimoji="0" lang="en-US" sz="1050" b="0" i="1" u="none" strike="noStrike" kern="1200" cap="none" spc="0" normalizeH="0" baseline="0" noProof="0">
                  <a:ln>
                    <a:noFill/>
                  </a:ln>
                  <a:solidFill>
                    <a:srgbClr val="0D274D"/>
                  </a:solidFill>
                  <a:effectLst/>
                  <a:uLnTx/>
                  <a:uFillTx/>
                  <a:latin typeface="CiscoSansTT" panose="020B0503020201020303" pitchFamily="34" charset="0"/>
                  <a:ea typeface="+mn-ea"/>
                  <a:cs typeface="+mn-cs"/>
                </a:rPr>
              </a:br>
              <a:r>
                <a:rPr kumimoji="0" lang="en-US" sz="1050" b="0" i="1" u="none" strike="noStrike" kern="1200" cap="none" spc="0" normalizeH="0" baseline="0" noProof="0">
                  <a:ln>
                    <a:noFill/>
                  </a:ln>
                  <a:solidFill>
                    <a:srgbClr val="0D274D"/>
                  </a:solidFill>
                  <a:effectLst/>
                  <a:uLnTx/>
                  <a:uFillTx/>
                  <a:latin typeface="CiscoSansTT" panose="020B0503020201020303" pitchFamily="34" charset="0"/>
                  <a:ea typeface="+mn-ea"/>
                  <a:cs typeface="+mn-cs"/>
                </a:rPr>
                <a:t>Large Enterprise Banking Company</a:t>
              </a:r>
              <a:endParaRPr kumimoji="0" lang="en-US" sz="1050" b="0" i="1" u="none" strike="noStrike" kern="1200" cap="none" spc="0" normalizeH="0" baseline="30000" noProof="0">
                <a:ln>
                  <a:noFill/>
                </a:ln>
                <a:solidFill>
                  <a:srgbClr val="0D274D"/>
                </a:solidFill>
                <a:effectLst/>
                <a:uLnTx/>
                <a:uFillTx/>
                <a:latin typeface="CiscoSansTT" panose="020B0503020201020303" pitchFamily="34" charset="0"/>
                <a:ea typeface="+mn-ea"/>
                <a:cs typeface="+mn-cs"/>
              </a:endParaRPr>
            </a:p>
          </p:txBody>
        </p:sp>
        <p:grpSp>
          <p:nvGrpSpPr>
            <p:cNvPr id="6" name="Group 5">
              <a:extLst>
                <a:ext uri="{FF2B5EF4-FFF2-40B4-BE49-F238E27FC236}">
                  <a16:creationId xmlns:a16="http://schemas.microsoft.com/office/drawing/2014/main" id="{335B8C09-6F8F-4F40-8394-793C201D41E4}"/>
                </a:ext>
              </a:extLst>
            </p:cNvPr>
            <p:cNvGrpSpPr/>
            <p:nvPr/>
          </p:nvGrpSpPr>
          <p:grpSpPr>
            <a:xfrm>
              <a:off x="3728221" y="1165681"/>
              <a:ext cx="1463659" cy="1321228"/>
              <a:chOff x="3728221" y="1165681"/>
              <a:chExt cx="1463659" cy="1321228"/>
            </a:xfrm>
          </p:grpSpPr>
          <p:sp>
            <p:nvSpPr>
              <p:cNvPr id="145" name="Title 1">
                <a:extLst>
                  <a:ext uri="{FF2B5EF4-FFF2-40B4-BE49-F238E27FC236}">
                    <a16:creationId xmlns:a16="http://schemas.microsoft.com/office/drawing/2014/main" id="{90A891E3-0FC2-714A-803A-C3BC33AAB5B9}"/>
                  </a:ext>
                </a:extLst>
              </p:cNvPr>
              <p:cNvSpPr txBox="1">
                <a:spLocks/>
              </p:cNvSpPr>
              <p:nvPr/>
            </p:nvSpPr>
            <p:spPr bwMode="auto">
              <a:xfrm>
                <a:off x="3728221" y="1508129"/>
                <a:ext cx="1463659" cy="97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bg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ts val="230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cs typeface="CiscoSansTT Thin" charset="0"/>
                  </a:rPr>
                  <a:t>found the unified view enables rapid threat response</a:t>
                </a:r>
              </a:p>
            </p:txBody>
          </p:sp>
          <p:sp>
            <p:nvSpPr>
              <p:cNvPr id="146" name="Rectangle 145">
                <a:extLst>
                  <a:ext uri="{FF2B5EF4-FFF2-40B4-BE49-F238E27FC236}">
                    <a16:creationId xmlns:a16="http://schemas.microsoft.com/office/drawing/2014/main" id="{6E741A4A-A4CB-D84F-B647-7996467A54EA}"/>
                  </a:ext>
                </a:extLst>
              </p:cNvPr>
              <p:cNvSpPr/>
              <p:nvPr/>
            </p:nvSpPr>
            <p:spPr>
              <a:xfrm>
                <a:off x="3728221" y="1165681"/>
                <a:ext cx="843779" cy="3759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684196" rtl="0" eaLnBrk="1" fontAlgn="base" latinLnBrk="0" hangingPunct="1">
                  <a:lnSpc>
                    <a:spcPct val="95000"/>
                  </a:lnSpc>
                  <a:spcBef>
                    <a:spcPts val="1110"/>
                  </a:spcBef>
                  <a:spcAft>
                    <a:spcPct val="0"/>
                  </a:spcAft>
                  <a:buClr>
                    <a:srgbClr val="282828"/>
                  </a:buClr>
                  <a:buSzPct val="80000"/>
                  <a:buFontTx/>
                  <a:buNone/>
                  <a:tabLst/>
                  <a:defRPr/>
                </a:pPr>
                <a:r>
                  <a:rPr kumimoji="0" lang="en-US" sz="3200" b="0" i="0" u="none" strike="noStrike" kern="1200" cap="none" spc="0" normalizeH="0" baseline="0" noProof="0">
                    <a:ln>
                      <a:noFill/>
                    </a:ln>
                    <a:solidFill>
                      <a:srgbClr val="6EBE4A"/>
                    </a:solidFill>
                    <a:effectLst/>
                    <a:uLnTx/>
                    <a:uFillTx/>
                    <a:latin typeface="CiscoSansTT" panose="020B0503020201020303" pitchFamily="34" charset="0"/>
                    <a:ea typeface="+mn-ea"/>
                    <a:cs typeface="+mn-cs"/>
                  </a:rPr>
                  <a:t>98%</a:t>
                </a:r>
              </a:p>
            </p:txBody>
          </p:sp>
        </p:grpSp>
        <p:grpSp>
          <p:nvGrpSpPr>
            <p:cNvPr id="5" name="Group 4">
              <a:extLst>
                <a:ext uri="{FF2B5EF4-FFF2-40B4-BE49-F238E27FC236}">
                  <a16:creationId xmlns:a16="http://schemas.microsoft.com/office/drawing/2014/main" id="{30C003F9-F9A5-4411-A112-7805F01E67B1}"/>
                </a:ext>
              </a:extLst>
            </p:cNvPr>
            <p:cNvGrpSpPr/>
            <p:nvPr/>
          </p:nvGrpSpPr>
          <p:grpSpPr>
            <a:xfrm>
              <a:off x="5347624" y="1165682"/>
              <a:ext cx="1677532" cy="1322036"/>
              <a:chOff x="5474624" y="1165682"/>
              <a:chExt cx="1677532" cy="1322036"/>
            </a:xfrm>
          </p:grpSpPr>
          <p:sp>
            <p:nvSpPr>
              <p:cNvPr id="147" name="Title 1">
                <a:extLst>
                  <a:ext uri="{FF2B5EF4-FFF2-40B4-BE49-F238E27FC236}">
                    <a16:creationId xmlns:a16="http://schemas.microsoft.com/office/drawing/2014/main" id="{0C1A408B-04D2-0741-B75A-C90EDC1FE1F8}"/>
                  </a:ext>
                </a:extLst>
              </p:cNvPr>
              <p:cNvSpPr txBox="1">
                <a:spLocks/>
              </p:cNvSpPr>
              <p:nvPr/>
            </p:nvSpPr>
            <p:spPr bwMode="auto">
              <a:xfrm>
                <a:off x="5474624" y="1508938"/>
                <a:ext cx="1677532" cy="97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bg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ts val="230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cs typeface="CiscoSansTT Thin" charset="0"/>
                  </a:rPr>
                  <a:t>say that our security platform helps them take action and remediate</a:t>
                </a:r>
              </a:p>
            </p:txBody>
          </p:sp>
          <p:sp>
            <p:nvSpPr>
              <p:cNvPr id="148" name="Rectangle 147">
                <a:extLst>
                  <a:ext uri="{FF2B5EF4-FFF2-40B4-BE49-F238E27FC236}">
                    <a16:creationId xmlns:a16="http://schemas.microsoft.com/office/drawing/2014/main" id="{0FA706BB-FC98-044C-9297-482621D77B63}"/>
                  </a:ext>
                </a:extLst>
              </p:cNvPr>
              <p:cNvSpPr/>
              <p:nvPr/>
            </p:nvSpPr>
            <p:spPr>
              <a:xfrm>
                <a:off x="5474624" y="1165682"/>
                <a:ext cx="843779" cy="3759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684196" rtl="0" eaLnBrk="1" fontAlgn="base" latinLnBrk="0" hangingPunct="1">
                  <a:lnSpc>
                    <a:spcPct val="95000"/>
                  </a:lnSpc>
                  <a:spcBef>
                    <a:spcPts val="1110"/>
                  </a:spcBef>
                  <a:spcAft>
                    <a:spcPct val="0"/>
                  </a:spcAft>
                  <a:buClr>
                    <a:srgbClr val="282828"/>
                  </a:buClr>
                  <a:buSzPct val="80000"/>
                  <a:buFontTx/>
                  <a:buNone/>
                  <a:tabLst/>
                  <a:defRPr/>
                </a:pPr>
                <a:r>
                  <a:rPr kumimoji="0" lang="en-US" sz="3200" b="0" i="0" u="none" strike="noStrike" kern="1200" cap="none" spc="0" normalizeH="0" baseline="0" noProof="0">
                    <a:ln>
                      <a:noFill/>
                    </a:ln>
                    <a:solidFill>
                      <a:srgbClr val="6EBE4A"/>
                    </a:solidFill>
                    <a:effectLst/>
                    <a:uLnTx/>
                    <a:uFillTx/>
                    <a:latin typeface="CiscoSansTT" panose="020B0503020201020303" pitchFamily="34" charset="0"/>
                    <a:ea typeface="+mn-ea"/>
                    <a:cs typeface="+mn-cs"/>
                  </a:rPr>
                  <a:t>95%</a:t>
                </a:r>
              </a:p>
            </p:txBody>
          </p:sp>
        </p:grpSp>
        <p:grpSp>
          <p:nvGrpSpPr>
            <p:cNvPr id="3" name="Group 2">
              <a:extLst>
                <a:ext uri="{FF2B5EF4-FFF2-40B4-BE49-F238E27FC236}">
                  <a16:creationId xmlns:a16="http://schemas.microsoft.com/office/drawing/2014/main" id="{E0CBA907-7CFC-45BB-BCC5-47BF0BF14557}"/>
                </a:ext>
              </a:extLst>
            </p:cNvPr>
            <p:cNvGrpSpPr/>
            <p:nvPr/>
          </p:nvGrpSpPr>
          <p:grpSpPr>
            <a:xfrm>
              <a:off x="7270265" y="1161527"/>
              <a:ext cx="1486336" cy="1325382"/>
              <a:chOff x="7422665" y="1161527"/>
              <a:chExt cx="1486336" cy="1325382"/>
            </a:xfrm>
          </p:grpSpPr>
          <p:sp>
            <p:nvSpPr>
              <p:cNvPr id="149" name="Title 1">
                <a:extLst>
                  <a:ext uri="{FF2B5EF4-FFF2-40B4-BE49-F238E27FC236}">
                    <a16:creationId xmlns:a16="http://schemas.microsoft.com/office/drawing/2014/main" id="{AEABD60D-9715-7143-8724-0393F7139EBC}"/>
                  </a:ext>
                </a:extLst>
              </p:cNvPr>
              <p:cNvSpPr txBox="1">
                <a:spLocks/>
              </p:cNvSpPr>
              <p:nvPr/>
            </p:nvSpPr>
            <p:spPr bwMode="auto">
              <a:xfrm>
                <a:off x="7445342" y="1508129"/>
                <a:ext cx="1463659" cy="97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bg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100000"/>
                  </a:lnSpc>
                  <a:spcBef>
                    <a:spcPct val="0"/>
                  </a:spcBef>
                  <a:spcAft>
                    <a:spcPts val="230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cs typeface="CiscoSansTT Thin" charset="0"/>
                  </a:rPr>
                  <a:t>find that our security platform helps their teams collaborate more</a:t>
                </a:r>
              </a:p>
            </p:txBody>
          </p:sp>
          <p:sp>
            <p:nvSpPr>
              <p:cNvPr id="150" name="Rectangle 149">
                <a:extLst>
                  <a:ext uri="{FF2B5EF4-FFF2-40B4-BE49-F238E27FC236}">
                    <a16:creationId xmlns:a16="http://schemas.microsoft.com/office/drawing/2014/main" id="{535F9CD5-73A0-7449-9705-C07EC04BC618}"/>
                  </a:ext>
                </a:extLst>
              </p:cNvPr>
              <p:cNvSpPr/>
              <p:nvPr/>
            </p:nvSpPr>
            <p:spPr>
              <a:xfrm>
                <a:off x="7422665" y="1161527"/>
                <a:ext cx="843779" cy="37596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l" defTabSz="684196" rtl="0" eaLnBrk="1" fontAlgn="base" latinLnBrk="0" hangingPunct="1">
                  <a:lnSpc>
                    <a:spcPct val="95000"/>
                  </a:lnSpc>
                  <a:spcBef>
                    <a:spcPts val="1110"/>
                  </a:spcBef>
                  <a:spcAft>
                    <a:spcPct val="0"/>
                  </a:spcAft>
                  <a:buClr>
                    <a:srgbClr val="282828"/>
                  </a:buClr>
                  <a:buSzPct val="80000"/>
                  <a:buFontTx/>
                  <a:buNone/>
                  <a:tabLst/>
                  <a:defRPr/>
                </a:pPr>
                <a:r>
                  <a:rPr kumimoji="0" lang="en-US" sz="3200" b="0" i="0" u="none" strike="noStrike" kern="1200" cap="none" spc="0" normalizeH="0" baseline="0" noProof="0">
                    <a:ln>
                      <a:noFill/>
                    </a:ln>
                    <a:solidFill>
                      <a:srgbClr val="6EBE4A"/>
                    </a:solidFill>
                    <a:effectLst/>
                    <a:uLnTx/>
                    <a:uFillTx/>
                    <a:latin typeface="CiscoSansTT" panose="020B0503020201020303" pitchFamily="34" charset="0"/>
                    <a:ea typeface="+mn-ea"/>
                    <a:cs typeface="+mn-cs"/>
                  </a:rPr>
                  <a:t>91%</a:t>
                </a:r>
              </a:p>
            </p:txBody>
          </p:sp>
        </p:grpSp>
      </p:grpSp>
    </p:spTree>
    <p:extLst>
      <p:ext uri="{BB962C8B-B14F-4D97-AF65-F5344CB8AC3E}">
        <p14:creationId xmlns:p14="http://schemas.microsoft.com/office/powerpoint/2010/main" val="11559091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D7B7DC-FC6E-4805-BFFF-9B6AAC101C8B}"/>
              </a:ext>
            </a:extLst>
          </p:cNvPr>
          <p:cNvSpPr>
            <a:spLocks noGrp="1"/>
          </p:cNvSpPr>
          <p:nvPr>
            <p:ph type="title" idx="4294967295"/>
          </p:nvPr>
        </p:nvSpPr>
        <p:spPr>
          <a:xfrm>
            <a:off x="534439" y="967456"/>
            <a:ext cx="4313184" cy="2472810"/>
          </a:xfrm>
        </p:spPr>
        <p:txBody>
          <a:bodyPr/>
          <a:lstStyle/>
          <a:p>
            <a:r>
              <a:rPr lang="en-US" sz="3600" dirty="0">
                <a:solidFill>
                  <a:schemeClr val="accent2"/>
                </a:solidFill>
                <a:latin typeface="CiscoSansTT" panose="020B0503020201020303" pitchFamily="34" charset="0"/>
                <a:cs typeface="CiscoSansTT" panose="020B0503020201020303" pitchFamily="34" charset="0"/>
              </a:rPr>
              <a:t>Simplify</a:t>
            </a:r>
            <a:r>
              <a:rPr lang="en-US" sz="3600" dirty="0"/>
              <a:t> your security with the </a:t>
            </a:r>
            <a:r>
              <a:rPr lang="en-US" sz="3600" dirty="0">
                <a:solidFill>
                  <a:schemeClr val="accent2"/>
                </a:solidFill>
                <a:latin typeface="CiscoSansTT" panose="020B0503020201020303" pitchFamily="34" charset="0"/>
                <a:cs typeface="CiscoSansTT" panose="020B0503020201020303" pitchFamily="34" charset="0"/>
              </a:rPr>
              <a:t>broadest</a:t>
            </a:r>
            <a:r>
              <a:rPr lang="en-US" sz="3600" dirty="0">
                <a:latin typeface="CiscoSansTT" panose="020B0503020201020303" pitchFamily="34" charset="0"/>
                <a:cs typeface="CiscoSansTT" panose="020B0503020201020303" pitchFamily="34" charset="0"/>
              </a:rPr>
              <a:t>, </a:t>
            </a:r>
            <a:r>
              <a:rPr lang="en-US" sz="3600" dirty="0">
                <a:solidFill>
                  <a:schemeClr val="accent2"/>
                </a:solidFill>
                <a:latin typeface="CiscoSansTT" panose="020B0503020201020303" pitchFamily="34" charset="0"/>
                <a:cs typeface="CiscoSansTT" panose="020B0503020201020303" pitchFamily="34" charset="0"/>
              </a:rPr>
              <a:t>most integrated </a:t>
            </a:r>
            <a:r>
              <a:rPr lang="en-US" sz="3600" dirty="0"/>
              <a:t>platform </a:t>
            </a:r>
          </a:p>
        </p:txBody>
      </p:sp>
      <p:sp>
        <p:nvSpPr>
          <p:cNvPr id="100" name="Oval 83">
            <a:extLst>
              <a:ext uri="{FF2B5EF4-FFF2-40B4-BE49-F238E27FC236}">
                <a16:creationId xmlns:a16="http://schemas.microsoft.com/office/drawing/2014/main" id="{FC13AB62-E634-E740-B5C9-A861C6FB3835}"/>
              </a:ext>
            </a:extLst>
          </p:cNvPr>
          <p:cNvSpPr>
            <a:spLocks/>
          </p:cNvSpPr>
          <p:nvPr/>
        </p:nvSpPr>
        <p:spPr>
          <a:xfrm>
            <a:off x="7621382" y="661836"/>
            <a:ext cx="859470" cy="862494"/>
          </a:xfrm>
          <a:prstGeom prst="ellipse">
            <a:avLst/>
          </a:prstGeom>
          <a:solidFill>
            <a:srgbClr val="FFFFFF"/>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01" name="Picture 596" descr="A picture containing sitting, black, dark, table&#10;&#10;Description automatically generated">
            <a:extLst>
              <a:ext uri="{FF2B5EF4-FFF2-40B4-BE49-F238E27FC236}">
                <a16:creationId xmlns:a16="http://schemas.microsoft.com/office/drawing/2014/main" id="{2E95D141-652F-054D-B45A-1E13DE1F0ADC}"/>
              </a:ext>
            </a:extLst>
          </p:cNvPr>
          <p:cNvPicPr>
            <a:picLocks noChangeAspect="1"/>
          </p:cNvPicPr>
          <p:nvPr/>
        </p:nvPicPr>
        <p:blipFill rotWithShape="1">
          <a:blip r:embed="rId3"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615675" y="661836"/>
            <a:ext cx="870883" cy="862494"/>
          </a:xfrm>
          <a:prstGeom prst="rect">
            <a:avLst/>
          </a:prstGeom>
        </p:spPr>
      </p:pic>
      <p:sp>
        <p:nvSpPr>
          <p:cNvPr id="102" name="Freeform: Shape 99">
            <a:extLst>
              <a:ext uri="{FF2B5EF4-FFF2-40B4-BE49-F238E27FC236}">
                <a16:creationId xmlns:a16="http://schemas.microsoft.com/office/drawing/2014/main" id="{9B76AD4A-59A4-FE4B-A0FD-5A8DF651597B}"/>
              </a:ext>
            </a:extLst>
          </p:cNvPr>
          <p:cNvSpPr/>
          <p:nvPr/>
        </p:nvSpPr>
        <p:spPr>
          <a:xfrm rot="7495001">
            <a:off x="6198443" y="1476790"/>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03" name="Isosceles Triangle 49">
            <a:extLst>
              <a:ext uri="{FF2B5EF4-FFF2-40B4-BE49-F238E27FC236}">
                <a16:creationId xmlns:a16="http://schemas.microsoft.com/office/drawing/2014/main" id="{25983DC3-6B85-7444-9CE6-8228D66F080E}"/>
              </a:ext>
            </a:extLst>
          </p:cNvPr>
          <p:cNvSpPr/>
          <p:nvPr/>
        </p:nvSpPr>
        <p:spPr>
          <a:xfrm rot="10800000">
            <a:off x="5884703" y="2634005"/>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13" name="Isosceles Triangle 49">
            <a:extLst>
              <a:ext uri="{FF2B5EF4-FFF2-40B4-BE49-F238E27FC236}">
                <a16:creationId xmlns:a16="http://schemas.microsoft.com/office/drawing/2014/main" id="{8B6DA711-3E59-904E-A88D-5FB8DE41983C}"/>
              </a:ext>
            </a:extLst>
          </p:cNvPr>
          <p:cNvSpPr/>
          <p:nvPr/>
        </p:nvSpPr>
        <p:spPr>
          <a:xfrm>
            <a:off x="7587097" y="2775870"/>
            <a:ext cx="655722" cy="5719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D274D">
              <a:alpha val="4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pic>
        <p:nvPicPr>
          <p:cNvPr id="115" name="Picture 661" descr="A close up of a mountain&#10;&#10;Description automatically generated">
            <a:extLst>
              <a:ext uri="{FF2B5EF4-FFF2-40B4-BE49-F238E27FC236}">
                <a16:creationId xmlns:a16="http://schemas.microsoft.com/office/drawing/2014/main" id="{ABE8C10E-2AF8-C540-8291-2EE64A865D68}"/>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7118739" y="3093381"/>
            <a:ext cx="2081140" cy="1036944"/>
          </a:xfrm>
          <a:prstGeom prst="rect">
            <a:avLst/>
          </a:prstGeom>
        </p:spPr>
      </p:pic>
      <p:pic>
        <p:nvPicPr>
          <p:cNvPr id="118" name="Picture 108" descr="A close up of a mountain&#10;&#10;Description automatically generated">
            <a:extLst>
              <a:ext uri="{FF2B5EF4-FFF2-40B4-BE49-F238E27FC236}">
                <a16:creationId xmlns:a16="http://schemas.microsoft.com/office/drawing/2014/main" id="{1C1ECCE1-9C19-AA4E-83AE-A613A8CDA1B7}"/>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963202" y="2797677"/>
            <a:ext cx="2081140" cy="1036944"/>
          </a:xfrm>
          <a:prstGeom prst="rect">
            <a:avLst/>
          </a:prstGeom>
        </p:spPr>
      </p:pic>
      <p:pic>
        <p:nvPicPr>
          <p:cNvPr id="119" name="Picture 7" descr="A close up of a mountain&#10;&#10;Description automatically generated">
            <a:extLst>
              <a:ext uri="{FF2B5EF4-FFF2-40B4-BE49-F238E27FC236}">
                <a16:creationId xmlns:a16="http://schemas.microsoft.com/office/drawing/2014/main" id="{F35A2739-DF5A-5B43-A7D6-5178EEE30E8E}"/>
              </a:ext>
            </a:extLst>
          </p:cNvPr>
          <p:cNvPicPr>
            <a:picLocks noChangeAspect="1"/>
          </p:cNvPicPr>
          <p:nvPr/>
        </p:nvPicPr>
        <p:blipFill>
          <a:blip r:embed="rId5"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24889" y="3187104"/>
            <a:ext cx="2331539" cy="1161707"/>
          </a:xfrm>
          <a:prstGeom prst="rect">
            <a:avLst/>
          </a:prstGeom>
        </p:spPr>
      </p:pic>
      <p:pic>
        <p:nvPicPr>
          <p:cNvPr id="120" name="Picture 668" descr="A close up of a mountain&#10;&#10;Description automatically generated">
            <a:extLst>
              <a:ext uri="{FF2B5EF4-FFF2-40B4-BE49-F238E27FC236}">
                <a16:creationId xmlns:a16="http://schemas.microsoft.com/office/drawing/2014/main" id="{6CE160E5-DC24-8148-90BC-9BACCAFFBB53}"/>
              </a:ext>
            </a:extLst>
          </p:cNvPr>
          <p:cNvPicPr>
            <a:picLocks noChangeAspect="1"/>
          </p:cNvPicPr>
          <p:nvPr/>
        </p:nvPicPr>
        <p:blipFill>
          <a:blip r:embed="rId6" cstate="screen">
            <a:duotone>
              <a:prstClr val="black"/>
              <a:srgbClr val="9E9EA2">
                <a:tint val="45000"/>
                <a:satMod val="400000"/>
              </a:srgbClr>
            </a:duotone>
            <a:extLst>
              <a:ext uri="{BEBA8EAE-BF5A-486C-A8C5-ECC9F3942E4B}">
                <a14:imgProps xmlns:a14="http://schemas.microsoft.com/office/drawing/2010/main">
                  <a14:imgLayer r:embed="rId7">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447776" y="2789446"/>
            <a:ext cx="1723254" cy="858624"/>
          </a:xfrm>
          <a:prstGeom prst="rect">
            <a:avLst/>
          </a:prstGeom>
        </p:spPr>
      </p:pic>
      <p:sp>
        <p:nvSpPr>
          <p:cNvPr id="129" name="Freeform: Shape 85">
            <a:extLst>
              <a:ext uri="{FF2B5EF4-FFF2-40B4-BE49-F238E27FC236}">
                <a16:creationId xmlns:a16="http://schemas.microsoft.com/office/drawing/2014/main" id="{D046B956-4F06-224C-AA70-E839D57616A1}"/>
              </a:ext>
            </a:extLst>
          </p:cNvPr>
          <p:cNvSpPr>
            <a:spLocks noChangeAspect="1"/>
          </p:cNvSpPr>
          <p:nvPr/>
        </p:nvSpPr>
        <p:spPr>
          <a:xfrm rot="16200000">
            <a:off x="7232271" y="2897576"/>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gradFill flip="none" rotWithShape="1">
            <a:gsLst>
              <a:gs pos="0">
                <a:srgbClr val="00BCEB">
                  <a:alpha val="0"/>
                </a:srgbClr>
              </a:gs>
              <a:gs pos="100000">
                <a:srgbClr val="00BCEB"/>
              </a:gs>
            </a:gsLst>
            <a:lin ang="0" scaled="1"/>
            <a:tileRect/>
          </a:gra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sp>
        <p:nvSpPr>
          <p:cNvPr id="145" name="Freeform: Shape 100">
            <a:extLst>
              <a:ext uri="{FF2B5EF4-FFF2-40B4-BE49-F238E27FC236}">
                <a16:creationId xmlns:a16="http://schemas.microsoft.com/office/drawing/2014/main" id="{F3326294-85EE-F842-BD54-4C2CD6D0521C}"/>
              </a:ext>
            </a:extLst>
          </p:cNvPr>
          <p:cNvSpPr/>
          <p:nvPr/>
        </p:nvSpPr>
        <p:spPr>
          <a:xfrm rot="14974915">
            <a:off x="7253969" y="2565313"/>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47" name="Freeform: Shape 86">
            <a:extLst>
              <a:ext uri="{FF2B5EF4-FFF2-40B4-BE49-F238E27FC236}">
                <a16:creationId xmlns:a16="http://schemas.microsoft.com/office/drawing/2014/main" id="{BD9F2A91-1AE4-6347-9197-11F6E741397E}"/>
              </a:ext>
            </a:extLst>
          </p:cNvPr>
          <p:cNvSpPr>
            <a:spLocks noChangeAspect="1"/>
          </p:cNvSpPr>
          <p:nvPr/>
        </p:nvSpPr>
        <p:spPr>
          <a:xfrm rot="16200000">
            <a:off x="6329018" y="3399090"/>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pic>
        <p:nvPicPr>
          <p:cNvPr id="148" name="Picture 105" descr="A close up of a mountain&#10;&#10;Description automatically generated">
            <a:extLst>
              <a:ext uri="{FF2B5EF4-FFF2-40B4-BE49-F238E27FC236}">
                <a16:creationId xmlns:a16="http://schemas.microsoft.com/office/drawing/2014/main" id="{55C14BBD-0BAB-424A-AF84-1641F849443F}"/>
              </a:ext>
            </a:extLst>
          </p:cNvPr>
          <p:cNvPicPr>
            <a:picLocks noChangeAspect="1"/>
          </p:cNvPicPr>
          <p:nvPr/>
        </p:nvPicPr>
        <p:blipFill>
          <a:blip r:embed="rId8"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227632" y="3243454"/>
            <a:ext cx="1790804" cy="892282"/>
          </a:xfrm>
          <a:prstGeom prst="rect">
            <a:avLst/>
          </a:prstGeom>
        </p:spPr>
      </p:pic>
      <p:sp>
        <p:nvSpPr>
          <p:cNvPr id="149" name="Isosceles Triangle 49">
            <a:extLst>
              <a:ext uri="{FF2B5EF4-FFF2-40B4-BE49-F238E27FC236}">
                <a16:creationId xmlns:a16="http://schemas.microsoft.com/office/drawing/2014/main" id="{4A0C276D-0091-BE42-92B4-8C38027F0C1A}"/>
              </a:ext>
            </a:extLst>
          </p:cNvPr>
          <p:cNvSpPr/>
          <p:nvPr/>
        </p:nvSpPr>
        <p:spPr>
          <a:xfrm>
            <a:off x="6663532" y="2480007"/>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0" name="Rectangle: Rounded Corners 31">
            <a:extLst>
              <a:ext uri="{FF2B5EF4-FFF2-40B4-BE49-F238E27FC236}">
                <a16:creationId xmlns:a16="http://schemas.microsoft.com/office/drawing/2014/main" id="{B9FAF043-95FC-7E4B-B353-EBFAF6EFD37C}"/>
              </a:ext>
            </a:extLst>
          </p:cNvPr>
          <p:cNvSpPr/>
          <p:nvPr/>
        </p:nvSpPr>
        <p:spPr>
          <a:xfrm>
            <a:off x="7534892" y="2782237"/>
            <a:ext cx="286589" cy="323600"/>
          </a:xfrm>
          <a:prstGeom prst="roundRect">
            <a:avLst/>
          </a:prstGeom>
          <a:noFill/>
          <a:ln w="9525"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1" name="Rectangle: Rounded Corners 75">
            <a:extLst>
              <a:ext uri="{FF2B5EF4-FFF2-40B4-BE49-F238E27FC236}">
                <a16:creationId xmlns:a16="http://schemas.microsoft.com/office/drawing/2014/main" id="{2272AD7A-2B2A-0F48-9F3E-9A04868F83C0}"/>
              </a:ext>
            </a:extLst>
          </p:cNvPr>
          <p:cNvSpPr/>
          <p:nvPr/>
        </p:nvSpPr>
        <p:spPr>
          <a:xfrm>
            <a:off x="7492772" y="2995960"/>
            <a:ext cx="154211" cy="192649"/>
          </a:xfrm>
          <a:prstGeom prst="roundRect">
            <a:avLst/>
          </a:prstGeom>
          <a:noFill/>
          <a:ln w="12700" cap="flat"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2" name="Rectangle: Rounded Corners 666">
            <a:extLst>
              <a:ext uri="{FF2B5EF4-FFF2-40B4-BE49-F238E27FC236}">
                <a16:creationId xmlns:a16="http://schemas.microsoft.com/office/drawing/2014/main" id="{32E17EA4-4A34-E54D-80D1-958D2113F343}"/>
              </a:ext>
            </a:extLst>
          </p:cNvPr>
          <p:cNvSpPr/>
          <p:nvPr/>
        </p:nvSpPr>
        <p:spPr>
          <a:xfrm>
            <a:off x="6376426" y="2106148"/>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53" name="AutoShape 3">
            <a:extLst>
              <a:ext uri="{FF2B5EF4-FFF2-40B4-BE49-F238E27FC236}">
                <a16:creationId xmlns:a16="http://schemas.microsoft.com/office/drawing/2014/main" id="{524C115D-B278-9A40-8B47-2529BA5901F3}"/>
              </a:ext>
            </a:extLst>
          </p:cNvPr>
          <p:cNvSpPr>
            <a:spLocks noChangeAspect="1" noChangeArrowheads="1" noTextEdit="1"/>
          </p:cNvSpPr>
          <p:nvPr/>
        </p:nvSpPr>
        <p:spPr bwMode="auto">
          <a:xfrm rot="15056671">
            <a:off x="7566004" y="615157"/>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54" name="Freeform 5">
            <a:extLst>
              <a:ext uri="{FF2B5EF4-FFF2-40B4-BE49-F238E27FC236}">
                <a16:creationId xmlns:a16="http://schemas.microsoft.com/office/drawing/2014/main" id="{FBEE219F-CA73-D843-94BF-3BED272C8887}"/>
              </a:ext>
            </a:extLst>
          </p:cNvPr>
          <p:cNvSpPr>
            <a:spLocks/>
          </p:cNvSpPr>
          <p:nvPr/>
        </p:nvSpPr>
        <p:spPr bwMode="auto">
          <a:xfrm rot="21386774">
            <a:off x="7490481" y="587390"/>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55" name="Freeform 6">
            <a:extLst>
              <a:ext uri="{FF2B5EF4-FFF2-40B4-BE49-F238E27FC236}">
                <a16:creationId xmlns:a16="http://schemas.microsoft.com/office/drawing/2014/main" id="{9EC0D2AF-92F5-204D-B423-44E2453A82B7}"/>
              </a:ext>
            </a:extLst>
          </p:cNvPr>
          <p:cNvSpPr>
            <a:spLocks/>
          </p:cNvSpPr>
          <p:nvPr/>
        </p:nvSpPr>
        <p:spPr bwMode="auto">
          <a:xfrm rot="15056671">
            <a:off x="8154161" y="1399966"/>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pic>
        <p:nvPicPr>
          <p:cNvPr id="156" name="Picture 578" descr="A close up of a persons hand&#10;&#10;Description automatically generated">
            <a:extLst>
              <a:ext uri="{FF2B5EF4-FFF2-40B4-BE49-F238E27FC236}">
                <a16:creationId xmlns:a16="http://schemas.microsoft.com/office/drawing/2014/main" id="{377B3A67-B602-4548-BFAC-3578DE8E745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247696" y="399611"/>
            <a:ext cx="2070387" cy="3307335"/>
          </a:xfrm>
          <a:prstGeom prst="rect">
            <a:avLst/>
          </a:prstGeom>
        </p:spPr>
      </p:pic>
      <p:cxnSp>
        <p:nvCxnSpPr>
          <p:cNvPr id="157" name="Straight Connector 68">
            <a:extLst>
              <a:ext uri="{FF2B5EF4-FFF2-40B4-BE49-F238E27FC236}">
                <a16:creationId xmlns:a16="http://schemas.microsoft.com/office/drawing/2014/main" id="{363021D4-D342-DC48-8ED1-2B6B2F4AD089}"/>
              </a:ext>
            </a:extLst>
          </p:cNvPr>
          <p:cNvCxnSpPr>
            <a:cxnSpLocks/>
          </p:cNvCxnSpPr>
          <p:nvPr/>
        </p:nvCxnSpPr>
        <p:spPr>
          <a:xfrm flipV="1">
            <a:off x="8235202" y="547274"/>
            <a:ext cx="258188" cy="286562"/>
          </a:xfrm>
          <a:prstGeom prst="line">
            <a:avLst/>
          </a:prstGeom>
          <a:noFill/>
          <a:ln w="25400" cap="flat" cmpd="sng" algn="ctr">
            <a:solidFill>
              <a:srgbClr val="6EBE4A"/>
            </a:solidFill>
            <a:prstDash val="solid"/>
            <a:miter lim="800000"/>
          </a:ln>
          <a:effectLst/>
        </p:spPr>
      </p:cxnSp>
      <p:cxnSp>
        <p:nvCxnSpPr>
          <p:cNvPr id="158" name="Straight Connector 69">
            <a:extLst>
              <a:ext uri="{FF2B5EF4-FFF2-40B4-BE49-F238E27FC236}">
                <a16:creationId xmlns:a16="http://schemas.microsoft.com/office/drawing/2014/main" id="{47477C75-6819-3D42-8261-2F878C9973D6}"/>
              </a:ext>
            </a:extLst>
          </p:cNvPr>
          <p:cNvCxnSpPr>
            <a:cxnSpLocks/>
          </p:cNvCxnSpPr>
          <p:nvPr/>
        </p:nvCxnSpPr>
        <p:spPr>
          <a:xfrm flipV="1">
            <a:off x="8288657" y="892489"/>
            <a:ext cx="365895" cy="111469"/>
          </a:xfrm>
          <a:prstGeom prst="line">
            <a:avLst/>
          </a:prstGeom>
          <a:noFill/>
          <a:ln w="25400" cap="flat" cmpd="sng" algn="ctr">
            <a:solidFill>
              <a:srgbClr val="6EBE4A"/>
            </a:solidFill>
            <a:prstDash val="solid"/>
            <a:miter lim="800000"/>
          </a:ln>
          <a:effectLst/>
        </p:spPr>
      </p:cxnSp>
      <p:cxnSp>
        <p:nvCxnSpPr>
          <p:cNvPr id="159" name="Straight Connector 70">
            <a:extLst>
              <a:ext uri="{FF2B5EF4-FFF2-40B4-BE49-F238E27FC236}">
                <a16:creationId xmlns:a16="http://schemas.microsoft.com/office/drawing/2014/main" id="{A85ACE86-DC1F-BD48-A1CA-833A57834AEE}"/>
              </a:ext>
            </a:extLst>
          </p:cNvPr>
          <p:cNvCxnSpPr>
            <a:cxnSpLocks/>
          </p:cNvCxnSpPr>
          <p:nvPr/>
        </p:nvCxnSpPr>
        <p:spPr>
          <a:xfrm>
            <a:off x="8289016" y="1192222"/>
            <a:ext cx="377947" cy="83227"/>
          </a:xfrm>
          <a:prstGeom prst="line">
            <a:avLst/>
          </a:prstGeom>
          <a:noFill/>
          <a:ln w="25400" cap="flat" cmpd="sng" algn="ctr">
            <a:solidFill>
              <a:srgbClr val="6EBE4A"/>
            </a:solidFill>
            <a:prstDash val="solid"/>
            <a:miter lim="800000"/>
          </a:ln>
          <a:effectLst/>
        </p:spPr>
      </p:cxnSp>
      <p:sp>
        <p:nvSpPr>
          <p:cNvPr id="160" name="Freeform: Shape 725">
            <a:extLst>
              <a:ext uri="{FF2B5EF4-FFF2-40B4-BE49-F238E27FC236}">
                <a16:creationId xmlns:a16="http://schemas.microsoft.com/office/drawing/2014/main" id="{433C86B4-C42E-F646-B998-D8E2A4E44857}"/>
              </a:ext>
            </a:extLst>
          </p:cNvPr>
          <p:cNvSpPr/>
          <p:nvPr/>
        </p:nvSpPr>
        <p:spPr>
          <a:xfrm>
            <a:off x="6546252" y="651555"/>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61" name="Freeform: Shape 726">
            <a:extLst>
              <a:ext uri="{FF2B5EF4-FFF2-40B4-BE49-F238E27FC236}">
                <a16:creationId xmlns:a16="http://schemas.microsoft.com/office/drawing/2014/main" id="{12EE8E1E-2B96-604F-89D7-4EDC4AEB4B1A}"/>
              </a:ext>
            </a:extLst>
          </p:cNvPr>
          <p:cNvSpPr/>
          <p:nvPr/>
        </p:nvSpPr>
        <p:spPr>
          <a:xfrm>
            <a:off x="6531243" y="678499"/>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62" name="Freeform: Shape 727">
            <a:extLst>
              <a:ext uri="{FF2B5EF4-FFF2-40B4-BE49-F238E27FC236}">
                <a16:creationId xmlns:a16="http://schemas.microsoft.com/office/drawing/2014/main" id="{4FB02D0A-D029-2748-81F9-A5DE3A9D9629}"/>
              </a:ext>
            </a:extLst>
          </p:cNvPr>
          <p:cNvSpPr/>
          <p:nvPr/>
        </p:nvSpPr>
        <p:spPr>
          <a:xfrm>
            <a:off x="6526433" y="705460"/>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63" name="Isosceles Triangle 49">
            <a:extLst>
              <a:ext uri="{FF2B5EF4-FFF2-40B4-BE49-F238E27FC236}">
                <a16:creationId xmlns:a16="http://schemas.microsoft.com/office/drawing/2014/main" id="{4E3176A6-D9F1-7143-9115-C2A05134C1BB}"/>
              </a:ext>
            </a:extLst>
          </p:cNvPr>
          <p:cNvSpPr/>
          <p:nvPr/>
        </p:nvSpPr>
        <p:spPr>
          <a:xfrm>
            <a:off x="6524777" y="2308160"/>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grpSp>
        <p:nvGrpSpPr>
          <p:cNvPr id="164" name="Group 665">
            <a:extLst>
              <a:ext uri="{FF2B5EF4-FFF2-40B4-BE49-F238E27FC236}">
                <a16:creationId xmlns:a16="http://schemas.microsoft.com/office/drawing/2014/main" id="{3F6D033B-2B3E-3B41-B72C-DA021FB91FB1}"/>
              </a:ext>
            </a:extLst>
          </p:cNvPr>
          <p:cNvGrpSpPr/>
          <p:nvPr/>
        </p:nvGrpSpPr>
        <p:grpSpPr>
          <a:xfrm>
            <a:off x="7714424" y="3183284"/>
            <a:ext cx="804863" cy="685591"/>
            <a:chOff x="2147888" y="2814638"/>
            <a:chExt cx="1447800" cy="1231900"/>
          </a:xfrm>
          <a:solidFill>
            <a:srgbClr val="6EBE4A"/>
          </a:solidFill>
        </p:grpSpPr>
        <p:sp>
          <p:nvSpPr>
            <p:cNvPr id="165" name="Freeform 46">
              <a:extLst>
                <a:ext uri="{FF2B5EF4-FFF2-40B4-BE49-F238E27FC236}">
                  <a16:creationId xmlns:a16="http://schemas.microsoft.com/office/drawing/2014/main" id="{8396D0DB-AD3B-574D-BD16-037211EBF003}"/>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66" name="Freeform 47">
              <a:extLst>
                <a:ext uri="{FF2B5EF4-FFF2-40B4-BE49-F238E27FC236}">
                  <a16:creationId xmlns:a16="http://schemas.microsoft.com/office/drawing/2014/main" id="{E1181B1A-A30C-FB48-9F28-2DD688A1598F}"/>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67" name="Freeform 48">
              <a:extLst>
                <a:ext uri="{FF2B5EF4-FFF2-40B4-BE49-F238E27FC236}">
                  <a16:creationId xmlns:a16="http://schemas.microsoft.com/office/drawing/2014/main" id="{189288B3-E293-4A45-A922-D6AA18B00611}"/>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68" name="Freeform 49">
              <a:extLst>
                <a:ext uri="{FF2B5EF4-FFF2-40B4-BE49-F238E27FC236}">
                  <a16:creationId xmlns:a16="http://schemas.microsoft.com/office/drawing/2014/main" id="{33764454-65EC-3144-9AB0-6BAC68051F81}"/>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69" name="Freeform 50">
              <a:extLst>
                <a:ext uri="{FF2B5EF4-FFF2-40B4-BE49-F238E27FC236}">
                  <a16:creationId xmlns:a16="http://schemas.microsoft.com/office/drawing/2014/main" id="{C6B2F7EF-A865-0741-80C6-60CE265665CB}"/>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70" name="Freeform 51">
              <a:extLst>
                <a:ext uri="{FF2B5EF4-FFF2-40B4-BE49-F238E27FC236}">
                  <a16:creationId xmlns:a16="http://schemas.microsoft.com/office/drawing/2014/main" id="{AD827015-6518-304C-A82D-007DC895CF50}"/>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71" name="Freeform 52">
              <a:extLst>
                <a:ext uri="{FF2B5EF4-FFF2-40B4-BE49-F238E27FC236}">
                  <a16:creationId xmlns:a16="http://schemas.microsoft.com/office/drawing/2014/main" id="{0F20C110-2090-574E-853C-F47E2773B899}"/>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72" name="Freeform 53">
              <a:extLst>
                <a:ext uri="{FF2B5EF4-FFF2-40B4-BE49-F238E27FC236}">
                  <a16:creationId xmlns:a16="http://schemas.microsoft.com/office/drawing/2014/main" id="{1A4CE9DD-37EC-F34D-A985-DE588C6D6783}"/>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pic>
        <p:nvPicPr>
          <p:cNvPr id="173" name="Picture 650" descr="A close up of a mountain&#10;&#10;Description automatically generated">
            <a:extLst>
              <a:ext uri="{FF2B5EF4-FFF2-40B4-BE49-F238E27FC236}">
                <a16:creationId xmlns:a16="http://schemas.microsoft.com/office/drawing/2014/main" id="{D673E57F-97DA-AE43-B16B-D08825BD12C5}"/>
              </a:ext>
            </a:extLst>
          </p:cNvPr>
          <p:cNvPicPr>
            <a:picLocks noChangeAspect="1"/>
          </p:cNvPicPr>
          <p:nvPr/>
        </p:nvPicPr>
        <p:blipFill>
          <a:blip r:embed="rId5"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601395" y="3396262"/>
            <a:ext cx="2331539" cy="1161707"/>
          </a:xfrm>
          <a:prstGeom prst="rect">
            <a:avLst/>
          </a:prstGeom>
        </p:spPr>
      </p:pic>
      <p:pic>
        <p:nvPicPr>
          <p:cNvPr id="174" name="Picture 11" descr="A close up of a mountain&#10;&#10;Description automatically generated">
            <a:extLst>
              <a:ext uri="{FF2B5EF4-FFF2-40B4-BE49-F238E27FC236}">
                <a16:creationId xmlns:a16="http://schemas.microsoft.com/office/drawing/2014/main" id="{D43BFAD0-6A81-7E48-B58E-750DF22CD93F}"/>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973307" y="3408735"/>
            <a:ext cx="2081140" cy="1036944"/>
          </a:xfrm>
          <a:prstGeom prst="rect">
            <a:avLst/>
          </a:prstGeom>
        </p:spPr>
      </p:pic>
      <p:pic>
        <p:nvPicPr>
          <p:cNvPr id="175" name="Picture 651" descr="A close up of a mountain&#10;&#10;Description automatically generated">
            <a:extLst>
              <a:ext uri="{FF2B5EF4-FFF2-40B4-BE49-F238E27FC236}">
                <a16:creationId xmlns:a16="http://schemas.microsoft.com/office/drawing/2014/main" id="{BC6CB4E1-CEC0-C54F-B6D3-6EFEA4DE182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a:off x="6712610" y="3536368"/>
            <a:ext cx="2453510" cy="1161707"/>
          </a:xfrm>
          <a:prstGeom prst="rect">
            <a:avLst/>
          </a:prstGeom>
        </p:spPr>
      </p:pic>
      <p:pic>
        <p:nvPicPr>
          <p:cNvPr id="176" name="Picture 652" descr="A close up of a mountain&#10;&#10;Description automatically generated">
            <a:extLst>
              <a:ext uri="{FF2B5EF4-FFF2-40B4-BE49-F238E27FC236}">
                <a16:creationId xmlns:a16="http://schemas.microsoft.com/office/drawing/2014/main" id="{56B1628C-76FB-A44B-829F-273E9FCA3FCB}"/>
              </a:ext>
            </a:extLst>
          </p:cNvPr>
          <p:cNvPicPr>
            <a:picLocks noChangeAspect="1"/>
          </p:cNvPicPr>
          <p:nvPr/>
        </p:nvPicPr>
        <p:blipFill>
          <a:blip r:embed="rId4"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672429" y="3706946"/>
            <a:ext cx="2081140" cy="1036944"/>
          </a:xfrm>
          <a:prstGeom prst="rect">
            <a:avLst/>
          </a:prstGeom>
        </p:spPr>
      </p:pic>
      <p:pic>
        <p:nvPicPr>
          <p:cNvPr id="177" name="Picture 653" descr="A close up of a mountain&#10;&#10;Description automatically generated">
            <a:extLst>
              <a:ext uri="{FF2B5EF4-FFF2-40B4-BE49-F238E27FC236}">
                <a16:creationId xmlns:a16="http://schemas.microsoft.com/office/drawing/2014/main" id="{A0C04F0C-6B56-5948-8243-33141BF82E2A}"/>
              </a:ext>
            </a:extLst>
          </p:cNvPr>
          <p:cNvPicPr>
            <a:picLocks noChangeAspect="1"/>
          </p:cNvPicPr>
          <p:nvPr/>
        </p:nvPicPr>
        <p:blipFill>
          <a:blip r:embed="rId10"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211694" y="3399661"/>
            <a:ext cx="2453510" cy="1161707"/>
          </a:xfrm>
          <a:prstGeom prst="rect">
            <a:avLst/>
          </a:prstGeom>
        </p:spPr>
      </p:pic>
      <p:pic>
        <p:nvPicPr>
          <p:cNvPr id="178" name="Picture 671" descr="A close up of a mountain&#10;&#10;Description automatically generated">
            <a:extLst>
              <a:ext uri="{FF2B5EF4-FFF2-40B4-BE49-F238E27FC236}">
                <a16:creationId xmlns:a16="http://schemas.microsoft.com/office/drawing/2014/main" id="{8C7AC2DB-7FDE-7C46-8EBC-C89E8B1CEBEC}"/>
              </a:ext>
            </a:extLst>
          </p:cNvPr>
          <p:cNvPicPr>
            <a:picLocks noChangeAspect="1"/>
          </p:cNvPicPr>
          <p:nvPr/>
        </p:nvPicPr>
        <p:blipFill>
          <a:blip r:embed="rId11"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816811" y="3439797"/>
            <a:ext cx="1521937" cy="758317"/>
          </a:xfrm>
          <a:prstGeom prst="rect">
            <a:avLst/>
          </a:prstGeom>
        </p:spPr>
      </p:pic>
      <p:sp>
        <p:nvSpPr>
          <p:cNvPr id="181" name="Isosceles Triangle 49">
            <a:extLst>
              <a:ext uri="{FF2B5EF4-FFF2-40B4-BE49-F238E27FC236}">
                <a16:creationId xmlns:a16="http://schemas.microsoft.com/office/drawing/2014/main" id="{CB84D508-0FAE-DC42-97CA-F612F289AD02}"/>
              </a:ext>
            </a:extLst>
          </p:cNvPr>
          <p:cNvSpPr/>
          <p:nvPr/>
        </p:nvSpPr>
        <p:spPr>
          <a:xfrm>
            <a:off x="6043333" y="3323758"/>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84" name="Oval 15">
            <a:extLst>
              <a:ext uri="{FF2B5EF4-FFF2-40B4-BE49-F238E27FC236}">
                <a16:creationId xmlns:a16="http://schemas.microsoft.com/office/drawing/2014/main" id="{B29BEB0A-F52B-9048-AD6E-011775843DC8}"/>
              </a:ext>
            </a:extLst>
          </p:cNvPr>
          <p:cNvSpPr/>
          <p:nvPr/>
        </p:nvSpPr>
        <p:spPr>
          <a:xfrm>
            <a:off x="7255699" y="2988027"/>
            <a:ext cx="555394" cy="555394"/>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85" name="Freeform: Shape 98">
            <a:extLst>
              <a:ext uri="{FF2B5EF4-FFF2-40B4-BE49-F238E27FC236}">
                <a16:creationId xmlns:a16="http://schemas.microsoft.com/office/drawing/2014/main" id="{746F205C-A108-7C4A-A2EE-473264F5C1AC}"/>
              </a:ext>
            </a:extLst>
          </p:cNvPr>
          <p:cNvSpPr/>
          <p:nvPr/>
        </p:nvSpPr>
        <p:spPr>
          <a:xfrm>
            <a:off x="5769459" y="2779506"/>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88" name="Picture 188" descr="A picture containing sitting, black, dark, table&#10;&#10;Description automatically generated">
            <a:extLst>
              <a:ext uri="{FF2B5EF4-FFF2-40B4-BE49-F238E27FC236}">
                <a16:creationId xmlns:a16="http://schemas.microsoft.com/office/drawing/2014/main" id="{273B9545-F770-A94E-AE6D-9E07201BE6A7}"/>
              </a:ext>
            </a:extLst>
          </p:cNvPr>
          <p:cNvPicPr>
            <a:picLocks noChangeAspect="1"/>
          </p:cNvPicPr>
          <p:nvPr/>
        </p:nvPicPr>
        <p:blipFill rotWithShape="1">
          <a:blip r:embed="rId3"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615675" y="661836"/>
            <a:ext cx="870883" cy="862494"/>
          </a:xfrm>
          <a:prstGeom prst="rect">
            <a:avLst/>
          </a:prstGeom>
        </p:spPr>
      </p:pic>
      <p:sp>
        <p:nvSpPr>
          <p:cNvPr id="3" name="Rectangle 2">
            <a:extLst>
              <a:ext uri="{FF2B5EF4-FFF2-40B4-BE49-F238E27FC236}">
                <a16:creationId xmlns:a16="http://schemas.microsoft.com/office/drawing/2014/main" id="{9D594293-BAB4-4F41-910F-D4556334D86D}"/>
              </a:ext>
            </a:extLst>
          </p:cNvPr>
          <p:cNvSpPr/>
          <p:nvPr/>
        </p:nvSpPr>
        <p:spPr>
          <a:xfrm>
            <a:off x="512666" y="3342772"/>
            <a:ext cx="4572000" cy="907941"/>
          </a:xfrm>
          <a:prstGeom prst="rect">
            <a:avLst/>
          </a:prstGeom>
        </p:spPr>
        <p:txBody>
          <a:bodyPr>
            <a:spAutoFit/>
          </a:bodyPr>
          <a:lstStyle/>
          <a:p>
            <a:pPr lvl="0" defTabSz="684213" fontAlgn="base">
              <a:spcAft>
                <a:spcPts val="600"/>
              </a:spcAft>
              <a:buClr>
                <a:srgbClr val="6EBE4A"/>
              </a:buClr>
              <a:buSzPct val="90000"/>
              <a:defRPr/>
            </a:pPr>
            <a:r>
              <a:rPr lang="en-US" sz="2400" err="1">
                <a:solidFill>
                  <a:srgbClr val="1E4471"/>
                </a:solidFill>
                <a:ea typeface="ＭＳ Ｐゴシック" charset="0"/>
                <a:cs typeface="CiscoSans"/>
              </a:rPr>
              <a:t>cisco.com</a:t>
            </a:r>
            <a:r>
              <a:rPr lang="en-US" sz="2400">
                <a:solidFill>
                  <a:srgbClr val="1E4471"/>
                </a:solidFill>
                <a:ea typeface="ＭＳ Ｐゴシック" charset="0"/>
                <a:cs typeface="CiscoSans"/>
              </a:rPr>
              <a:t>/go/</a:t>
            </a:r>
            <a:r>
              <a:rPr lang="en-US" sz="2400" err="1">
                <a:solidFill>
                  <a:srgbClr val="6EBE4A"/>
                </a:solidFill>
                <a:ea typeface="ＭＳ Ｐゴシック" charset="0"/>
                <a:cs typeface="CiscoSans"/>
              </a:rPr>
              <a:t>securex</a:t>
            </a:r>
            <a:endParaRPr lang="en-US" sz="2400">
              <a:solidFill>
                <a:srgbClr val="6EBE4A"/>
              </a:solidFill>
              <a:ea typeface="ＭＳ Ｐゴシック" charset="0"/>
              <a:cs typeface="CiscoSans"/>
            </a:endParaRPr>
          </a:p>
          <a:p>
            <a:pPr lvl="0" defTabSz="684213" fontAlgn="base">
              <a:spcAft>
                <a:spcPts val="600"/>
              </a:spcAft>
              <a:buClr>
                <a:srgbClr val="6EBE4A"/>
              </a:buClr>
              <a:buSzPct val="90000"/>
              <a:defRPr/>
            </a:pPr>
            <a:r>
              <a:rPr lang="en-US" sz="2400" err="1">
                <a:solidFill>
                  <a:srgbClr val="1E4471"/>
                </a:solidFill>
                <a:ea typeface="ＭＳ Ｐゴシック" charset="0"/>
                <a:cs typeface="CiscoSans"/>
              </a:rPr>
              <a:t>learningnetwork.cisco.com</a:t>
            </a:r>
            <a:endParaRPr lang="en-US" sz="2400">
              <a:solidFill>
                <a:srgbClr val="6EBE4A"/>
              </a:solidFill>
              <a:ea typeface="ＭＳ Ｐゴシック" charset="0"/>
              <a:cs typeface="CiscoSans"/>
            </a:endParaRPr>
          </a:p>
        </p:txBody>
      </p:sp>
    </p:spTree>
    <p:extLst>
      <p:ext uri="{BB962C8B-B14F-4D97-AF65-F5344CB8AC3E}">
        <p14:creationId xmlns:p14="http://schemas.microsoft.com/office/powerpoint/2010/main" val="4219434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DAA463E-0C4B-4BC0-859A-1C50913A20F7}"/>
              </a:ext>
            </a:extLst>
          </p:cNvPr>
          <p:cNvSpPr>
            <a:spLocks noGrp="1"/>
          </p:cNvSpPr>
          <p:nvPr>
            <p:ph type="ftr" sz="quarter" idx="4294967295"/>
          </p:nvPr>
        </p:nvSpPr>
        <p:spPr>
          <a:xfrm>
            <a:off x="0" y="6365875"/>
            <a:ext cx="3568700" cy="123825"/>
          </a:xfrm>
          <a:prstGeom prst="rect">
            <a:avLst/>
          </a:prstGeom>
        </p:spPr>
        <p:txBody>
          <a:bodyPr vert="horz" wrap="none" lIns="0" tIns="0" rIns="0" bIns="0" rtlCol="0" anchor="ctr">
            <a:spAutoFit/>
          </a:bodyPr>
          <a:lstStyle>
            <a:defPPr>
              <a:defRPr lang="en-US"/>
            </a:defPPr>
            <a:lvl1pPr marL="0" marR="0" indent="0" algn="l" defTabSz="914400" rtl="0" eaLnBrk="1" fontAlgn="auto" latinLnBrk="0" hangingPunct="1">
              <a:lnSpc>
                <a:spcPct val="100000"/>
              </a:lnSpc>
              <a:spcBef>
                <a:spcPts val="0"/>
              </a:spcBef>
              <a:spcAft>
                <a:spcPts val="0"/>
              </a:spcAft>
              <a:buClrTx/>
              <a:buSzTx/>
              <a:buFontTx/>
              <a:buNone/>
              <a:tabLst/>
              <a:defRPr lang="en-US" sz="800" kern="1200" spc="27" smtClean="0">
                <a:solidFill>
                  <a:srgbClr val="FFFFFF">
                    <a:lumMod val="65000"/>
                  </a:srgbClr>
                </a:solidFill>
                <a:latin typeface="+mn-lt"/>
                <a:ea typeface="+mn-ea"/>
                <a:cs typeface="CiscoSans Thin"/>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27" normalizeH="0" baseline="0" noProof="0">
                <a:ln>
                  <a:noFill/>
                </a:ln>
                <a:solidFill>
                  <a:srgbClr val="FFFFFF">
                    <a:lumMod val="65000"/>
                  </a:srgbClr>
                </a:solidFill>
                <a:effectLst/>
                <a:uLnTx/>
                <a:uFillTx/>
                <a:latin typeface="CiscoSansTT ExtraLight"/>
                <a:ea typeface="+mn-ea"/>
              </a:rPr>
              <a:t>© 2020 Cisco and/or its affiliates. All rights reserved. Cisco Confidential</a:t>
            </a:r>
            <a:endParaRPr kumimoji="0" lang="en-US" sz="600" b="0" i="0" u="none" strike="noStrike" kern="1200" cap="none" spc="20" normalizeH="0" baseline="0" noProof="0">
              <a:ln>
                <a:noFill/>
              </a:ln>
              <a:solidFill>
                <a:srgbClr val="FFFFFF">
                  <a:lumMod val="65000"/>
                </a:srgbClr>
              </a:solidFill>
              <a:effectLst/>
              <a:uLnTx/>
              <a:uFillTx/>
              <a:latin typeface="CiscoSansTT ExtraLight"/>
              <a:ea typeface="+mn-ea"/>
              <a:cs typeface="CiscoSans Thin"/>
            </a:endParaRPr>
          </a:p>
        </p:txBody>
      </p:sp>
      <p:grpSp>
        <p:nvGrpSpPr>
          <p:cNvPr id="250" name="Group 249">
            <a:extLst>
              <a:ext uri="{FF2B5EF4-FFF2-40B4-BE49-F238E27FC236}">
                <a16:creationId xmlns:a16="http://schemas.microsoft.com/office/drawing/2014/main" id="{7EAF86E1-0F38-B74B-99BD-317AC861E555}"/>
              </a:ext>
            </a:extLst>
          </p:cNvPr>
          <p:cNvGrpSpPr/>
          <p:nvPr/>
        </p:nvGrpSpPr>
        <p:grpSpPr>
          <a:xfrm>
            <a:off x="1254909" y="177166"/>
            <a:ext cx="6483503" cy="4789169"/>
            <a:chOff x="2055885" y="804826"/>
            <a:chExt cx="6748985" cy="4985275"/>
          </a:xfrm>
        </p:grpSpPr>
        <p:sp>
          <p:nvSpPr>
            <p:cNvPr id="251" name="Freeform: Shape 6">
              <a:extLst>
                <a:ext uri="{FF2B5EF4-FFF2-40B4-BE49-F238E27FC236}">
                  <a16:creationId xmlns:a16="http://schemas.microsoft.com/office/drawing/2014/main" id="{09779E12-9C48-0F40-B2B1-5B465775E571}"/>
                </a:ext>
              </a:extLst>
            </p:cNvPr>
            <p:cNvSpPr/>
            <p:nvPr/>
          </p:nvSpPr>
          <p:spPr>
            <a:xfrm>
              <a:off x="2715452" y="911303"/>
              <a:ext cx="3385505" cy="3385505"/>
            </a:xfrm>
            <a:custGeom>
              <a:avLst/>
              <a:gdLst>
                <a:gd name="connsiteX0" fmla="*/ 3385505 w 3385505"/>
                <a:gd name="connsiteY0" fmla="*/ 1692753 h 3385505"/>
                <a:gd name="connsiteX1" fmla="*/ 1692753 w 3385505"/>
                <a:gd name="connsiteY1" fmla="*/ 3385505 h 3385505"/>
                <a:gd name="connsiteX2" fmla="*/ 0 w 3385505"/>
                <a:gd name="connsiteY2" fmla="*/ 1692753 h 3385505"/>
                <a:gd name="connsiteX3" fmla="*/ 1692753 w 3385505"/>
                <a:gd name="connsiteY3" fmla="*/ 0 h 3385505"/>
                <a:gd name="connsiteX4" fmla="*/ 3385505 w 3385505"/>
                <a:gd name="connsiteY4" fmla="*/ 1692753 h 3385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5505" h="3385505">
                  <a:moveTo>
                    <a:pt x="3385505" y="1692753"/>
                  </a:moveTo>
                  <a:cubicBezTo>
                    <a:pt x="3385505" y="2627634"/>
                    <a:pt x="2627634" y="3385505"/>
                    <a:pt x="1692753" y="3385505"/>
                  </a:cubicBezTo>
                  <a:cubicBezTo>
                    <a:pt x="757871" y="3385505"/>
                    <a:pt x="0" y="2627634"/>
                    <a:pt x="0" y="1692753"/>
                  </a:cubicBezTo>
                  <a:cubicBezTo>
                    <a:pt x="0" y="757871"/>
                    <a:pt x="757871" y="0"/>
                    <a:pt x="1692753" y="0"/>
                  </a:cubicBezTo>
                  <a:cubicBezTo>
                    <a:pt x="2627634" y="0"/>
                    <a:pt x="3385505" y="757871"/>
                    <a:pt x="3385505" y="1692753"/>
                  </a:cubicBezTo>
                  <a:close/>
                </a:path>
              </a:pathLst>
            </a:custGeom>
            <a:solidFill>
              <a:srgbClr val="6CBE4C"/>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pic>
          <p:nvPicPr>
            <p:cNvPr id="252" name="Picture 251" descr="A person with collar shirt&#10;&#10;Description automatically generated">
              <a:extLst>
                <a:ext uri="{FF2B5EF4-FFF2-40B4-BE49-F238E27FC236}">
                  <a16:creationId xmlns:a16="http://schemas.microsoft.com/office/drawing/2014/main" id="{AE17E42A-253B-4942-98F9-C01F9F26CFAA}"/>
                </a:ext>
              </a:extLst>
            </p:cNvPr>
            <p:cNvPicPr>
              <a:picLocks noChangeAspect="1"/>
            </p:cNvPicPr>
            <p:nvPr/>
          </p:nvPicPr>
          <p:blipFill rotWithShape="1">
            <a:blip r:embed="rId3"/>
            <a:srcRect l="32972" t="4949" r="32972" b="3534"/>
            <a:stretch/>
          </p:blipFill>
          <p:spPr>
            <a:xfrm>
              <a:off x="3839995" y="868387"/>
              <a:ext cx="2720196" cy="4111889"/>
            </a:xfrm>
            <a:prstGeom prst="rect">
              <a:avLst/>
            </a:prstGeom>
          </p:spPr>
        </p:pic>
        <p:sp>
          <p:nvSpPr>
            <p:cNvPr id="253" name="Freeform: Shape 8">
              <a:extLst>
                <a:ext uri="{FF2B5EF4-FFF2-40B4-BE49-F238E27FC236}">
                  <a16:creationId xmlns:a16="http://schemas.microsoft.com/office/drawing/2014/main" id="{85039E08-F337-E948-97F2-6AD4A4FF5254}"/>
                </a:ext>
              </a:extLst>
            </p:cNvPr>
            <p:cNvSpPr/>
            <p:nvPr/>
          </p:nvSpPr>
          <p:spPr>
            <a:xfrm>
              <a:off x="4581168" y="2767565"/>
              <a:ext cx="3906385" cy="943244"/>
            </a:xfrm>
            <a:custGeom>
              <a:avLst/>
              <a:gdLst>
                <a:gd name="connsiteX0" fmla="*/ 0 w 3906385"/>
                <a:gd name="connsiteY0" fmla="*/ 0 h 943244"/>
                <a:gd name="connsiteX1" fmla="*/ 3906385 w 3906385"/>
                <a:gd name="connsiteY1" fmla="*/ 0 h 943244"/>
                <a:gd name="connsiteX2" fmla="*/ 3906385 w 3906385"/>
                <a:gd name="connsiteY2" fmla="*/ 943244 h 943244"/>
                <a:gd name="connsiteX3" fmla="*/ 0 w 3906385"/>
                <a:gd name="connsiteY3" fmla="*/ 943244 h 943244"/>
              </a:gdLst>
              <a:ahLst/>
              <a:cxnLst>
                <a:cxn ang="0">
                  <a:pos x="connsiteX0" y="connsiteY0"/>
                </a:cxn>
                <a:cxn ang="0">
                  <a:pos x="connsiteX1" y="connsiteY1"/>
                </a:cxn>
                <a:cxn ang="0">
                  <a:pos x="connsiteX2" y="connsiteY2"/>
                </a:cxn>
                <a:cxn ang="0">
                  <a:pos x="connsiteX3" y="connsiteY3"/>
                </a:cxn>
              </a:cxnLst>
              <a:rect l="l" t="t" r="r" b="b"/>
              <a:pathLst>
                <a:path w="3906385" h="943244">
                  <a:moveTo>
                    <a:pt x="0" y="0"/>
                  </a:moveTo>
                  <a:lnTo>
                    <a:pt x="3906385" y="0"/>
                  </a:lnTo>
                  <a:lnTo>
                    <a:pt x="3906385" y="943244"/>
                  </a:lnTo>
                  <a:lnTo>
                    <a:pt x="0" y="943244"/>
                  </a:lnTo>
                  <a:close/>
                </a:path>
              </a:pathLst>
            </a:custGeom>
            <a:solidFill>
              <a:srgbClr val="FFFFFF">
                <a:lumMod val="95000"/>
              </a:srgbClr>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4" name="Freeform: Shape 13">
              <a:extLst>
                <a:ext uri="{FF2B5EF4-FFF2-40B4-BE49-F238E27FC236}">
                  <a16:creationId xmlns:a16="http://schemas.microsoft.com/office/drawing/2014/main" id="{F5672628-61B1-AA49-BD47-41767451D9ED}"/>
                </a:ext>
              </a:extLst>
            </p:cNvPr>
            <p:cNvSpPr/>
            <p:nvPr/>
          </p:nvSpPr>
          <p:spPr>
            <a:xfrm>
              <a:off x="5009876" y="804826"/>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5" name="Freeform: Shape 14">
              <a:extLst>
                <a:ext uri="{FF2B5EF4-FFF2-40B4-BE49-F238E27FC236}">
                  <a16:creationId xmlns:a16="http://schemas.microsoft.com/office/drawing/2014/main" id="{6D08191E-E888-5145-9B23-366D4EEFF800}"/>
                </a:ext>
              </a:extLst>
            </p:cNvPr>
            <p:cNvSpPr/>
            <p:nvPr/>
          </p:nvSpPr>
          <p:spPr>
            <a:xfrm>
              <a:off x="5476772"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6" name="Freeform: Shape 15">
              <a:extLst>
                <a:ext uri="{FF2B5EF4-FFF2-40B4-BE49-F238E27FC236}">
                  <a16:creationId xmlns:a16="http://schemas.microsoft.com/office/drawing/2014/main" id="{252D0AD9-5BC5-CD4A-87F4-3D6B7725871C}"/>
                </a:ext>
              </a:extLst>
            </p:cNvPr>
            <p:cNvSpPr/>
            <p:nvPr/>
          </p:nvSpPr>
          <p:spPr>
            <a:xfrm>
              <a:off x="5943605"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7" name="Freeform: Shape 16">
              <a:extLst>
                <a:ext uri="{FF2B5EF4-FFF2-40B4-BE49-F238E27FC236}">
                  <a16:creationId xmlns:a16="http://schemas.microsoft.com/office/drawing/2014/main" id="{1FF8C52C-A2B3-DD43-B8AF-F6E287127AD1}"/>
                </a:ext>
              </a:extLst>
            </p:cNvPr>
            <p:cNvSpPr/>
            <p:nvPr/>
          </p:nvSpPr>
          <p:spPr>
            <a:xfrm>
              <a:off x="6410500"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8" name="Freeform: Shape 17">
              <a:extLst>
                <a:ext uri="{FF2B5EF4-FFF2-40B4-BE49-F238E27FC236}">
                  <a16:creationId xmlns:a16="http://schemas.microsoft.com/office/drawing/2014/main" id="{3449F104-E45D-2343-B286-7D4AD27BE06F}"/>
                </a:ext>
              </a:extLst>
            </p:cNvPr>
            <p:cNvSpPr/>
            <p:nvPr/>
          </p:nvSpPr>
          <p:spPr>
            <a:xfrm>
              <a:off x="6877334" y="804826"/>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59" name="Freeform: Shape 18">
              <a:extLst>
                <a:ext uri="{FF2B5EF4-FFF2-40B4-BE49-F238E27FC236}">
                  <a16:creationId xmlns:a16="http://schemas.microsoft.com/office/drawing/2014/main" id="{323B19F3-5D6B-3044-A496-B67DEB65E4DC}"/>
                </a:ext>
              </a:extLst>
            </p:cNvPr>
            <p:cNvSpPr/>
            <p:nvPr/>
          </p:nvSpPr>
          <p:spPr>
            <a:xfrm>
              <a:off x="5943605"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0" name="Freeform: Shape 19">
              <a:extLst>
                <a:ext uri="{FF2B5EF4-FFF2-40B4-BE49-F238E27FC236}">
                  <a16:creationId xmlns:a16="http://schemas.microsoft.com/office/drawing/2014/main" id="{92C0F976-5BAC-7A45-B0BA-95B8F3B00A9A}"/>
                </a:ext>
              </a:extLst>
            </p:cNvPr>
            <p:cNvSpPr/>
            <p:nvPr/>
          </p:nvSpPr>
          <p:spPr>
            <a:xfrm>
              <a:off x="6410500"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1" name="Freeform: Shape 20">
              <a:extLst>
                <a:ext uri="{FF2B5EF4-FFF2-40B4-BE49-F238E27FC236}">
                  <a16:creationId xmlns:a16="http://schemas.microsoft.com/office/drawing/2014/main" id="{C99E03E9-5421-5541-BF7E-3E40185F5A06}"/>
                </a:ext>
              </a:extLst>
            </p:cNvPr>
            <p:cNvSpPr/>
            <p:nvPr/>
          </p:nvSpPr>
          <p:spPr>
            <a:xfrm>
              <a:off x="6877334" y="125579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2" name="Freeform: Shape 21">
              <a:extLst>
                <a:ext uri="{FF2B5EF4-FFF2-40B4-BE49-F238E27FC236}">
                  <a16:creationId xmlns:a16="http://schemas.microsoft.com/office/drawing/2014/main" id="{05067039-2508-5E49-AF52-E096869A4076}"/>
                </a:ext>
              </a:extLst>
            </p:cNvPr>
            <p:cNvSpPr/>
            <p:nvPr/>
          </p:nvSpPr>
          <p:spPr>
            <a:xfrm>
              <a:off x="7342052" y="125579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3" name="Freeform: Shape 22">
              <a:extLst>
                <a:ext uri="{FF2B5EF4-FFF2-40B4-BE49-F238E27FC236}">
                  <a16:creationId xmlns:a16="http://schemas.microsoft.com/office/drawing/2014/main" id="{92901EA7-0EF3-4949-B26C-E7F4269F5535}"/>
                </a:ext>
              </a:extLst>
            </p:cNvPr>
            <p:cNvSpPr/>
            <p:nvPr/>
          </p:nvSpPr>
          <p:spPr>
            <a:xfrm>
              <a:off x="7806833" y="125579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4" name="Freeform: Shape 23">
              <a:extLst>
                <a:ext uri="{FF2B5EF4-FFF2-40B4-BE49-F238E27FC236}">
                  <a16:creationId xmlns:a16="http://schemas.microsoft.com/office/drawing/2014/main" id="{1BBCE23B-8B61-6542-9BEC-F5B175AE16B6}"/>
                </a:ext>
              </a:extLst>
            </p:cNvPr>
            <p:cNvSpPr/>
            <p:nvPr/>
          </p:nvSpPr>
          <p:spPr>
            <a:xfrm>
              <a:off x="5943605"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5" name="Freeform: Shape 24">
              <a:extLst>
                <a:ext uri="{FF2B5EF4-FFF2-40B4-BE49-F238E27FC236}">
                  <a16:creationId xmlns:a16="http://schemas.microsoft.com/office/drawing/2014/main" id="{F516AC88-C0D0-604F-9C89-467A9061CAC7}"/>
                </a:ext>
              </a:extLst>
            </p:cNvPr>
            <p:cNvSpPr/>
            <p:nvPr/>
          </p:nvSpPr>
          <p:spPr>
            <a:xfrm>
              <a:off x="6410500"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6" name="Freeform: Shape 25">
              <a:extLst>
                <a:ext uri="{FF2B5EF4-FFF2-40B4-BE49-F238E27FC236}">
                  <a16:creationId xmlns:a16="http://schemas.microsoft.com/office/drawing/2014/main" id="{250D1962-1911-544E-9ACF-ED60B342A71A}"/>
                </a:ext>
              </a:extLst>
            </p:cNvPr>
            <p:cNvSpPr/>
            <p:nvPr/>
          </p:nvSpPr>
          <p:spPr>
            <a:xfrm>
              <a:off x="6877334" y="1706773"/>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7" name="Freeform: Shape 26">
              <a:extLst>
                <a:ext uri="{FF2B5EF4-FFF2-40B4-BE49-F238E27FC236}">
                  <a16:creationId xmlns:a16="http://schemas.microsoft.com/office/drawing/2014/main" id="{045F4D58-C732-CB4A-857C-F6BEA637F0CA}"/>
                </a:ext>
              </a:extLst>
            </p:cNvPr>
            <p:cNvSpPr/>
            <p:nvPr/>
          </p:nvSpPr>
          <p:spPr>
            <a:xfrm>
              <a:off x="7342052" y="170677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8" name="Freeform: Shape 27">
              <a:extLst>
                <a:ext uri="{FF2B5EF4-FFF2-40B4-BE49-F238E27FC236}">
                  <a16:creationId xmlns:a16="http://schemas.microsoft.com/office/drawing/2014/main" id="{71C0266F-10E0-BC40-980D-9C509EA9463F}"/>
                </a:ext>
              </a:extLst>
            </p:cNvPr>
            <p:cNvSpPr/>
            <p:nvPr/>
          </p:nvSpPr>
          <p:spPr>
            <a:xfrm>
              <a:off x="7806833" y="170677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69" name="Freeform: Shape 28">
              <a:extLst>
                <a:ext uri="{FF2B5EF4-FFF2-40B4-BE49-F238E27FC236}">
                  <a16:creationId xmlns:a16="http://schemas.microsoft.com/office/drawing/2014/main" id="{50296CBC-3928-5946-8DB2-993C20E50307}"/>
                </a:ext>
              </a:extLst>
            </p:cNvPr>
            <p:cNvSpPr/>
            <p:nvPr/>
          </p:nvSpPr>
          <p:spPr>
            <a:xfrm>
              <a:off x="8276030" y="1706773"/>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0" name="Freeform: Shape 29">
              <a:extLst>
                <a:ext uri="{FF2B5EF4-FFF2-40B4-BE49-F238E27FC236}">
                  <a16:creationId xmlns:a16="http://schemas.microsoft.com/office/drawing/2014/main" id="{B62AE608-4236-C042-A752-FBFA830C28E3}"/>
                </a:ext>
              </a:extLst>
            </p:cNvPr>
            <p:cNvSpPr/>
            <p:nvPr/>
          </p:nvSpPr>
          <p:spPr>
            <a:xfrm>
              <a:off x="6410500" y="260405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1" name="Freeform: Shape 30">
              <a:extLst>
                <a:ext uri="{FF2B5EF4-FFF2-40B4-BE49-F238E27FC236}">
                  <a16:creationId xmlns:a16="http://schemas.microsoft.com/office/drawing/2014/main" id="{B22A80F2-FFEF-7143-BBAC-EEF555E4B765}"/>
                </a:ext>
              </a:extLst>
            </p:cNvPr>
            <p:cNvSpPr/>
            <p:nvPr/>
          </p:nvSpPr>
          <p:spPr>
            <a:xfrm>
              <a:off x="6877334" y="2604055"/>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2" name="Freeform: Shape 31">
              <a:extLst>
                <a:ext uri="{FF2B5EF4-FFF2-40B4-BE49-F238E27FC236}">
                  <a16:creationId xmlns:a16="http://schemas.microsoft.com/office/drawing/2014/main" id="{CA237C1F-E5A1-5647-8B90-8830A5998F9F}"/>
                </a:ext>
              </a:extLst>
            </p:cNvPr>
            <p:cNvSpPr/>
            <p:nvPr/>
          </p:nvSpPr>
          <p:spPr>
            <a:xfrm>
              <a:off x="7342052" y="2604055"/>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3" name="Freeform: Shape 32">
              <a:extLst>
                <a:ext uri="{FF2B5EF4-FFF2-40B4-BE49-F238E27FC236}">
                  <a16:creationId xmlns:a16="http://schemas.microsoft.com/office/drawing/2014/main" id="{A0B3B04E-B3CC-0849-A351-DF9B5418C963}"/>
                </a:ext>
              </a:extLst>
            </p:cNvPr>
            <p:cNvSpPr/>
            <p:nvPr/>
          </p:nvSpPr>
          <p:spPr>
            <a:xfrm>
              <a:off x="7806833" y="2604055"/>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4" name="Freeform: Shape 33">
              <a:extLst>
                <a:ext uri="{FF2B5EF4-FFF2-40B4-BE49-F238E27FC236}">
                  <a16:creationId xmlns:a16="http://schemas.microsoft.com/office/drawing/2014/main" id="{CCD9F310-7573-CB42-90C7-B2DD38DF34B7}"/>
                </a:ext>
              </a:extLst>
            </p:cNvPr>
            <p:cNvSpPr/>
            <p:nvPr/>
          </p:nvSpPr>
          <p:spPr>
            <a:xfrm>
              <a:off x="8276030" y="2604055"/>
              <a:ext cx="63562" cy="63562"/>
            </a:xfrm>
            <a:custGeom>
              <a:avLst/>
              <a:gdLst>
                <a:gd name="connsiteX0" fmla="*/ 63563 w 63562"/>
                <a:gd name="connsiteY0" fmla="*/ 31781 h 63562"/>
                <a:gd name="connsiteX1" fmla="*/ 31782 w 63562"/>
                <a:gd name="connsiteY1" fmla="*/ 63563 h 63562"/>
                <a:gd name="connsiteX2" fmla="*/ 1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30" y="63563"/>
                    <a:pt x="1" y="49334"/>
                    <a:pt x="1" y="31781"/>
                  </a:cubicBezTo>
                  <a:cubicBezTo>
                    <a:pt x="1"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5" name="Freeform: Shape 34">
              <a:extLst>
                <a:ext uri="{FF2B5EF4-FFF2-40B4-BE49-F238E27FC236}">
                  <a16:creationId xmlns:a16="http://schemas.microsoft.com/office/drawing/2014/main" id="{9BF73E12-92A4-FA46-B43C-36DC074CE6D4}"/>
                </a:ext>
              </a:extLst>
            </p:cNvPr>
            <p:cNvSpPr/>
            <p:nvPr/>
          </p:nvSpPr>
          <p:spPr>
            <a:xfrm>
              <a:off x="8276030" y="2150594"/>
              <a:ext cx="63562" cy="63562"/>
            </a:xfrm>
            <a:custGeom>
              <a:avLst/>
              <a:gdLst>
                <a:gd name="connsiteX0" fmla="*/ 63563 w 63562"/>
                <a:gd name="connsiteY0" fmla="*/ 31782 h 63562"/>
                <a:gd name="connsiteX1" fmla="*/ 31782 w 63562"/>
                <a:gd name="connsiteY1" fmla="*/ 63563 h 63562"/>
                <a:gd name="connsiteX2" fmla="*/ 1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1" y="49334"/>
                    <a:pt x="1" y="31782"/>
                  </a:cubicBezTo>
                  <a:cubicBezTo>
                    <a:pt x="1"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6" name="Freeform: Shape 35">
              <a:extLst>
                <a:ext uri="{FF2B5EF4-FFF2-40B4-BE49-F238E27FC236}">
                  <a16:creationId xmlns:a16="http://schemas.microsoft.com/office/drawing/2014/main" id="{E57B7CB5-CDE0-D14D-8949-019BCAC0DC31}"/>
                </a:ext>
              </a:extLst>
            </p:cNvPr>
            <p:cNvSpPr/>
            <p:nvPr/>
          </p:nvSpPr>
          <p:spPr>
            <a:xfrm>
              <a:off x="8741308"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7" name="Freeform: Shape 36">
              <a:extLst>
                <a:ext uri="{FF2B5EF4-FFF2-40B4-BE49-F238E27FC236}">
                  <a16:creationId xmlns:a16="http://schemas.microsoft.com/office/drawing/2014/main" id="{8BE0C59D-85E1-F64A-8497-9F5FBA61A106}"/>
                </a:ext>
              </a:extLst>
            </p:cNvPr>
            <p:cNvSpPr/>
            <p:nvPr/>
          </p:nvSpPr>
          <p:spPr>
            <a:xfrm>
              <a:off x="8741308" y="2596841"/>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8" name="Freeform: Shape 37">
              <a:extLst>
                <a:ext uri="{FF2B5EF4-FFF2-40B4-BE49-F238E27FC236}">
                  <a16:creationId xmlns:a16="http://schemas.microsoft.com/office/drawing/2014/main" id="{D05094C0-F211-9447-A415-B7A9A875CE95}"/>
                </a:ext>
              </a:extLst>
            </p:cNvPr>
            <p:cNvSpPr/>
            <p:nvPr/>
          </p:nvSpPr>
          <p:spPr>
            <a:xfrm>
              <a:off x="6407142"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79" name="Freeform: Shape 39">
              <a:extLst>
                <a:ext uri="{FF2B5EF4-FFF2-40B4-BE49-F238E27FC236}">
                  <a16:creationId xmlns:a16="http://schemas.microsoft.com/office/drawing/2014/main" id="{6ACA60F0-99BE-7843-9F1E-CD28CCD17517}"/>
                </a:ext>
              </a:extLst>
            </p:cNvPr>
            <p:cNvSpPr/>
            <p:nvPr/>
          </p:nvSpPr>
          <p:spPr>
            <a:xfrm>
              <a:off x="3143911" y="393950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0" name="Freeform: Shape 40">
              <a:extLst>
                <a:ext uri="{FF2B5EF4-FFF2-40B4-BE49-F238E27FC236}">
                  <a16:creationId xmlns:a16="http://schemas.microsoft.com/office/drawing/2014/main" id="{E5C4DE43-05E7-7E46-B675-9543A0FF1D62}"/>
                </a:ext>
              </a:extLst>
            </p:cNvPr>
            <p:cNvSpPr/>
            <p:nvPr/>
          </p:nvSpPr>
          <p:spPr>
            <a:xfrm>
              <a:off x="3143911" y="4385746"/>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1" name="Freeform: Shape 43">
              <a:extLst>
                <a:ext uri="{FF2B5EF4-FFF2-40B4-BE49-F238E27FC236}">
                  <a16:creationId xmlns:a16="http://schemas.microsoft.com/office/drawing/2014/main" id="{5226688C-B4A2-6A40-87AE-177DB8A12441}"/>
                </a:ext>
              </a:extLst>
            </p:cNvPr>
            <p:cNvSpPr/>
            <p:nvPr/>
          </p:nvSpPr>
          <p:spPr>
            <a:xfrm>
              <a:off x="3609128" y="483777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2" name="Freeform: Shape 44">
              <a:extLst>
                <a:ext uri="{FF2B5EF4-FFF2-40B4-BE49-F238E27FC236}">
                  <a16:creationId xmlns:a16="http://schemas.microsoft.com/office/drawing/2014/main" id="{0707A8E8-6977-494C-BCA9-64855EA597B9}"/>
                </a:ext>
              </a:extLst>
            </p:cNvPr>
            <p:cNvSpPr/>
            <p:nvPr/>
          </p:nvSpPr>
          <p:spPr>
            <a:xfrm>
              <a:off x="4077578" y="483777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3" name="Freeform: Shape 45">
              <a:extLst>
                <a:ext uri="{FF2B5EF4-FFF2-40B4-BE49-F238E27FC236}">
                  <a16:creationId xmlns:a16="http://schemas.microsoft.com/office/drawing/2014/main" id="{D8250370-24E0-FC46-A557-EF5535DD9B64}"/>
                </a:ext>
              </a:extLst>
            </p:cNvPr>
            <p:cNvSpPr/>
            <p:nvPr/>
          </p:nvSpPr>
          <p:spPr>
            <a:xfrm>
              <a:off x="4077578"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4" name="Freeform: Shape 46">
              <a:extLst>
                <a:ext uri="{FF2B5EF4-FFF2-40B4-BE49-F238E27FC236}">
                  <a16:creationId xmlns:a16="http://schemas.microsoft.com/office/drawing/2014/main" id="{2BDC2908-65AA-C544-865B-90164367BA8B}"/>
                </a:ext>
              </a:extLst>
            </p:cNvPr>
            <p:cNvSpPr/>
            <p:nvPr/>
          </p:nvSpPr>
          <p:spPr>
            <a:xfrm>
              <a:off x="4542359"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5" name="Freeform: Shape 47">
              <a:extLst>
                <a:ext uri="{FF2B5EF4-FFF2-40B4-BE49-F238E27FC236}">
                  <a16:creationId xmlns:a16="http://schemas.microsoft.com/office/drawing/2014/main" id="{446633B3-9A04-604E-AFF8-4C17BD1CB4D7}"/>
                </a:ext>
              </a:extLst>
            </p:cNvPr>
            <p:cNvSpPr/>
            <p:nvPr/>
          </p:nvSpPr>
          <p:spPr>
            <a:xfrm>
              <a:off x="5007077"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6" name="Freeform: Shape 48">
              <a:extLst>
                <a:ext uri="{FF2B5EF4-FFF2-40B4-BE49-F238E27FC236}">
                  <a16:creationId xmlns:a16="http://schemas.microsoft.com/office/drawing/2014/main" id="{56D504E2-E5E8-D94E-B6D7-00A70D50CC15}"/>
                </a:ext>
              </a:extLst>
            </p:cNvPr>
            <p:cNvSpPr/>
            <p:nvPr/>
          </p:nvSpPr>
          <p:spPr>
            <a:xfrm>
              <a:off x="5471796"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7" name="Freeform: Shape 49">
              <a:extLst>
                <a:ext uri="{FF2B5EF4-FFF2-40B4-BE49-F238E27FC236}">
                  <a16:creationId xmlns:a16="http://schemas.microsoft.com/office/drawing/2014/main" id="{6054F726-B019-494F-9729-FA59ABB86E46}"/>
                </a:ext>
              </a:extLst>
            </p:cNvPr>
            <p:cNvSpPr/>
            <p:nvPr/>
          </p:nvSpPr>
          <p:spPr>
            <a:xfrm>
              <a:off x="5936577"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8" name="Freeform: Shape 50">
              <a:extLst>
                <a:ext uri="{FF2B5EF4-FFF2-40B4-BE49-F238E27FC236}">
                  <a16:creationId xmlns:a16="http://schemas.microsoft.com/office/drawing/2014/main" id="{1C32F7A2-3D79-B34D-B980-C47392162FFA}"/>
                </a:ext>
              </a:extLst>
            </p:cNvPr>
            <p:cNvSpPr/>
            <p:nvPr/>
          </p:nvSpPr>
          <p:spPr>
            <a:xfrm>
              <a:off x="6401296"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89" name="Freeform: Shape 51">
              <a:extLst>
                <a:ext uri="{FF2B5EF4-FFF2-40B4-BE49-F238E27FC236}">
                  <a16:creationId xmlns:a16="http://schemas.microsoft.com/office/drawing/2014/main" id="{819E5DBB-9DBA-6946-A7E8-73D04EAB8D41}"/>
                </a:ext>
              </a:extLst>
            </p:cNvPr>
            <p:cNvSpPr/>
            <p:nvPr/>
          </p:nvSpPr>
          <p:spPr>
            <a:xfrm>
              <a:off x="6866014" y="5281350"/>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0" name="Freeform: Shape 52">
              <a:extLst>
                <a:ext uri="{FF2B5EF4-FFF2-40B4-BE49-F238E27FC236}">
                  <a16:creationId xmlns:a16="http://schemas.microsoft.com/office/drawing/2014/main" id="{FDFF3962-DE83-4F4E-A175-11666F652DA9}"/>
                </a:ext>
              </a:extLst>
            </p:cNvPr>
            <p:cNvSpPr/>
            <p:nvPr/>
          </p:nvSpPr>
          <p:spPr>
            <a:xfrm>
              <a:off x="5007077"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1" name="Freeform: Shape 53">
              <a:extLst>
                <a:ext uri="{FF2B5EF4-FFF2-40B4-BE49-F238E27FC236}">
                  <a16:creationId xmlns:a16="http://schemas.microsoft.com/office/drawing/2014/main" id="{C8A14D90-4E00-034E-A8E6-FD5CD5E99747}"/>
                </a:ext>
              </a:extLst>
            </p:cNvPr>
            <p:cNvSpPr/>
            <p:nvPr/>
          </p:nvSpPr>
          <p:spPr>
            <a:xfrm>
              <a:off x="5471796" y="572653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2" name="Freeform: Shape 54">
              <a:extLst>
                <a:ext uri="{FF2B5EF4-FFF2-40B4-BE49-F238E27FC236}">
                  <a16:creationId xmlns:a16="http://schemas.microsoft.com/office/drawing/2014/main" id="{38C18380-9A26-3049-8162-26C4978DCFF3}"/>
                </a:ext>
              </a:extLst>
            </p:cNvPr>
            <p:cNvSpPr/>
            <p:nvPr/>
          </p:nvSpPr>
          <p:spPr>
            <a:xfrm>
              <a:off x="5936577"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30"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3" name="Freeform: Shape 55">
              <a:extLst>
                <a:ext uri="{FF2B5EF4-FFF2-40B4-BE49-F238E27FC236}">
                  <a16:creationId xmlns:a16="http://schemas.microsoft.com/office/drawing/2014/main" id="{76D1B72B-3BA7-6C4E-81B0-71226C63B617}"/>
                </a:ext>
              </a:extLst>
            </p:cNvPr>
            <p:cNvSpPr/>
            <p:nvPr/>
          </p:nvSpPr>
          <p:spPr>
            <a:xfrm>
              <a:off x="6401296" y="5726539"/>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4" name="Freeform: Shape 56">
              <a:extLst>
                <a:ext uri="{FF2B5EF4-FFF2-40B4-BE49-F238E27FC236}">
                  <a16:creationId xmlns:a16="http://schemas.microsoft.com/office/drawing/2014/main" id="{9205232E-6FBE-254E-93AB-E390A14E3124}"/>
                </a:ext>
              </a:extLst>
            </p:cNvPr>
            <p:cNvSpPr/>
            <p:nvPr/>
          </p:nvSpPr>
          <p:spPr>
            <a:xfrm>
              <a:off x="6866014" y="5726539"/>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5" name="Freeform: Shape 57">
              <a:extLst>
                <a:ext uri="{FF2B5EF4-FFF2-40B4-BE49-F238E27FC236}">
                  <a16:creationId xmlns:a16="http://schemas.microsoft.com/office/drawing/2014/main" id="{5B6BBA3F-3F6A-B04E-80B7-9EAFD3006205}"/>
                </a:ext>
              </a:extLst>
            </p:cNvPr>
            <p:cNvSpPr/>
            <p:nvPr/>
          </p:nvSpPr>
          <p:spPr>
            <a:xfrm>
              <a:off x="7330795"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6" name="Freeform: Shape 58">
              <a:extLst>
                <a:ext uri="{FF2B5EF4-FFF2-40B4-BE49-F238E27FC236}">
                  <a16:creationId xmlns:a16="http://schemas.microsoft.com/office/drawing/2014/main" id="{2A2DCE42-5A90-D249-AD02-AF5C64D8CC6D}"/>
                </a:ext>
              </a:extLst>
            </p:cNvPr>
            <p:cNvSpPr/>
            <p:nvPr/>
          </p:nvSpPr>
          <p:spPr>
            <a:xfrm>
              <a:off x="7795514" y="5281350"/>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7" name="Freeform: Shape 59">
              <a:extLst>
                <a:ext uri="{FF2B5EF4-FFF2-40B4-BE49-F238E27FC236}">
                  <a16:creationId xmlns:a16="http://schemas.microsoft.com/office/drawing/2014/main" id="{EF87E92E-F082-0948-A6AA-7A803CAD444A}"/>
                </a:ext>
              </a:extLst>
            </p:cNvPr>
            <p:cNvSpPr/>
            <p:nvPr/>
          </p:nvSpPr>
          <p:spPr>
            <a:xfrm>
              <a:off x="6873975"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8" name="Freeform: Shape 60">
              <a:extLst>
                <a:ext uri="{FF2B5EF4-FFF2-40B4-BE49-F238E27FC236}">
                  <a16:creationId xmlns:a16="http://schemas.microsoft.com/office/drawing/2014/main" id="{FE98FFFF-4CF7-5546-897D-05FD0191FC7F}"/>
                </a:ext>
              </a:extLst>
            </p:cNvPr>
            <p:cNvSpPr/>
            <p:nvPr/>
          </p:nvSpPr>
          <p:spPr>
            <a:xfrm>
              <a:off x="6407142" y="48360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299" name="Freeform: Shape 61">
              <a:extLst>
                <a:ext uri="{FF2B5EF4-FFF2-40B4-BE49-F238E27FC236}">
                  <a16:creationId xmlns:a16="http://schemas.microsoft.com/office/drawing/2014/main" id="{695C3F3A-0BA7-6C46-9C4F-36C5F33EE878}"/>
                </a:ext>
              </a:extLst>
            </p:cNvPr>
            <p:cNvSpPr/>
            <p:nvPr/>
          </p:nvSpPr>
          <p:spPr>
            <a:xfrm>
              <a:off x="6873975" y="4836098"/>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0" name="Freeform: Shape 62">
              <a:extLst>
                <a:ext uri="{FF2B5EF4-FFF2-40B4-BE49-F238E27FC236}">
                  <a16:creationId xmlns:a16="http://schemas.microsoft.com/office/drawing/2014/main" id="{A3129D5A-531A-C942-AD14-DFCDEC94AD4E}"/>
                </a:ext>
              </a:extLst>
            </p:cNvPr>
            <p:cNvSpPr/>
            <p:nvPr/>
          </p:nvSpPr>
          <p:spPr>
            <a:xfrm>
              <a:off x="7338694" y="3943667"/>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1" name="Freeform: Shape 63">
              <a:extLst>
                <a:ext uri="{FF2B5EF4-FFF2-40B4-BE49-F238E27FC236}">
                  <a16:creationId xmlns:a16="http://schemas.microsoft.com/office/drawing/2014/main" id="{B81B0B01-3026-6D4E-B57C-E83C2733616F}"/>
                </a:ext>
              </a:extLst>
            </p:cNvPr>
            <p:cNvSpPr/>
            <p:nvPr/>
          </p:nvSpPr>
          <p:spPr>
            <a:xfrm>
              <a:off x="7803475" y="3943667"/>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2" name="Freeform: Shape 64">
              <a:extLst>
                <a:ext uri="{FF2B5EF4-FFF2-40B4-BE49-F238E27FC236}">
                  <a16:creationId xmlns:a16="http://schemas.microsoft.com/office/drawing/2014/main" id="{9B5FAF19-248A-7247-89C3-8ACDA7D5848A}"/>
                </a:ext>
              </a:extLst>
            </p:cNvPr>
            <p:cNvSpPr/>
            <p:nvPr/>
          </p:nvSpPr>
          <p:spPr>
            <a:xfrm>
              <a:off x="8272671" y="3943667"/>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3" name="Freeform: Shape 65">
              <a:extLst>
                <a:ext uri="{FF2B5EF4-FFF2-40B4-BE49-F238E27FC236}">
                  <a16:creationId xmlns:a16="http://schemas.microsoft.com/office/drawing/2014/main" id="{1422FF31-2DA3-2743-BE43-AAC9488A814D}"/>
                </a:ext>
              </a:extLst>
            </p:cNvPr>
            <p:cNvSpPr/>
            <p:nvPr/>
          </p:nvSpPr>
          <p:spPr>
            <a:xfrm>
              <a:off x="8737950" y="3936452"/>
              <a:ext cx="63562" cy="63562"/>
            </a:xfrm>
            <a:custGeom>
              <a:avLst/>
              <a:gdLst>
                <a:gd name="connsiteX0" fmla="*/ 63563 w 63562"/>
                <a:gd name="connsiteY0" fmla="*/ 31781 h 63562"/>
                <a:gd name="connsiteX1" fmla="*/ 31781 w 63562"/>
                <a:gd name="connsiteY1" fmla="*/ 63563 h 63562"/>
                <a:gd name="connsiteX2" fmla="*/ 0 w 63562"/>
                <a:gd name="connsiteY2" fmla="*/ 31781 h 63562"/>
                <a:gd name="connsiteX3" fmla="*/ 31781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1" y="63563"/>
                  </a:cubicBezTo>
                  <a:cubicBezTo>
                    <a:pt x="14229" y="63563"/>
                    <a:pt x="0" y="49334"/>
                    <a:pt x="0" y="31781"/>
                  </a:cubicBezTo>
                  <a:cubicBezTo>
                    <a:pt x="0" y="14229"/>
                    <a:pt x="14229" y="0"/>
                    <a:pt x="31781"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4" name="Freeform: Shape 66">
              <a:extLst>
                <a:ext uri="{FF2B5EF4-FFF2-40B4-BE49-F238E27FC236}">
                  <a16:creationId xmlns:a16="http://schemas.microsoft.com/office/drawing/2014/main" id="{5AE2FF16-7FD7-D34C-BD16-7C4E1564860D}"/>
                </a:ext>
              </a:extLst>
            </p:cNvPr>
            <p:cNvSpPr/>
            <p:nvPr/>
          </p:nvSpPr>
          <p:spPr>
            <a:xfrm>
              <a:off x="8741308" y="3492444"/>
              <a:ext cx="63562" cy="63562"/>
            </a:xfrm>
            <a:custGeom>
              <a:avLst/>
              <a:gdLst>
                <a:gd name="connsiteX0" fmla="*/ 63563 w 63562"/>
                <a:gd name="connsiteY0" fmla="*/ 31781 h 63562"/>
                <a:gd name="connsiteX1" fmla="*/ 31782 w 63562"/>
                <a:gd name="connsiteY1" fmla="*/ 63563 h 63562"/>
                <a:gd name="connsiteX2" fmla="*/ 0 w 63562"/>
                <a:gd name="connsiteY2" fmla="*/ 31781 h 63562"/>
                <a:gd name="connsiteX3" fmla="*/ 31782 w 63562"/>
                <a:gd name="connsiteY3" fmla="*/ 0 h 63562"/>
                <a:gd name="connsiteX4" fmla="*/ 63563 w 63562"/>
                <a:gd name="connsiteY4" fmla="*/ 31781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1"/>
                  </a:moveTo>
                  <a:cubicBezTo>
                    <a:pt x="63563" y="49334"/>
                    <a:pt x="49334" y="63563"/>
                    <a:pt x="31782" y="63563"/>
                  </a:cubicBezTo>
                  <a:cubicBezTo>
                    <a:pt x="14229" y="63563"/>
                    <a:pt x="0" y="49334"/>
                    <a:pt x="0" y="31781"/>
                  </a:cubicBezTo>
                  <a:cubicBezTo>
                    <a:pt x="0" y="14229"/>
                    <a:pt x="14229" y="0"/>
                    <a:pt x="31782" y="0"/>
                  </a:cubicBezTo>
                  <a:cubicBezTo>
                    <a:pt x="49334" y="0"/>
                    <a:pt x="63563" y="14229"/>
                    <a:pt x="63563" y="31781"/>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5" name="Freeform: Shape 97">
              <a:extLst>
                <a:ext uri="{FF2B5EF4-FFF2-40B4-BE49-F238E27FC236}">
                  <a16:creationId xmlns:a16="http://schemas.microsoft.com/office/drawing/2014/main" id="{34B43F42-F40C-B24F-84EC-56A5298F7698}"/>
                </a:ext>
              </a:extLst>
            </p:cNvPr>
            <p:cNvSpPr/>
            <p:nvPr/>
          </p:nvSpPr>
          <p:spPr>
            <a:xfrm>
              <a:off x="5943605"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6" name="Freeform: Shape 98">
              <a:extLst>
                <a:ext uri="{FF2B5EF4-FFF2-40B4-BE49-F238E27FC236}">
                  <a16:creationId xmlns:a16="http://schemas.microsoft.com/office/drawing/2014/main" id="{1064EB50-86CA-5A43-BB49-232097386CFE}"/>
                </a:ext>
              </a:extLst>
            </p:cNvPr>
            <p:cNvSpPr/>
            <p:nvPr/>
          </p:nvSpPr>
          <p:spPr>
            <a:xfrm>
              <a:off x="6410500"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7" name="Freeform: Shape 99">
              <a:extLst>
                <a:ext uri="{FF2B5EF4-FFF2-40B4-BE49-F238E27FC236}">
                  <a16:creationId xmlns:a16="http://schemas.microsoft.com/office/drawing/2014/main" id="{F6F12241-AD0A-6944-B8DB-107AD841767C}"/>
                </a:ext>
              </a:extLst>
            </p:cNvPr>
            <p:cNvSpPr/>
            <p:nvPr/>
          </p:nvSpPr>
          <p:spPr>
            <a:xfrm>
              <a:off x="6877334" y="2150594"/>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8" name="Freeform: Shape 100">
              <a:extLst>
                <a:ext uri="{FF2B5EF4-FFF2-40B4-BE49-F238E27FC236}">
                  <a16:creationId xmlns:a16="http://schemas.microsoft.com/office/drawing/2014/main" id="{F08E4A8C-1E3A-E846-A534-5B5F2B369DEE}"/>
                </a:ext>
              </a:extLst>
            </p:cNvPr>
            <p:cNvSpPr/>
            <p:nvPr/>
          </p:nvSpPr>
          <p:spPr>
            <a:xfrm>
              <a:off x="7342052"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09" name="Freeform: Shape 101">
              <a:extLst>
                <a:ext uri="{FF2B5EF4-FFF2-40B4-BE49-F238E27FC236}">
                  <a16:creationId xmlns:a16="http://schemas.microsoft.com/office/drawing/2014/main" id="{B627B64F-1AE0-BD4E-BFDC-8955E6C58FD9}"/>
                </a:ext>
              </a:extLst>
            </p:cNvPr>
            <p:cNvSpPr/>
            <p:nvPr/>
          </p:nvSpPr>
          <p:spPr>
            <a:xfrm>
              <a:off x="7806833" y="2150594"/>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10" name="Rectangle 309">
              <a:extLst>
                <a:ext uri="{FF2B5EF4-FFF2-40B4-BE49-F238E27FC236}">
                  <a16:creationId xmlns:a16="http://schemas.microsoft.com/office/drawing/2014/main" id="{2713E8DC-F4DA-9541-81FC-D622BE0824A3}"/>
                </a:ext>
              </a:extLst>
            </p:cNvPr>
            <p:cNvSpPr/>
            <p:nvPr/>
          </p:nvSpPr>
          <p:spPr>
            <a:xfrm>
              <a:off x="4735270" y="2926818"/>
              <a:ext cx="2786966" cy="624739"/>
            </a:xfrm>
            <a:prstGeom prst="rect">
              <a:avLst/>
            </a:prstGeom>
          </p:spPr>
          <p:txBody>
            <a:bodyPr wrap="non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300" b="1" i="0" u="none" strike="noStrike" kern="0" cap="none" spc="0" normalizeH="0" baseline="0" noProof="0">
                  <a:ln>
                    <a:noFill/>
                  </a:ln>
                  <a:solidFill>
                    <a:srgbClr val="00BCEB"/>
                  </a:solidFill>
                  <a:effectLst/>
                  <a:uLnTx/>
                  <a:uFillTx/>
                  <a:latin typeface="CiscoSansTT" panose="020B0503020201020303" pitchFamily="34" charset="0"/>
                </a:rPr>
                <a:t>THANK YOU</a:t>
              </a:r>
              <a:endParaRPr kumimoji="0" lang="en-IN" sz="1800" b="1" i="0" u="none" strike="noStrike" kern="0" cap="none" spc="0" normalizeH="0" baseline="0" noProof="0">
                <a:ln>
                  <a:noFill/>
                </a:ln>
                <a:solidFill>
                  <a:srgbClr val="00BCEB"/>
                </a:solidFill>
                <a:effectLst/>
                <a:uLnTx/>
                <a:uFillTx/>
                <a:latin typeface="CiscoSansTT" panose="020B0503020201020303" pitchFamily="34" charset="0"/>
              </a:endParaRPr>
            </a:p>
          </p:txBody>
        </p:sp>
        <p:grpSp>
          <p:nvGrpSpPr>
            <p:cNvPr id="311" name="Group 310">
              <a:extLst>
                <a:ext uri="{FF2B5EF4-FFF2-40B4-BE49-F238E27FC236}">
                  <a16:creationId xmlns:a16="http://schemas.microsoft.com/office/drawing/2014/main" id="{6C7C7665-0CCE-E24B-B051-E63230A73926}"/>
                </a:ext>
              </a:extLst>
            </p:cNvPr>
            <p:cNvGrpSpPr/>
            <p:nvPr/>
          </p:nvGrpSpPr>
          <p:grpSpPr>
            <a:xfrm>
              <a:off x="6401296" y="4389913"/>
              <a:ext cx="1457780" cy="63562"/>
              <a:chOff x="5109525" y="4033122"/>
              <a:chExt cx="1457780" cy="63562"/>
            </a:xfrm>
          </p:grpSpPr>
          <p:sp>
            <p:nvSpPr>
              <p:cNvPr id="348" name="Freeform: Shape 105">
                <a:extLst>
                  <a:ext uri="{FF2B5EF4-FFF2-40B4-BE49-F238E27FC236}">
                    <a16:creationId xmlns:a16="http://schemas.microsoft.com/office/drawing/2014/main" id="{670569AE-66CB-F24A-BB3B-83A5E61047B5}"/>
                  </a:ext>
                </a:extLst>
              </p:cNvPr>
              <p:cNvSpPr/>
              <p:nvPr/>
            </p:nvSpPr>
            <p:spPr>
              <a:xfrm>
                <a:off x="5109525"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49" name="Freeform: Shape 106">
                <a:extLst>
                  <a:ext uri="{FF2B5EF4-FFF2-40B4-BE49-F238E27FC236}">
                    <a16:creationId xmlns:a16="http://schemas.microsoft.com/office/drawing/2014/main" id="{2E4F7E77-2534-AD47-825E-8F2156F2B8A7}"/>
                  </a:ext>
                </a:extLst>
              </p:cNvPr>
              <p:cNvSpPr/>
              <p:nvPr/>
            </p:nvSpPr>
            <p:spPr>
              <a:xfrm>
                <a:off x="5574243" y="4033122"/>
                <a:ext cx="63562" cy="63562"/>
              </a:xfrm>
              <a:custGeom>
                <a:avLst/>
                <a:gdLst>
                  <a:gd name="connsiteX0" fmla="*/ 63563 w 63562"/>
                  <a:gd name="connsiteY0" fmla="*/ 31782 h 63562"/>
                  <a:gd name="connsiteX1" fmla="*/ 31781 w 63562"/>
                  <a:gd name="connsiteY1" fmla="*/ 63563 h 63562"/>
                  <a:gd name="connsiteX2" fmla="*/ 0 w 63562"/>
                  <a:gd name="connsiteY2" fmla="*/ 31782 h 63562"/>
                  <a:gd name="connsiteX3" fmla="*/ 31781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1" y="63563"/>
                    </a:cubicBezTo>
                    <a:cubicBezTo>
                      <a:pt x="14229" y="63563"/>
                      <a:pt x="0" y="49334"/>
                      <a:pt x="0" y="31782"/>
                    </a:cubicBezTo>
                    <a:cubicBezTo>
                      <a:pt x="0" y="14229"/>
                      <a:pt x="14229" y="0"/>
                      <a:pt x="31781"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50" name="Freeform: Shape 107">
                <a:extLst>
                  <a:ext uri="{FF2B5EF4-FFF2-40B4-BE49-F238E27FC236}">
                    <a16:creationId xmlns:a16="http://schemas.microsoft.com/office/drawing/2014/main" id="{2F4413CF-EB11-F647-88CB-8C411F98A79C}"/>
                  </a:ext>
                </a:extLst>
              </p:cNvPr>
              <p:cNvSpPr/>
              <p:nvPr/>
            </p:nvSpPr>
            <p:spPr>
              <a:xfrm>
                <a:off x="6039024"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51" name="Freeform: Shape 108">
                <a:extLst>
                  <a:ext uri="{FF2B5EF4-FFF2-40B4-BE49-F238E27FC236}">
                    <a16:creationId xmlns:a16="http://schemas.microsoft.com/office/drawing/2014/main" id="{CBE59FCF-AC3B-6545-99A2-4751FC49B50C}"/>
                  </a:ext>
                </a:extLst>
              </p:cNvPr>
              <p:cNvSpPr/>
              <p:nvPr/>
            </p:nvSpPr>
            <p:spPr>
              <a:xfrm>
                <a:off x="6503743" y="4033122"/>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grpSp>
        <p:sp>
          <p:nvSpPr>
            <p:cNvPr id="312" name="Freeform: Shape 110">
              <a:extLst>
                <a:ext uri="{FF2B5EF4-FFF2-40B4-BE49-F238E27FC236}">
                  <a16:creationId xmlns:a16="http://schemas.microsoft.com/office/drawing/2014/main" id="{BB589BC4-624D-CF40-BBF8-56B0ED5601B8}"/>
                </a:ext>
              </a:extLst>
            </p:cNvPr>
            <p:cNvSpPr/>
            <p:nvPr/>
          </p:nvSpPr>
          <p:spPr>
            <a:xfrm>
              <a:off x="8272671" y="4389913"/>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13" name="Freeform: Shape 111">
              <a:extLst>
                <a:ext uri="{FF2B5EF4-FFF2-40B4-BE49-F238E27FC236}">
                  <a16:creationId xmlns:a16="http://schemas.microsoft.com/office/drawing/2014/main" id="{97F7C613-069F-B242-B788-2D9AA9EF9BCD}"/>
                </a:ext>
              </a:extLst>
            </p:cNvPr>
            <p:cNvSpPr/>
            <p:nvPr/>
          </p:nvSpPr>
          <p:spPr>
            <a:xfrm>
              <a:off x="7330795" y="4836098"/>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29" y="63563"/>
                    <a:pt x="0" y="49334"/>
                    <a:pt x="0" y="31782"/>
                  </a:cubicBezTo>
                  <a:cubicBezTo>
                    <a:pt x="0" y="14229"/>
                    <a:pt x="14229"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14" name="Freeform: Shape 112">
              <a:extLst>
                <a:ext uri="{FF2B5EF4-FFF2-40B4-BE49-F238E27FC236}">
                  <a16:creationId xmlns:a16="http://schemas.microsoft.com/office/drawing/2014/main" id="{56D5E3F5-20A8-A14D-87D6-94ABC777D5B7}"/>
                </a:ext>
              </a:extLst>
            </p:cNvPr>
            <p:cNvSpPr/>
            <p:nvPr/>
          </p:nvSpPr>
          <p:spPr>
            <a:xfrm>
              <a:off x="7795514" y="4836098"/>
              <a:ext cx="63562" cy="63562"/>
            </a:xfrm>
            <a:custGeom>
              <a:avLst/>
              <a:gdLst>
                <a:gd name="connsiteX0" fmla="*/ 63563 w 63562"/>
                <a:gd name="connsiteY0" fmla="*/ 31782 h 63562"/>
                <a:gd name="connsiteX1" fmla="*/ 31782 w 63562"/>
                <a:gd name="connsiteY1" fmla="*/ 63563 h 63562"/>
                <a:gd name="connsiteX2" fmla="*/ 0 w 63562"/>
                <a:gd name="connsiteY2" fmla="*/ 31782 h 63562"/>
                <a:gd name="connsiteX3" fmla="*/ 31782 w 63562"/>
                <a:gd name="connsiteY3" fmla="*/ 0 h 63562"/>
                <a:gd name="connsiteX4" fmla="*/ 63563 w 63562"/>
                <a:gd name="connsiteY4" fmla="*/ 31782 h 63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62" h="63562">
                  <a:moveTo>
                    <a:pt x="63563" y="31782"/>
                  </a:moveTo>
                  <a:cubicBezTo>
                    <a:pt x="63563" y="49334"/>
                    <a:pt x="49334" y="63563"/>
                    <a:pt x="31782" y="63563"/>
                  </a:cubicBezTo>
                  <a:cubicBezTo>
                    <a:pt x="14230" y="63563"/>
                    <a:pt x="0" y="49334"/>
                    <a:pt x="0" y="31782"/>
                  </a:cubicBezTo>
                  <a:cubicBezTo>
                    <a:pt x="0" y="14229"/>
                    <a:pt x="14230" y="0"/>
                    <a:pt x="31782" y="0"/>
                  </a:cubicBezTo>
                  <a:cubicBezTo>
                    <a:pt x="49334" y="0"/>
                    <a:pt x="63563" y="14229"/>
                    <a:pt x="63563" y="31782"/>
                  </a:cubicBezTo>
                  <a:close/>
                </a:path>
              </a:pathLst>
            </a:custGeom>
            <a:solidFill>
              <a:srgbClr val="6DBE4B"/>
            </a:solidFill>
            <a:ln w="621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013" b="0" i="0" u="none" strike="noStrike" kern="0" cap="none" spc="0" normalizeH="0" baseline="0" noProof="0">
                <a:ln>
                  <a:noFill/>
                </a:ln>
                <a:solidFill>
                  <a:srgbClr val="282828"/>
                </a:solidFill>
                <a:effectLst/>
                <a:uLnTx/>
                <a:uFillTx/>
              </a:endParaRPr>
            </a:p>
          </p:txBody>
        </p:sp>
        <p:sp>
          <p:nvSpPr>
            <p:cNvPr id="315" name="Freeform: Shape 114">
              <a:extLst>
                <a:ext uri="{FF2B5EF4-FFF2-40B4-BE49-F238E27FC236}">
                  <a16:creationId xmlns:a16="http://schemas.microsoft.com/office/drawing/2014/main" id="{ED8CD0CD-07B9-A745-8F8E-8A3AC4B144EE}"/>
                </a:ext>
              </a:extLst>
            </p:cNvPr>
            <p:cNvSpPr/>
            <p:nvPr/>
          </p:nvSpPr>
          <p:spPr>
            <a:xfrm>
              <a:off x="8002190" y="2435304"/>
              <a:ext cx="741760" cy="742130"/>
            </a:xfrm>
            <a:custGeom>
              <a:avLst/>
              <a:gdLst>
                <a:gd name="connsiteX0" fmla="*/ 279321 w 714851"/>
                <a:gd name="connsiteY0" fmla="*/ 682704 h 715208"/>
                <a:gd name="connsiteX1" fmla="*/ 32147 w 714851"/>
                <a:gd name="connsiteY1" fmla="*/ 435531 h 715208"/>
                <a:gd name="connsiteX2" fmla="*/ 32147 w 714851"/>
                <a:gd name="connsiteY2" fmla="*/ 279321 h 715208"/>
                <a:gd name="connsiteX3" fmla="*/ 279321 w 714851"/>
                <a:gd name="connsiteY3" fmla="*/ 32147 h 715208"/>
                <a:gd name="connsiteX4" fmla="*/ 435531 w 714851"/>
                <a:gd name="connsiteY4" fmla="*/ 32147 h 715208"/>
                <a:gd name="connsiteX5" fmla="*/ 682704 w 714851"/>
                <a:gd name="connsiteY5" fmla="*/ 279321 h 715208"/>
                <a:gd name="connsiteX6" fmla="*/ 682704 w 714851"/>
                <a:gd name="connsiteY6" fmla="*/ 435531 h 715208"/>
                <a:gd name="connsiteX7" fmla="*/ 435531 w 714851"/>
                <a:gd name="connsiteY7" fmla="*/ 682704 h 715208"/>
                <a:gd name="connsiteX8" fmla="*/ 279321 w 714851"/>
                <a:gd name="connsiteY8" fmla="*/ 682704 h 715208"/>
                <a:gd name="connsiteX9" fmla="*/ 418862 w 714851"/>
                <a:gd name="connsiteY9" fmla="*/ 48816 h 715208"/>
                <a:gd name="connsiteX10" fmla="*/ 295990 w 714851"/>
                <a:gd name="connsiteY10" fmla="*/ 48816 h 715208"/>
                <a:gd name="connsiteX11" fmla="*/ 48816 w 714851"/>
                <a:gd name="connsiteY11" fmla="*/ 295989 h 715208"/>
                <a:gd name="connsiteX12" fmla="*/ 48816 w 714851"/>
                <a:gd name="connsiteY12" fmla="*/ 418862 h 715208"/>
                <a:gd name="connsiteX13" fmla="*/ 295990 w 714851"/>
                <a:gd name="connsiteY13" fmla="*/ 666036 h 715208"/>
                <a:gd name="connsiteX14" fmla="*/ 418862 w 714851"/>
                <a:gd name="connsiteY14" fmla="*/ 666036 h 715208"/>
                <a:gd name="connsiteX15" fmla="*/ 666036 w 714851"/>
                <a:gd name="connsiteY15" fmla="*/ 418862 h 715208"/>
                <a:gd name="connsiteX16" fmla="*/ 666036 w 714851"/>
                <a:gd name="connsiteY16" fmla="*/ 295989 h 715208"/>
                <a:gd name="connsiteX17" fmla="*/ 418862 w 714851"/>
                <a:gd name="connsiteY17" fmla="*/ 48816 h 71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4851" h="715208">
                  <a:moveTo>
                    <a:pt x="279321" y="682704"/>
                  </a:moveTo>
                  <a:lnTo>
                    <a:pt x="32147" y="435531"/>
                  </a:lnTo>
                  <a:cubicBezTo>
                    <a:pt x="-10716" y="392668"/>
                    <a:pt x="-10716" y="322659"/>
                    <a:pt x="32147" y="279321"/>
                  </a:cubicBezTo>
                  <a:lnTo>
                    <a:pt x="279321" y="32147"/>
                  </a:lnTo>
                  <a:cubicBezTo>
                    <a:pt x="322183" y="-10716"/>
                    <a:pt x="392192" y="-10716"/>
                    <a:pt x="435531" y="32147"/>
                  </a:cubicBezTo>
                  <a:lnTo>
                    <a:pt x="682704" y="279321"/>
                  </a:lnTo>
                  <a:cubicBezTo>
                    <a:pt x="725567" y="322183"/>
                    <a:pt x="725567" y="392192"/>
                    <a:pt x="682704" y="435531"/>
                  </a:cubicBezTo>
                  <a:lnTo>
                    <a:pt x="435531" y="682704"/>
                  </a:lnTo>
                  <a:cubicBezTo>
                    <a:pt x="392668" y="726043"/>
                    <a:pt x="322659" y="726043"/>
                    <a:pt x="279321" y="682704"/>
                  </a:cubicBezTo>
                  <a:close/>
                  <a:moveTo>
                    <a:pt x="418862" y="48816"/>
                  </a:moveTo>
                  <a:cubicBezTo>
                    <a:pt x="385048" y="15002"/>
                    <a:pt x="329803" y="15002"/>
                    <a:pt x="295990" y="48816"/>
                  </a:cubicBezTo>
                  <a:lnTo>
                    <a:pt x="48816" y="295989"/>
                  </a:lnTo>
                  <a:cubicBezTo>
                    <a:pt x="15002" y="329803"/>
                    <a:pt x="15002" y="385048"/>
                    <a:pt x="48816" y="418862"/>
                  </a:cubicBezTo>
                  <a:lnTo>
                    <a:pt x="295990" y="666036"/>
                  </a:lnTo>
                  <a:cubicBezTo>
                    <a:pt x="329803" y="699849"/>
                    <a:pt x="385048" y="699849"/>
                    <a:pt x="418862" y="666036"/>
                  </a:cubicBezTo>
                  <a:lnTo>
                    <a:pt x="666036" y="418862"/>
                  </a:lnTo>
                  <a:cubicBezTo>
                    <a:pt x="699849" y="385048"/>
                    <a:pt x="699849" y="329803"/>
                    <a:pt x="666036" y="295989"/>
                  </a:cubicBezTo>
                  <a:lnTo>
                    <a:pt x="418862" y="48816"/>
                  </a:lnTo>
                  <a:close/>
                </a:path>
              </a:pathLst>
            </a:custGeom>
            <a:solidFill>
              <a:srgbClr val="1E4471"/>
            </a:solid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grpSp>
          <p:nvGrpSpPr>
            <p:cNvPr id="316" name="Group 315">
              <a:extLst>
                <a:ext uri="{FF2B5EF4-FFF2-40B4-BE49-F238E27FC236}">
                  <a16:creationId xmlns:a16="http://schemas.microsoft.com/office/drawing/2014/main" id="{3A1479F2-4B27-544C-9AC4-A0A05A1734F0}"/>
                </a:ext>
              </a:extLst>
            </p:cNvPr>
            <p:cNvGrpSpPr/>
            <p:nvPr/>
          </p:nvGrpSpPr>
          <p:grpSpPr>
            <a:xfrm rot="16200000">
              <a:off x="8087205" y="3211609"/>
              <a:ext cx="273018" cy="943559"/>
              <a:chOff x="5373033" y="1847265"/>
              <a:chExt cx="273018" cy="943559"/>
            </a:xfrm>
            <a:solidFill>
              <a:srgbClr val="6EBE4A"/>
            </a:solidFill>
          </p:grpSpPr>
          <p:sp>
            <p:nvSpPr>
              <p:cNvPr id="344" name="Freeform: Shape 116">
                <a:extLst>
                  <a:ext uri="{FF2B5EF4-FFF2-40B4-BE49-F238E27FC236}">
                    <a16:creationId xmlns:a16="http://schemas.microsoft.com/office/drawing/2014/main" id="{A087276B-7D4C-414F-BA8B-B732C831B13C}"/>
                  </a:ext>
                </a:extLst>
              </p:cNvPr>
              <p:cNvSpPr/>
              <p:nvPr/>
            </p:nvSpPr>
            <p:spPr>
              <a:xfrm>
                <a:off x="5373033" y="1847265"/>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8 h 215373"/>
                  <a:gd name="connsiteX4" fmla="*/ 43358 w 273018"/>
                  <a:gd name="connsiteY4" fmla="*/ 17254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3"/>
                      <a:pt x="116700" y="205372"/>
                    </a:cubicBezTo>
                    <a:lnTo>
                      <a:pt x="4305" y="44876"/>
                    </a:lnTo>
                    <a:cubicBezTo>
                      <a:pt x="-3315" y="33922"/>
                      <a:pt x="-457" y="19158"/>
                      <a:pt x="10020" y="11538"/>
                    </a:cubicBezTo>
                    <a:cubicBezTo>
                      <a:pt x="20974" y="3919"/>
                      <a:pt x="35737" y="6776"/>
                      <a:pt x="43358" y="17254"/>
                    </a:cubicBezTo>
                    <a:lnTo>
                      <a:pt x="136227" y="149175"/>
                    </a:lnTo>
                    <a:lnTo>
                      <a:pt x="229572" y="10586"/>
                    </a:lnTo>
                    <a:cubicBezTo>
                      <a:pt x="236715" y="-368"/>
                      <a:pt x="251479" y="-3225"/>
                      <a:pt x="262433" y="3919"/>
                    </a:cubicBezTo>
                    <a:cubicBezTo>
                      <a:pt x="273386" y="11062"/>
                      <a:pt x="276244" y="25826"/>
                      <a:pt x="269100" y="36780"/>
                    </a:cubicBezTo>
                    <a:lnTo>
                      <a:pt x="156705" y="203944"/>
                    </a:lnTo>
                    <a:cubicBezTo>
                      <a:pt x="151466" y="211087"/>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5" name="Freeform: Shape 117">
                <a:extLst>
                  <a:ext uri="{FF2B5EF4-FFF2-40B4-BE49-F238E27FC236}">
                    <a16:creationId xmlns:a16="http://schemas.microsoft.com/office/drawing/2014/main" id="{C74AE019-71F5-254F-9EA7-255B31899765}"/>
                  </a:ext>
                </a:extLst>
              </p:cNvPr>
              <p:cNvSpPr/>
              <p:nvPr/>
            </p:nvSpPr>
            <p:spPr>
              <a:xfrm>
                <a:off x="5373033" y="2089676"/>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3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8"/>
                      <a:pt x="10020" y="11539"/>
                    </a:cubicBezTo>
                    <a:cubicBezTo>
                      <a:pt x="20974" y="3919"/>
                      <a:pt x="35737" y="6776"/>
                      <a:pt x="43358" y="17253"/>
                    </a:cubicBezTo>
                    <a:lnTo>
                      <a:pt x="136227" y="149175"/>
                    </a:lnTo>
                    <a:lnTo>
                      <a:pt x="229572" y="10586"/>
                    </a:lnTo>
                    <a:cubicBezTo>
                      <a:pt x="236715" y="-368"/>
                      <a:pt x="251479" y="-3225"/>
                      <a:pt x="262433" y="3919"/>
                    </a:cubicBezTo>
                    <a:cubicBezTo>
                      <a:pt x="273386" y="11062"/>
                      <a:pt x="276244" y="25826"/>
                      <a:pt x="269100" y="36780"/>
                    </a:cubicBezTo>
                    <a:lnTo>
                      <a:pt x="156705" y="203944"/>
                    </a:lnTo>
                    <a:cubicBezTo>
                      <a:pt x="151466" y="211564"/>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6" name="Freeform: Shape 118">
                <a:extLst>
                  <a:ext uri="{FF2B5EF4-FFF2-40B4-BE49-F238E27FC236}">
                    <a16:creationId xmlns:a16="http://schemas.microsoft.com/office/drawing/2014/main" id="{9BF8A6CB-3317-704D-8836-B9380FCF041A}"/>
                  </a:ext>
                </a:extLst>
              </p:cNvPr>
              <p:cNvSpPr/>
              <p:nvPr/>
            </p:nvSpPr>
            <p:spPr>
              <a:xfrm>
                <a:off x="5373033" y="2332563"/>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3 h 215373"/>
                  <a:gd name="connsiteX5" fmla="*/ 136227 w 273018"/>
                  <a:gd name="connsiteY5" fmla="*/ 149175 h 215373"/>
                  <a:gd name="connsiteX6" fmla="*/ 229572 w 273018"/>
                  <a:gd name="connsiteY6" fmla="*/ 10586 h 215373"/>
                  <a:gd name="connsiteX7" fmla="*/ 262433 w 273018"/>
                  <a:gd name="connsiteY7" fmla="*/ 3919 h 215373"/>
                  <a:gd name="connsiteX8" fmla="*/ 269100 w 273018"/>
                  <a:gd name="connsiteY8" fmla="*/ 36780 h 215373"/>
                  <a:gd name="connsiteX9" fmla="*/ 156705 w 273018"/>
                  <a:gd name="connsiteY9" fmla="*/ 203943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8"/>
                      <a:pt x="10020" y="11539"/>
                    </a:cubicBezTo>
                    <a:cubicBezTo>
                      <a:pt x="20974" y="3919"/>
                      <a:pt x="35737" y="6776"/>
                      <a:pt x="43358" y="17253"/>
                    </a:cubicBezTo>
                    <a:lnTo>
                      <a:pt x="136227" y="149175"/>
                    </a:lnTo>
                    <a:lnTo>
                      <a:pt x="229572" y="10586"/>
                    </a:lnTo>
                    <a:cubicBezTo>
                      <a:pt x="236715" y="-368"/>
                      <a:pt x="251479" y="-3225"/>
                      <a:pt x="262433" y="3919"/>
                    </a:cubicBezTo>
                    <a:cubicBezTo>
                      <a:pt x="273386" y="11062"/>
                      <a:pt x="276244" y="25826"/>
                      <a:pt x="269100" y="36780"/>
                    </a:cubicBezTo>
                    <a:lnTo>
                      <a:pt x="156705" y="203943"/>
                    </a:lnTo>
                    <a:cubicBezTo>
                      <a:pt x="151466" y="211564"/>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7" name="Freeform: Shape 119">
                <a:extLst>
                  <a:ext uri="{FF2B5EF4-FFF2-40B4-BE49-F238E27FC236}">
                    <a16:creationId xmlns:a16="http://schemas.microsoft.com/office/drawing/2014/main" id="{1C8E20E4-0A80-F242-A01B-2F24D7126CCE}"/>
                  </a:ext>
                </a:extLst>
              </p:cNvPr>
              <p:cNvSpPr/>
              <p:nvPr/>
            </p:nvSpPr>
            <p:spPr>
              <a:xfrm>
                <a:off x="5373033" y="2575451"/>
                <a:ext cx="273018" cy="215373"/>
              </a:xfrm>
              <a:custGeom>
                <a:avLst/>
                <a:gdLst>
                  <a:gd name="connsiteX0" fmla="*/ 136227 w 273018"/>
                  <a:gd name="connsiteY0" fmla="*/ 215374 h 215373"/>
                  <a:gd name="connsiteX1" fmla="*/ 116700 w 273018"/>
                  <a:gd name="connsiteY1" fmla="*/ 205372 h 215373"/>
                  <a:gd name="connsiteX2" fmla="*/ 4305 w 273018"/>
                  <a:gd name="connsiteY2" fmla="*/ 44876 h 215373"/>
                  <a:gd name="connsiteX3" fmla="*/ 10020 w 273018"/>
                  <a:gd name="connsiteY3" fmla="*/ 11539 h 215373"/>
                  <a:gd name="connsiteX4" fmla="*/ 43358 w 273018"/>
                  <a:gd name="connsiteY4" fmla="*/ 17254 h 215373"/>
                  <a:gd name="connsiteX5" fmla="*/ 136227 w 273018"/>
                  <a:gd name="connsiteY5" fmla="*/ 149175 h 215373"/>
                  <a:gd name="connsiteX6" fmla="*/ 229572 w 273018"/>
                  <a:gd name="connsiteY6" fmla="*/ 10586 h 215373"/>
                  <a:gd name="connsiteX7" fmla="*/ 262433 w 273018"/>
                  <a:gd name="connsiteY7" fmla="*/ 3918 h 215373"/>
                  <a:gd name="connsiteX8" fmla="*/ 269100 w 273018"/>
                  <a:gd name="connsiteY8" fmla="*/ 36780 h 215373"/>
                  <a:gd name="connsiteX9" fmla="*/ 156705 w 273018"/>
                  <a:gd name="connsiteY9" fmla="*/ 203944 h 215373"/>
                  <a:gd name="connsiteX10" fmla="*/ 136227 w 273018"/>
                  <a:gd name="connsiteY10" fmla="*/ 215374 h 215373"/>
                  <a:gd name="connsiteX11" fmla="*/ 136227 w 273018"/>
                  <a:gd name="connsiteY11" fmla="*/ 215374 h 2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3018" h="215373">
                    <a:moveTo>
                      <a:pt x="136227" y="215374"/>
                    </a:moveTo>
                    <a:cubicBezTo>
                      <a:pt x="128606" y="215374"/>
                      <a:pt x="120986" y="211564"/>
                      <a:pt x="116700" y="205372"/>
                    </a:cubicBezTo>
                    <a:lnTo>
                      <a:pt x="4305" y="44876"/>
                    </a:lnTo>
                    <a:cubicBezTo>
                      <a:pt x="-3315" y="33922"/>
                      <a:pt x="-457" y="19159"/>
                      <a:pt x="10020" y="11539"/>
                    </a:cubicBezTo>
                    <a:cubicBezTo>
                      <a:pt x="20974" y="3918"/>
                      <a:pt x="35737" y="6776"/>
                      <a:pt x="43358" y="17254"/>
                    </a:cubicBezTo>
                    <a:lnTo>
                      <a:pt x="136227" y="149175"/>
                    </a:lnTo>
                    <a:lnTo>
                      <a:pt x="229572" y="10586"/>
                    </a:lnTo>
                    <a:cubicBezTo>
                      <a:pt x="236715" y="-368"/>
                      <a:pt x="251479" y="-3225"/>
                      <a:pt x="262433" y="3918"/>
                    </a:cubicBezTo>
                    <a:cubicBezTo>
                      <a:pt x="273386" y="11062"/>
                      <a:pt x="276244" y="25826"/>
                      <a:pt x="269100" y="36780"/>
                    </a:cubicBezTo>
                    <a:lnTo>
                      <a:pt x="156705" y="203944"/>
                    </a:lnTo>
                    <a:cubicBezTo>
                      <a:pt x="151466" y="211087"/>
                      <a:pt x="144323" y="215374"/>
                      <a:pt x="136227" y="215374"/>
                    </a:cubicBezTo>
                    <a:cubicBezTo>
                      <a:pt x="136227" y="215374"/>
                      <a:pt x="136227" y="215374"/>
                      <a:pt x="136227" y="215374"/>
                    </a:cubicBezTo>
                    <a:close/>
                  </a:path>
                </a:pathLst>
              </a:custGeom>
              <a:grpFill/>
              <a:ln w="4763"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grpSp>
        <p:grpSp>
          <p:nvGrpSpPr>
            <p:cNvPr id="317" name="Group 316">
              <a:extLst>
                <a:ext uri="{FF2B5EF4-FFF2-40B4-BE49-F238E27FC236}">
                  <a16:creationId xmlns:a16="http://schemas.microsoft.com/office/drawing/2014/main" id="{3004B613-EC48-EA45-9533-8142A6BB90A6}"/>
                </a:ext>
              </a:extLst>
            </p:cNvPr>
            <p:cNvGrpSpPr/>
            <p:nvPr/>
          </p:nvGrpSpPr>
          <p:grpSpPr>
            <a:xfrm flipH="1">
              <a:off x="2055885" y="1489207"/>
              <a:ext cx="2196971" cy="1402472"/>
              <a:chOff x="4098771" y="576622"/>
              <a:chExt cx="2196971" cy="1402472"/>
            </a:xfrm>
            <a:solidFill>
              <a:srgbClr val="1E4471"/>
            </a:solidFill>
          </p:grpSpPr>
          <p:sp>
            <p:nvSpPr>
              <p:cNvPr id="341" name="Freeform: Shape 121">
                <a:extLst>
                  <a:ext uri="{FF2B5EF4-FFF2-40B4-BE49-F238E27FC236}">
                    <a16:creationId xmlns:a16="http://schemas.microsoft.com/office/drawing/2014/main" id="{4BA15DE7-5C3C-D846-82A5-15C53939F833}"/>
                  </a:ext>
                </a:extLst>
              </p:cNvPr>
              <p:cNvSpPr/>
              <p:nvPr/>
            </p:nvSpPr>
            <p:spPr>
              <a:xfrm>
                <a:off x="5693509" y="1816189"/>
                <a:ext cx="164331" cy="162905"/>
              </a:xfrm>
              <a:custGeom>
                <a:avLst/>
                <a:gdLst>
                  <a:gd name="connsiteX0" fmla="*/ 126398 w 164331"/>
                  <a:gd name="connsiteY0" fmla="*/ 162906 h 162905"/>
                  <a:gd name="connsiteX1" fmla="*/ 37934 w 164331"/>
                  <a:gd name="connsiteY1" fmla="*/ 162906 h 162905"/>
                  <a:gd name="connsiteX2" fmla="*/ 0 w 164331"/>
                  <a:gd name="connsiteY2" fmla="*/ 124972 h 162905"/>
                  <a:gd name="connsiteX3" fmla="*/ 0 w 164331"/>
                  <a:gd name="connsiteY3" fmla="*/ 37934 h 162905"/>
                  <a:gd name="connsiteX4" fmla="*/ 37934 w 164331"/>
                  <a:gd name="connsiteY4" fmla="*/ 0 h 162905"/>
                  <a:gd name="connsiteX5" fmla="*/ 126398 w 164331"/>
                  <a:gd name="connsiteY5" fmla="*/ 0 h 162905"/>
                  <a:gd name="connsiteX6" fmla="*/ 164332 w 164331"/>
                  <a:gd name="connsiteY6" fmla="*/ 37934 h 162905"/>
                  <a:gd name="connsiteX7" fmla="*/ 164332 w 164331"/>
                  <a:gd name="connsiteY7" fmla="*/ 124972 h 162905"/>
                  <a:gd name="connsiteX8" fmla="*/ 126398 w 164331"/>
                  <a:gd name="connsiteY8" fmla="*/ 162906 h 162905"/>
                  <a:gd name="connsiteX9" fmla="*/ 37934 w 164331"/>
                  <a:gd name="connsiteY9" fmla="*/ 14213 h 162905"/>
                  <a:gd name="connsiteX10" fmla="*/ 14261 w 164331"/>
                  <a:gd name="connsiteY10" fmla="*/ 37886 h 162905"/>
                  <a:gd name="connsiteX11" fmla="*/ 14261 w 164331"/>
                  <a:gd name="connsiteY11" fmla="*/ 124925 h 162905"/>
                  <a:gd name="connsiteX12" fmla="*/ 37934 w 164331"/>
                  <a:gd name="connsiteY12" fmla="*/ 148597 h 162905"/>
                  <a:gd name="connsiteX13" fmla="*/ 126398 w 164331"/>
                  <a:gd name="connsiteY13" fmla="*/ 148597 h 162905"/>
                  <a:gd name="connsiteX14" fmla="*/ 150071 w 164331"/>
                  <a:gd name="connsiteY14" fmla="*/ 124925 h 162905"/>
                  <a:gd name="connsiteX15" fmla="*/ 150071 w 164331"/>
                  <a:gd name="connsiteY15" fmla="*/ 37886 h 162905"/>
                  <a:gd name="connsiteX16" fmla="*/ 126398 w 164331"/>
                  <a:gd name="connsiteY16" fmla="*/ 14213 h 162905"/>
                  <a:gd name="connsiteX17" fmla="*/ 37934 w 164331"/>
                  <a:gd name="connsiteY17" fmla="*/ 14213 h 16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331" h="162905">
                    <a:moveTo>
                      <a:pt x="126398" y="162906"/>
                    </a:moveTo>
                    <a:lnTo>
                      <a:pt x="37934" y="162906"/>
                    </a:lnTo>
                    <a:cubicBezTo>
                      <a:pt x="17018" y="162906"/>
                      <a:pt x="0" y="145888"/>
                      <a:pt x="0" y="124972"/>
                    </a:cubicBezTo>
                    <a:lnTo>
                      <a:pt x="0" y="37934"/>
                    </a:lnTo>
                    <a:cubicBezTo>
                      <a:pt x="0" y="17018"/>
                      <a:pt x="17018" y="0"/>
                      <a:pt x="37934" y="0"/>
                    </a:cubicBezTo>
                    <a:lnTo>
                      <a:pt x="126398" y="0"/>
                    </a:lnTo>
                    <a:cubicBezTo>
                      <a:pt x="147314" y="0"/>
                      <a:pt x="164332" y="17018"/>
                      <a:pt x="164332" y="37934"/>
                    </a:cubicBezTo>
                    <a:lnTo>
                      <a:pt x="164332" y="124972"/>
                    </a:lnTo>
                    <a:cubicBezTo>
                      <a:pt x="164332" y="145888"/>
                      <a:pt x="147314" y="162906"/>
                      <a:pt x="126398" y="162906"/>
                    </a:cubicBezTo>
                    <a:close/>
                    <a:moveTo>
                      <a:pt x="37934" y="14213"/>
                    </a:moveTo>
                    <a:cubicBezTo>
                      <a:pt x="24861" y="14213"/>
                      <a:pt x="14261" y="24861"/>
                      <a:pt x="14261" y="37886"/>
                    </a:cubicBezTo>
                    <a:lnTo>
                      <a:pt x="14261" y="124925"/>
                    </a:lnTo>
                    <a:cubicBezTo>
                      <a:pt x="14261" y="137997"/>
                      <a:pt x="24909" y="148597"/>
                      <a:pt x="37934" y="148597"/>
                    </a:cubicBezTo>
                    <a:lnTo>
                      <a:pt x="126398" y="148597"/>
                    </a:lnTo>
                    <a:cubicBezTo>
                      <a:pt x="139470" y="148597"/>
                      <a:pt x="150071" y="137949"/>
                      <a:pt x="150071" y="124925"/>
                    </a:cubicBezTo>
                    <a:lnTo>
                      <a:pt x="150071" y="37886"/>
                    </a:lnTo>
                    <a:cubicBezTo>
                      <a:pt x="150071" y="24814"/>
                      <a:pt x="139423" y="14213"/>
                      <a:pt x="126398" y="14213"/>
                    </a:cubicBezTo>
                    <a:lnTo>
                      <a:pt x="37934" y="14213"/>
                    </a:ln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2" name="Freeform: Shape 122">
                <a:extLst>
                  <a:ext uri="{FF2B5EF4-FFF2-40B4-BE49-F238E27FC236}">
                    <a16:creationId xmlns:a16="http://schemas.microsoft.com/office/drawing/2014/main" id="{E74A506D-2A6E-FC4B-A853-939CF03422D9}"/>
                  </a:ext>
                </a:extLst>
              </p:cNvPr>
              <p:cNvSpPr/>
              <p:nvPr/>
            </p:nvSpPr>
            <p:spPr>
              <a:xfrm>
                <a:off x="4098771" y="690870"/>
                <a:ext cx="152115" cy="152115"/>
              </a:xfrm>
              <a:custGeom>
                <a:avLst/>
                <a:gdLst>
                  <a:gd name="connsiteX0" fmla="*/ 152115 w 152115"/>
                  <a:gd name="connsiteY0" fmla="*/ 76058 h 152115"/>
                  <a:gd name="connsiteX1" fmla="*/ 76058 w 152115"/>
                  <a:gd name="connsiteY1" fmla="*/ 152115 h 152115"/>
                  <a:gd name="connsiteX2" fmla="*/ 0 w 152115"/>
                  <a:gd name="connsiteY2" fmla="*/ 76058 h 152115"/>
                  <a:gd name="connsiteX3" fmla="*/ 76058 w 152115"/>
                  <a:gd name="connsiteY3" fmla="*/ 0 h 152115"/>
                  <a:gd name="connsiteX4" fmla="*/ 152115 w 152115"/>
                  <a:gd name="connsiteY4" fmla="*/ 76058 h 152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15" h="152115">
                    <a:moveTo>
                      <a:pt x="152115" y="76058"/>
                    </a:moveTo>
                    <a:cubicBezTo>
                      <a:pt x="152115" y="118063"/>
                      <a:pt x="118063" y="152115"/>
                      <a:pt x="76058" y="152115"/>
                    </a:cubicBezTo>
                    <a:cubicBezTo>
                      <a:pt x="34052" y="152115"/>
                      <a:pt x="0" y="118063"/>
                      <a:pt x="0" y="76058"/>
                    </a:cubicBezTo>
                    <a:cubicBezTo>
                      <a:pt x="0" y="34052"/>
                      <a:pt x="34052" y="0"/>
                      <a:pt x="76058" y="0"/>
                    </a:cubicBezTo>
                    <a:cubicBezTo>
                      <a:pt x="118063" y="0"/>
                      <a:pt x="152115" y="34052"/>
                      <a:pt x="152115" y="760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3" name="Freeform: Shape 123">
                <a:extLst>
                  <a:ext uri="{FF2B5EF4-FFF2-40B4-BE49-F238E27FC236}">
                    <a16:creationId xmlns:a16="http://schemas.microsoft.com/office/drawing/2014/main" id="{EA1C0696-013E-0D4F-A55C-55250500DB55}"/>
                  </a:ext>
                </a:extLst>
              </p:cNvPr>
              <p:cNvSpPr/>
              <p:nvPr/>
            </p:nvSpPr>
            <p:spPr>
              <a:xfrm>
                <a:off x="4171359" y="576622"/>
                <a:ext cx="2124383" cy="1335446"/>
              </a:xfrm>
              <a:custGeom>
                <a:avLst/>
                <a:gdLst>
                  <a:gd name="connsiteX0" fmla="*/ 1599253 w 2124383"/>
                  <a:gd name="connsiteY0" fmla="*/ 1335446 h 1335446"/>
                  <a:gd name="connsiteX1" fmla="*/ 1585516 w 2124383"/>
                  <a:gd name="connsiteY1" fmla="*/ 1316052 h 1335446"/>
                  <a:gd name="connsiteX2" fmla="*/ 2097193 w 2124383"/>
                  <a:gd name="connsiteY2" fmla="*/ 621219 h 1335446"/>
                  <a:gd name="connsiteX3" fmla="*/ 1989144 w 2124383"/>
                  <a:gd name="connsiteY3" fmla="*/ 280100 h 1335446"/>
                  <a:gd name="connsiteX4" fmla="*/ 1490444 w 2124383"/>
                  <a:gd name="connsiteY4" fmla="*/ 45130 h 1335446"/>
                  <a:gd name="connsiteX5" fmla="*/ 829646 w 2124383"/>
                  <a:gd name="connsiteY5" fmla="*/ 44750 h 1335446"/>
                  <a:gd name="connsiteX6" fmla="*/ 6893 w 2124383"/>
                  <a:gd name="connsiteY6" fmla="*/ 209129 h 1335446"/>
                  <a:gd name="connsiteX7" fmla="*/ 0 w 2124383"/>
                  <a:gd name="connsiteY7" fmla="*/ 186359 h 1335446"/>
                  <a:gd name="connsiteX8" fmla="*/ 826699 w 2124383"/>
                  <a:gd name="connsiteY8" fmla="*/ 21172 h 1335446"/>
                  <a:gd name="connsiteX9" fmla="*/ 1493914 w 2124383"/>
                  <a:gd name="connsiteY9" fmla="*/ 21647 h 1335446"/>
                  <a:gd name="connsiteX10" fmla="*/ 2007160 w 2124383"/>
                  <a:gd name="connsiteY10" fmla="*/ 264699 h 1335446"/>
                  <a:gd name="connsiteX11" fmla="*/ 2120723 w 2124383"/>
                  <a:gd name="connsiteY11" fmla="*/ 624213 h 1335446"/>
                  <a:gd name="connsiteX12" fmla="*/ 1842020 w 2124383"/>
                  <a:gd name="connsiteY12" fmla="*/ 1121012 h 1335446"/>
                  <a:gd name="connsiteX13" fmla="*/ 1599253 w 2124383"/>
                  <a:gd name="connsiteY13" fmla="*/ 1335446 h 133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24383" h="1335446">
                    <a:moveTo>
                      <a:pt x="1599253" y="1335446"/>
                    </a:moveTo>
                    <a:lnTo>
                      <a:pt x="1585516" y="1316052"/>
                    </a:lnTo>
                    <a:cubicBezTo>
                      <a:pt x="1590174" y="1312724"/>
                      <a:pt x="2052509" y="981256"/>
                      <a:pt x="2097193" y="621219"/>
                    </a:cubicBezTo>
                    <a:cubicBezTo>
                      <a:pt x="2112642" y="496769"/>
                      <a:pt x="2076277" y="382017"/>
                      <a:pt x="1989144" y="280100"/>
                    </a:cubicBezTo>
                    <a:cubicBezTo>
                      <a:pt x="1885990" y="159407"/>
                      <a:pt x="1718188" y="80354"/>
                      <a:pt x="1490444" y="45130"/>
                    </a:cubicBezTo>
                    <a:cubicBezTo>
                      <a:pt x="1306955" y="16751"/>
                      <a:pt x="1084629" y="16609"/>
                      <a:pt x="829646" y="44750"/>
                    </a:cubicBezTo>
                    <a:cubicBezTo>
                      <a:pt x="394644" y="92761"/>
                      <a:pt x="10743" y="207988"/>
                      <a:pt x="6893" y="209129"/>
                    </a:cubicBezTo>
                    <a:lnTo>
                      <a:pt x="0" y="186359"/>
                    </a:lnTo>
                    <a:cubicBezTo>
                      <a:pt x="3850" y="185219"/>
                      <a:pt x="389605" y="69421"/>
                      <a:pt x="826699" y="21172"/>
                    </a:cubicBezTo>
                    <a:cubicBezTo>
                      <a:pt x="1083821" y="-7207"/>
                      <a:pt x="1308286" y="-7064"/>
                      <a:pt x="1493914" y="21647"/>
                    </a:cubicBezTo>
                    <a:cubicBezTo>
                      <a:pt x="1727506" y="57775"/>
                      <a:pt x="1900204" y="139537"/>
                      <a:pt x="2007160" y="264699"/>
                    </a:cubicBezTo>
                    <a:cubicBezTo>
                      <a:pt x="2098809" y="371892"/>
                      <a:pt x="2137028" y="492871"/>
                      <a:pt x="2120723" y="624213"/>
                    </a:cubicBezTo>
                    <a:cubicBezTo>
                      <a:pt x="2096622" y="818303"/>
                      <a:pt x="1955868" y="1001506"/>
                      <a:pt x="1842020" y="1121012"/>
                    </a:cubicBezTo>
                    <a:cubicBezTo>
                      <a:pt x="1719282" y="1249929"/>
                      <a:pt x="1600442" y="1334638"/>
                      <a:pt x="1599253" y="1335446"/>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grpSp>
        <p:grpSp>
          <p:nvGrpSpPr>
            <p:cNvPr id="318" name="Graphic 1">
              <a:extLst>
                <a:ext uri="{FF2B5EF4-FFF2-40B4-BE49-F238E27FC236}">
                  <a16:creationId xmlns:a16="http://schemas.microsoft.com/office/drawing/2014/main" id="{5E9B0B26-852F-B844-AC21-77A2EA51E39A}"/>
                </a:ext>
              </a:extLst>
            </p:cNvPr>
            <p:cNvGrpSpPr/>
            <p:nvPr/>
          </p:nvGrpSpPr>
          <p:grpSpPr>
            <a:xfrm>
              <a:off x="3335837" y="3536301"/>
              <a:ext cx="1103147" cy="1103147"/>
              <a:chOff x="1587124" y="912209"/>
              <a:chExt cx="1609449" cy="1609449"/>
            </a:xfrm>
            <a:solidFill>
              <a:srgbClr val="1E4471"/>
            </a:solidFill>
          </p:grpSpPr>
          <p:sp>
            <p:nvSpPr>
              <p:cNvPr id="319" name="Freeform: Shape 126">
                <a:extLst>
                  <a:ext uri="{FF2B5EF4-FFF2-40B4-BE49-F238E27FC236}">
                    <a16:creationId xmlns:a16="http://schemas.microsoft.com/office/drawing/2014/main" id="{91221D8C-BBD7-614C-B212-4E8BAA22AE87}"/>
                  </a:ext>
                </a:extLst>
              </p:cNvPr>
              <p:cNvSpPr/>
              <p:nvPr/>
            </p:nvSpPr>
            <p:spPr>
              <a:xfrm>
                <a:off x="2110876" y="1435960"/>
                <a:ext cx="1038827" cy="1038779"/>
              </a:xfrm>
              <a:custGeom>
                <a:avLst/>
                <a:gdLst>
                  <a:gd name="connsiteX0" fmla="*/ 1018589 w 1038827"/>
                  <a:gd name="connsiteY0" fmla="*/ 3458 h 1038779"/>
                  <a:gd name="connsiteX1" fmla="*/ 3458 w 1038827"/>
                  <a:gd name="connsiteY1" fmla="*/ 1018589 h 1038779"/>
                  <a:gd name="connsiteX2" fmla="*/ 3458 w 1038827"/>
                  <a:gd name="connsiteY2" fmla="*/ 1035322 h 1038779"/>
                  <a:gd name="connsiteX3" fmla="*/ 20191 w 1038827"/>
                  <a:gd name="connsiteY3" fmla="*/ 1035322 h 1038779"/>
                  <a:gd name="connsiteX4" fmla="*/ 1035369 w 1038827"/>
                  <a:gd name="connsiteY4" fmla="*/ 20191 h 1038779"/>
                  <a:gd name="connsiteX5" fmla="*/ 1035369 w 1038827"/>
                  <a:gd name="connsiteY5" fmla="*/ 3458 h 1038779"/>
                  <a:gd name="connsiteX6" fmla="*/ 1018589 w 1038827"/>
                  <a:gd name="connsiteY6" fmla="*/ 3458 h 1038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827" h="1038779">
                    <a:moveTo>
                      <a:pt x="1018589" y="3458"/>
                    </a:moveTo>
                    <a:lnTo>
                      <a:pt x="3458" y="1018589"/>
                    </a:lnTo>
                    <a:cubicBezTo>
                      <a:pt x="-1153" y="1023200"/>
                      <a:pt x="-1153" y="1030711"/>
                      <a:pt x="3458" y="1035322"/>
                    </a:cubicBezTo>
                    <a:cubicBezTo>
                      <a:pt x="8069" y="1039933"/>
                      <a:pt x="15580" y="1039933"/>
                      <a:pt x="20191" y="1035322"/>
                    </a:cubicBezTo>
                    <a:lnTo>
                      <a:pt x="1035369" y="20191"/>
                    </a:lnTo>
                    <a:cubicBezTo>
                      <a:pt x="1039980" y="15580"/>
                      <a:pt x="1039980" y="8069"/>
                      <a:pt x="1035369" y="3458"/>
                    </a:cubicBezTo>
                    <a:cubicBezTo>
                      <a:pt x="1030711" y="-1153"/>
                      <a:pt x="1023248" y="-1153"/>
                      <a:pt x="101858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0" name="Freeform: Shape 127">
                <a:extLst>
                  <a:ext uri="{FF2B5EF4-FFF2-40B4-BE49-F238E27FC236}">
                    <a16:creationId xmlns:a16="http://schemas.microsoft.com/office/drawing/2014/main" id="{22FD71E4-C0D4-634A-954D-24EE15F00491}"/>
                  </a:ext>
                </a:extLst>
              </p:cNvPr>
              <p:cNvSpPr/>
              <p:nvPr/>
            </p:nvSpPr>
            <p:spPr>
              <a:xfrm>
                <a:off x="2036197" y="1361287"/>
                <a:ext cx="1082132" cy="1082174"/>
              </a:xfrm>
              <a:custGeom>
                <a:avLst/>
                <a:gdLst>
                  <a:gd name="connsiteX0" fmla="*/ 1061990 w 1082132"/>
                  <a:gd name="connsiteY0" fmla="*/ 3452 h 1082174"/>
                  <a:gd name="connsiteX1" fmla="*/ 3458 w 1082132"/>
                  <a:gd name="connsiteY1" fmla="*/ 1061983 h 1082174"/>
                  <a:gd name="connsiteX2" fmla="*/ 3458 w 1082132"/>
                  <a:gd name="connsiteY2" fmla="*/ 1078716 h 1082174"/>
                  <a:gd name="connsiteX3" fmla="*/ 20191 w 1082132"/>
                  <a:gd name="connsiteY3" fmla="*/ 1078716 h 1082174"/>
                  <a:gd name="connsiteX4" fmla="*/ 1078675 w 1082132"/>
                  <a:gd name="connsiteY4" fmla="*/ 20233 h 1082174"/>
                  <a:gd name="connsiteX5" fmla="*/ 1078675 w 1082132"/>
                  <a:gd name="connsiteY5" fmla="*/ 3500 h 1082174"/>
                  <a:gd name="connsiteX6" fmla="*/ 1061990 w 1082132"/>
                  <a:gd name="connsiteY6" fmla="*/ 3452 h 108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32" h="1082174">
                    <a:moveTo>
                      <a:pt x="1061990" y="3452"/>
                    </a:moveTo>
                    <a:lnTo>
                      <a:pt x="3458" y="1061983"/>
                    </a:lnTo>
                    <a:cubicBezTo>
                      <a:pt x="-1153" y="1066594"/>
                      <a:pt x="-1153" y="1074105"/>
                      <a:pt x="3458" y="1078716"/>
                    </a:cubicBezTo>
                    <a:cubicBezTo>
                      <a:pt x="8069" y="1083327"/>
                      <a:pt x="15580" y="1083327"/>
                      <a:pt x="20191" y="1078716"/>
                    </a:cubicBezTo>
                    <a:lnTo>
                      <a:pt x="1078675" y="20233"/>
                    </a:lnTo>
                    <a:cubicBezTo>
                      <a:pt x="1083286" y="15622"/>
                      <a:pt x="1083286" y="8111"/>
                      <a:pt x="1078675" y="3500"/>
                    </a:cubicBezTo>
                    <a:cubicBezTo>
                      <a:pt x="1074111" y="-1159"/>
                      <a:pt x="1066601" y="-1159"/>
                      <a:pt x="1061990" y="345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1" name="Freeform: Shape 128">
                <a:extLst>
                  <a:ext uri="{FF2B5EF4-FFF2-40B4-BE49-F238E27FC236}">
                    <a16:creationId xmlns:a16="http://schemas.microsoft.com/office/drawing/2014/main" id="{2AEA4485-6B3D-1642-A8C2-360CB220D5DA}"/>
                  </a:ext>
                </a:extLst>
              </p:cNvPr>
              <p:cNvSpPr/>
              <p:nvPr/>
            </p:nvSpPr>
            <p:spPr>
              <a:xfrm>
                <a:off x="1967602" y="1292651"/>
                <a:ext cx="1113459" cy="1113494"/>
              </a:xfrm>
              <a:custGeom>
                <a:avLst/>
                <a:gdLst>
                  <a:gd name="connsiteX0" fmla="*/ 1093268 w 1113459"/>
                  <a:gd name="connsiteY0" fmla="*/ 3494 h 1113494"/>
                  <a:gd name="connsiteX1" fmla="*/ 3458 w 1113459"/>
                  <a:gd name="connsiteY1" fmla="*/ 1093304 h 1113494"/>
                  <a:gd name="connsiteX2" fmla="*/ 3458 w 1113459"/>
                  <a:gd name="connsiteY2" fmla="*/ 1110036 h 1113494"/>
                  <a:gd name="connsiteX3" fmla="*/ 20191 w 1113459"/>
                  <a:gd name="connsiteY3" fmla="*/ 1110036 h 1113494"/>
                  <a:gd name="connsiteX4" fmla="*/ 1110001 w 1113459"/>
                  <a:gd name="connsiteY4" fmla="*/ 20227 h 1113494"/>
                  <a:gd name="connsiteX5" fmla="*/ 1110001 w 1113459"/>
                  <a:gd name="connsiteY5" fmla="*/ 3494 h 1113494"/>
                  <a:gd name="connsiteX6" fmla="*/ 1093268 w 1113459"/>
                  <a:gd name="connsiteY6" fmla="*/ 3494 h 111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459" h="1113494">
                    <a:moveTo>
                      <a:pt x="1093268" y="3494"/>
                    </a:moveTo>
                    <a:lnTo>
                      <a:pt x="3458" y="1093304"/>
                    </a:lnTo>
                    <a:cubicBezTo>
                      <a:pt x="-1153" y="1097915"/>
                      <a:pt x="-1153" y="1105425"/>
                      <a:pt x="3458" y="1110036"/>
                    </a:cubicBezTo>
                    <a:cubicBezTo>
                      <a:pt x="8069" y="1114647"/>
                      <a:pt x="15580" y="1114647"/>
                      <a:pt x="20191" y="1110036"/>
                    </a:cubicBezTo>
                    <a:lnTo>
                      <a:pt x="1110001" y="20227"/>
                    </a:lnTo>
                    <a:cubicBezTo>
                      <a:pt x="1114612" y="15616"/>
                      <a:pt x="1114612" y="8105"/>
                      <a:pt x="1110001" y="3494"/>
                    </a:cubicBezTo>
                    <a:cubicBezTo>
                      <a:pt x="1105390" y="-1165"/>
                      <a:pt x="1097879" y="-1165"/>
                      <a:pt x="1093268"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2" name="Freeform: Shape 129">
                <a:extLst>
                  <a:ext uri="{FF2B5EF4-FFF2-40B4-BE49-F238E27FC236}">
                    <a16:creationId xmlns:a16="http://schemas.microsoft.com/office/drawing/2014/main" id="{F36E6D14-342C-1942-9686-553D4D407FA3}"/>
                  </a:ext>
                </a:extLst>
              </p:cNvPr>
              <p:cNvSpPr/>
              <p:nvPr/>
            </p:nvSpPr>
            <p:spPr>
              <a:xfrm>
                <a:off x="2192352" y="1517401"/>
                <a:ext cx="981832" cy="981867"/>
              </a:xfrm>
              <a:custGeom>
                <a:avLst/>
                <a:gdLst>
                  <a:gd name="connsiteX0" fmla="*/ 961641 w 981832"/>
                  <a:gd name="connsiteY0" fmla="*/ 3494 h 981867"/>
                  <a:gd name="connsiteX1" fmla="*/ 3458 w 981832"/>
                  <a:gd name="connsiteY1" fmla="*/ 961676 h 981867"/>
                  <a:gd name="connsiteX2" fmla="*/ 3458 w 981832"/>
                  <a:gd name="connsiteY2" fmla="*/ 978409 h 981867"/>
                  <a:gd name="connsiteX3" fmla="*/ 20191 w 981832"/>
                  <a:gd name="connsiteY3" fmla="*/ 978409 h 981867"/>
                  <a:gd name="connsiteX4" fmla="*/ 978374 w 981832"/>
                  <a:gd name="connsiteY4" fmla="*/ 20227 h 981867"/>
                  <a:gd name="connsiteX5" fmla="*/ 978374 w 981832"/>
                  <a:gd name="connsiteY5" fmla="*/ 3494 h 981867"/>
                  <a:gd name="connsiteX6" fmla="*/ 961641 w 981832"/>
                  <a:gd name="connsiteY6" fmla="*/ 3494 h 981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32" h="981867">
                    <a:moveTo>
                      <a:pt x="961641" y="3494"/>
                    </a:moveTo>
                    <a:lnTo>
                      <a:pt x="3458" y="961676"/>
                    </a:lnTo>
                    <a:cubicBezTo>
                      <a:pt x="-1153" y="966287"/>
                      <a:pt x="-1153" y="973798"/>
                      <a:pt x="3458" y="978409"/>
                    </a:cubicBezTo>
                    <a:cubicBezTo>
                      <a:pt x="8069" y="983020"/>
                      <a:pt x="15580" y="983020"/>
                      <a:pt x="20191" y="978409"/>
                    </a:cubicBezTo>
                    <a:lnTo>
                      <a:pt x="978374" y="20227"/>
                    </a:lnTo>
                    <a:cubicBezTo>
                      <a:pt x="982985" y="15616"/>
                      <a:pt x="982985" y="8105"/>
                      <a:pt x="978374" y="3494"/>
                    </a:cubicBezTo>
                    <a:cubicBezTo>
                      <a:pt x="973763" y="-1165"/>
                      <a:pt x="966252" y="-1165"/>
                      <a:pt x="961641"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3" name="Freeform: Shape 130">
                <a:extLst>
                  <a:ext uri="{FF2B5EF4-FFF2-40B4-BE49-F238E27FC236}">
                    <a16:creationId xmlns:a16="http://schemas.microsoft.com/office/drawing/2014/main" id="{9EF4E3AB-F6B3-8D4B-8C5F-AC3F2958981B}"/>
                  </a:ext>
                </a:extLst>
              </p:cNvPr>
              <p:cNvSpPr/>
              <p:nvPr/>
            </p:nvSpPr>
            <p:spPr>
              <a:xfrm>
                <a:off x="2866223" y="2191307"/>
                <a:ext cx="163927" cy="163927"/>
              </a:xfrm>
              <a:custGeom>
                <a:avLst/>
                <a:gdLst>
                  <a:gd name="connsiteX0" fmla="*/ 143737 w 163927"/>
                  <a:gd name="connsiteY0" fmla="*/ 3458 h 163927"/>
                  <a:gd name="connsiteX1" fmla="*/ 3458 w 163927"/>
                  <a:gd name="connsiteY1" fmla="*/ 143737 h 163927"/>
                  <a:gd name="connsiteX2" fmla="*/ 3458 w 163927"/>
                  <a:gd name="connsiteY2" fmla="*/ 160470 h 163927"/>
                  <a:gd name="connsiteX3" fmla="*/ 20191 w 163927"/>
                  <a:gd name="connsiteY3" fmla="*/ 160470 h 163927"/>
                  <a:gd name="connsiteX4" fmla="*/ 160470 w 163927"/>
                  <a:gd name="connsiteY4" fmla="*/ 20191 h 163927"/>
                  <a:gd name="connsiteX5" fmla="*/ 160470 w 163927"/>
                  <a:gd name="connsiteY5" fmla="*/ 3458 h 163927"/>
                  <a:gd name="connsiteX6" fmla="*/ 143737 w 163927"/>
                  <a:gd name="connsiteY6" fmla="*/ 3458 h 16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27">
                    <a:moveTo>
                      <a:pt x="143737" y="3458"/>
                    </a:moveTo>
                    <a:lnTo>
                      <a:pt x="3458" y="143737"/>
                    </a:lnTo>
                    <a:cubicBezTo>
                      <a:pt x="-1153" y="148348"/>
                      <a:pt x="-1153" y="155859"/>
                      <a:pt x="3458" y="160470"/>
                    </a:cubicBezTo>
                    <a:cubicBezTo>
                      <a:pt x="8069" y="165081"/>
                      <a:pt x="15580" y="165081"/>
                      <a:pt x="20191" y="160470"/>
                    </a:cubicBezTo>
                    <a:lnTo>
                      <a:pt x="160470" y="20191"/>
                    </a:lnTo>
                    <a:cubicBezTo>
                      <a:pt x="165081" y="15580"/>
                      <a:pt x="165081" y="8069"/>
                      <a:pt x="160470" y="3458"/>
                    </a:cubicBezTo>
                    <a:cubicBezTo>
                      <a:pt x="155859" y="-1153"/>
                      <a:pt x="148348" y="-1153"/>
                      <a:pt x="143737"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4" name="Freeform: Shape 131">
                <a:extLst>
                  <a:ext uri="{FF2B5EF4-FFF2-40B4-BE49-F238E27FC236}">
                    <a16:creationId xmlns:a16="http://schemas.microsoft.com/office/drawing/2014/main" id="{58420098-C856-C943-A72D-CE135C79155F}"/>
                  </a:ext>
                </a:extLst>
              </p:cNvPr>
              <p:cNvSpPr/>
              <p:nvPr/>
            </p:nvSpPr>
            <p:spPr>
              <a:xfrm>
                <a:off x="2636148" y="1961233"/>
                <a:ext cx="518070" cy="518070"/>
              </a:xfrm>
              <a:custGeom>
                <a:avLst/>
                <a:gdLst>
                  <a:gd name="connsiteX0" fmla="*/ 497880 w 518070"/>
                  <a:gd name="connsiteY0" fmla="*/ 3458 h 518070"/>
                  <a:gd name="connsiteX1" fmla="*/ 3458 w 518070"/>
                  <a:gd name="connsiteY1" fmla="*/ 497880 h 518070"/>
                  <a:gd name="connsiteX2" fmla="*/ 3458 w 518070"/>
                  <a:gd name="connsiteY2" fmla="*/ 514613 h 518070"/>
                  <a:gd name="connsiteX3" fmla="*/ 20191 w 518070"/>
                  <a:gd name="connsiteY3" fmla="*/ 514613 h 518070"/>
                  <a:gd name="connsiteX4" fmla="*/ 514613 w 518070"/>
                  <a:gd name="connsiteY4" fmla="*/ 20191 h 518070"/>
                  <a:gd name="connsiteX5" fmla="*/ 514613 w 518070"/>
                  <a:gd name="connsiteY5" fmla="*/ 3458 h 518070"/>
                  <a:gd name="connsiteX6" fmla="*/ 497880 w 518070"/>
                  <a:gd name="connsiteY6" fmla="*/ 3458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497880" y="3458"/>
                    </a:moveTo>
                    <a:lnTo>
                      <a:pt x="3458" y="497880"/>
                    </a:lnTo>
                    <a:cubicBezTo>
                      <a:pt x="-1153" y="502491"/>
                      <a:pt x="-1153" y="510002"/>
                      <a:pt x="3458" y="514613"/>
                    </a:cubicBezTo>
                    <a:cubicBezTo>
                      <a:pt x="8069" y="519224"/>
                      <a:pt x="15580" y="519224"/>
                      <a:pt x="20191" y="514613"/>
                    </a:cubicBezTo>
                    <a:lnTo>
                      <a:pt x="514613" y="20191"/>
                    </a:lnTo>
                    <a:cubicBezTo>
                      <a:pt x="519224" y="15580"/>
                      <a:pt x="519224" y="8069"/>
                      <a:pt x="514613" y="3458"/>
                    </a:cubicBezTo>
                    <a:cubicBezTo>
                      <a:pt x="510002" y="-1153"/>
                      <a:pt x="502539" y="-1153"/>
                      <a:pt x="497880"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5" name="Freeform: Shape 132">
                <a:extLst>
                  <a:ext uri="{FF2B5EF4-FFF2-40B4-BE49-F238E27FC236}">
                    <a16:creationId xmlns:a16="http://schemas.microsoft.com/office/drawing/2014/main" id="{FE815D9E-00A7-FE46-ACA7-7DC237E585A5}"/>
                  </a:ext>
                </a:extLst>
              </p:cNvPr>
              <p:cNvSpPr/>
              <p:nvPr/>
            </p:nvSpPr>
            <p:spPr>
              <a:xfrm>
                <a:off x="2281958" y="1607042"/>
                <a:ext cx="908579" cy="908578"/>
              </a:xfrm>
              <a:custGeom>
                <a:avLst/>
                <a:gdLst>
                  <a:gd name="connsiteX0" fmla="*/ 888388 w 908579"/>
                  <a:gd name="connsiteY0" fmla="*/ 3458 h 908578"/>
                  <a:gd name="connsiteX1" fmla="*/ 3458 w 908579"/>
                  <a:gd name="connsiteY1" fmla="*/ 888388 h 908578"/>
                  <a:gd name="connsiteX2" fmla="*/ 3458 w 908579"/>
                  <a:gd name="connsiteY2" fmla="*/ 905121 h 908578"/>
                  <a:gd name="connsiteX3" fmla="*/ 20191 w 908579"/>
                  <a:gd name="connsiteY3" fmla="*/ 905121 h 908578"/>
                  <a:gd name="connsiteX4" fmla="*/ 905121 w 908579"/>
                  <a:gd name="connsiteY4" fmla="*/ 20191 h 908578"/>
                  <a:gd name="connsiteX5" fmla="*/ 905121 w 908579"/>
                  <a:gd name="connsiteY5" fmla="*/ 3458 h 908578"/>
                  <a:gd name="connsiteX6" fmla="*/ 888388 w 908579"/>
                  <a:gd name="connsiteY6" fmla="*/ 3458 h 908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78">
                    <a:moveTo>
                      <a:pt x="888388" y="3458"/>
                    </a:moveTo>
                    <a:lnTo>
                      <a:pt x="3458" y="888388"/>
                    </a:lnTo>
                    <a:cubicBezTo>
                      <a:pt x="-1153" y="892999"/>
                      <a:pt x="-1153" y="900510"/>
                      <a:pt x="3458" y="905121"/>
                    </a:cubicBezTo>
                    <a:cubicBezTo>
                      <a:pt x="8069" y="909732"/>
                      <a:pt x="15580" y="909732"/>
                      <a:pt x="20191" y="905121"/>
                    </a:cubicBezTo>
                    <a:lnTo>
                      <a:pt x="905121" y="20191"/>
                    </a:lnTo>
                    <a:cubicBezTo>
                      <a:pt x="909732" y="15580"/>
                      <a:pt x="909732" y="8069"/>
                      <a:pt x="905121" y="3458"/>
                    </a:cubicBezTo>
                    <a:cubicBezTo>
                      <a:pt x="900510" y="-1153"/>
                      <a:pt x="892999" y="-1153"/>
                      <a:pt x="888388"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6" name="Freeform: Shape 133">
                <a:extLst>
                  <a:ext uri="{FF2B5EF4-FFF2-40B4-BE49-F238E27FC236}">
                    <a16:creationId xmlns:a16="http://schemas.microsoft.com/office/drawing/2014/main" id="{6ACAE55E-B07C-D34E-A067-97DAB7135D30}"/>
                  </a:ext>
                </a:extLst>
              </p:cNvPr>
              <p:cNvSpPr/>
              <p:nvPr/>
            </p:nvSpPr>
            <p:spPr>
              <a:xfrm>
                <a:off x="2496393" y="1821441"/>
                <a:ext cx="691672" cy="691707"/>
              </a:xfrm>
              <a:custGeom>
                <a:avLst/>
                <a:gdLst>
                  <a:gd name="connsiteX0" fmla="*/ 671482 w 691672"/>
                  <a:gd name="connsiteY0" fmla="*/ 3494 h 691707"/>
                  <a:gd name="connsiteX1" fmla="*/ 3458 w 691672"/>
                  <a:gd name="connsiteY1" fmla="*/ 671517 h 691707"/>
                  <a:gd name="connsiteX2" fmla="*/ 3458 w 691672"/>
                  <a:gd name="connsiteY2" fmla="*/ 688250 h 691707"/>
                  <a:gd name="connsiteX3" fmla="*/ 20191 w 691672"/>
                  <a:gd name="connsiteY3" fmla="*/ 688250 h 691707"/>
                  <a:gd name="connsiteX4" fmla="*/ 688214 w 691672"/>
                  <a:gd name="connsiteY4" fmla="*/ 20227 h 691707"/>
                  <a:gd name="connsiteX5" fmla="*/ 688214 w 691672"/>
                  <a:gd name="connsiteY5" fmla="*/ 3494 h 691707"/>
                  <a:gd name="connsiteX6" fmla="*/ 671482 w 691672"/>
                  <a:gd name="connsiteY6" fmla="*/ 3494 h 69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672" h="691707">
                    <a:moveTo>
                      <a:pt x="671482" y="3494"/>
                    </a:moveTo>
                    <a:lnTo>
                      <a:pt x="3458" y="671517"/>
                    </a:lnTo>
                    <a:cubicBezTo>
                      <a:pt x="-1153" y="676128"/>
                      <a:pt x="-1153" y="683639"/>
                      <a:pt x="3458" y="688250"/>
                    </a:cubicBezTo>
                    <a:cubicBezTo>
                      <a:pt x="8069" y="692861"/>
                      <a:pt x="15580" y="692861"/>
                      <a:pt x="20191" y="688250"/>
                    </a:cubicBezTo>
                    <a:lnTo>
                      <a:pt x="688214" y="20227"/>
                    </a:lnTo>
                    <a:cubicBezTo>
                      <a:pt x="692825" y="15616"/>
                      <a:pt x="692825" y="8105"/>
                      <a:pt x="688214" y="3494"/>
                    </a:cubicBezTo>
                    <a:cubicBezTo>
                      <a:pt x="683603" y="-1165"/>
                      <a:pt x="676093" y="-1165"/>
                      <a:pt x="671482" y="349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7" name="Freeform: Shape 134">
                <a:extLst>
                  <a:ext uri="{FF2B5EF4-FFF2-40B4-BE49-F238E27FC236}">
                    <a16:creationId xmlns:a16="http://schemas.microsoft.com/office/drawing/2014/main" id="{A3DC9CED-DB0F-7947-A723-3E50EE1DB2D3}"/>
                  </a:ext>
                </a:extLst>
              </p:cNvPr>
              <p:cNvSpPr/>
              <p:nvPr/>
            </p:nvSpPr>
            <p:spPr>
              <a:xfrm>
                <a:off x="2381878" y="1706963"/>
                <a:ext cx="814695" cy="814695"/>
              </a:xfrm>
              <a:custGeom>
                <a:avLst/>
                <a:gdLst>
                  <a:gd name="connsiteX0" fmla="*/ 794505 w 814695"/>
                  <a:gd name="connsiteY0" fmla="*/ 3458 h 814695"/>
                  <a:gd name="connsiteX1" fmla="*/ 3458 w 814695"/>
                  <a:gd name="connsiteY1" fmla="*/ 794504 h 814695"/>
                  <a:gd name="connsiteX2" fmla="*/ 3458 w 814695"/>
                  <a:gd name="connsiteY2" fmla="*/ 811237 h 814695"/>
                  <a:gd name="connsiteX3" fmla="*/ 20191 w 814695"/>
                  <a:gd name="connsiteY3" fmla="*/ 811237 h 814695"/>
                  <a:gd name="connsiteX4" fmla="*/ 811237 w 814695"/>
                  <a:gd name="connsiteY4" fmla="*/ 20191 h 814695"/>
                  <a:gd name="connsiteX5" fmla="*/ 811237 w 814695"/>
                  <a:gd name="connsiteY5" fmla="*/ 3458 h 814695"/>
                  <a:gd name="connsiteX6" fmla="*/ 794505 w 814695"/>
                  <a:gd name="connsiteY6" fmla="*/ 3458 h 81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695" h="814695">
                    <a:moveTo>
                      <a:pt x="794505" y="3458"/>
                    </a:moveTo>
                    <a:lnTo>
                      <a:pt x="3458" y="794504"/>
                    </a:lnTo>
                    <a:cubicBezTo>
                      <a:pt x="-1153" y="799115"/>
                      <a:pt x="-1153" y="806626"/>
                      <a:pt x="3458" y="811237"/>
                    </a:cubicBezTo>
                    <a:cubicBezTo>
                      <a:pt x="8069" y="815848"/>
                      <a:pt x="15580" y="815848"/>
                      <a:pt x="20191" y="811237"/>
                    </a:cubicBezTo>
                    <a:lnTo>
                      <a:pt x="811237" y="20191"/>
                    </a:lnTo>
                    <a:cubicBezTo>
                      <a:pt x="815848" y="15580"/>
                      <a:pt x="815848" y="8069"/>
                      <a:pt x="811237" y="3458"/>
                    </a:cubicBezTo>
                    <a:cubicBezTo>
                      <a:pt x="806626" y="-1153"/>
                      <a:pt x="799163" y="-1153"/>
                      <a:pt x="794505"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8" name="Freeform: Shape 135">
                <a:extLst>
                  <a:ext uri="{FF2B5EF4-FFF2-40B4-BE49-F238E27FC236}">
                    <a16:creationId xmlns:a16="http://schemas.microsoft.com/office/drawing/2014/main" id="{7BDCB1F1-ADEF-1049-8527-435B0F28692B}"/>
                  </a:ext>
                </a:extLst>
              </p:cNvPr>
              <p:cNvSpPr/>
              <p:nvPr/>
            </p:nvSpPr>
            <p:spPr>
              <a:xfrm>
                <a:off x="1904427" y="1229512"/>
                <a:ext cx="1133757" cy="1133756"/>
              </a:xfrm>
              <a:custGeom>
                <a:avLst/>
                <a:gdLst>
                  <a:gd name="connsiteX0" fmla="*/ 1113566 w 1133757"/>
                  <a:gd name="connsiteY0" fmla="*/ 3458 h 1133756"/>
                  <a:gd name="connsiteX1" fmla="*/ 3458 w 1133757"/>
                  <a:gd name="connsiteY1" fmla="*/ 1113566 h 1133756"/>
                  <a:gd name="connsiteX2" fmla="*/ 3458 w 1133757"/>
                  <a:gd name="connsiteY2" fmla="*/ 1130298 h 1133756"/>
                  <a:gd name="connsiteX3" fmla="*/ 20191 w 1133757"/>
                  <a:gd name="connsiteY3" fmla="*/ 1130298 h 1133756"/>
                  <a:gd name="connsiteX4" fmla="*/ 1130299 w 1133757"/>
                  <a:gd name="connsiteY4" fmla="*/ 20191 h 1133756"/>
                  <a:gd name="connsiteX5" fmla="*/ 1130299 w 1133757"/>
                  <a:gd name="connsiteY5" fmla="*/ 3458 h 1133756"/>
                  <a:gd name="connsiteX6" fmla="*/ 1113566 w 1133757"/>
                  <a:gd name="connsiteY6" fmla="*/ 345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1113566" y="3458"/>
                    </a:moveTo>
                    <a:lnTo>
                      <a:pt x="3458" y="1113566"/>
                    </a:lnTo>
                    <a:cubicBezTo>
                      <a:pt x="-1153" y="1118177"/>
                      <a:pt x="-1153" y="1125687"/>
                      <a:pt x="3458" y="1130298"/>
                    </a:cubicBezTo>
                    <a:cubicBezTo>
                      <a:pt x="8069" y="1134909"/>
                      <a:pt x="15580" y="1134909"/>
                      <a:pt x="20191" y="1130298"/>
                    </a:cubicBezTo>
                    <a:lnTo>
                      <a:pt x="1130299" y="20191"/>
                    </a:lnTo>
                    <a:cubicBezTo>
                      <a:pt x="1134910" y="15580"/>
                      <a:pt x="1134910" y="8069"/>
                      <a:pt x="1130299" y="3458"/>
                    </a:cubicBezTo>
                    <a:cubicBezTo>
                      <a:pt x="1125688" y="-1153"/>
                      <a:pt x="1118225" y="-1153"/>
                      <a:pt x="1113566"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29" name="Freeform: Shape 136">
                <a:extLst>
                  <a:ext uri="{FF2B5EF4-FFF2-40B4-BE49-F238E27FC236}">
                    <a16:creationId xmlns:a16="http://schemas.microsoft.com/office/drawing/2014/main" id="{FAA3A4BF-9A0A-F64A-B801-D046072B3EC4}"/>
                  </a:ext>
                </a:extLst>
              </p:cNvPr>
              <p:cNvSpPr/>
              <p:nvPr/>
            </p:nvSpPr>
            <p:spPr>
              <a:xfrm>
                <a:off x="1846480" y="1171565"/>
                <a:ext cx="1143739" cy="1143739"/>
              </a:xfrm>
              <a:custGeom>
                <a:avLst/>
                <a:gdLst>
                  <a:gd name="connsiteX0" fmla="*/ 1123549 w 1143739"/>
                  <a:gd name="connsiteY0" fmla="*/ 3458 h 1143739"/>
                  <a:gd name="connsiteX1" fmla="*/ 3458 w 1143739"/>
                  <a:gd name="connsiteY1" fmla="*/ 1123548 h 1143739"/>
                  <a:gd name="connsiteX2" fmla="*/ 3458 w 1143739"/>
                  <a:gd name="connsiteY2" fmla="*/ 1140281 h 1143739"/>
                  <a:gd name="connsiteX3" fmla="*/ 20191 w 1143739"/>
                  <a:gd name="connsiteY3" fmla="*/ 1140281 h 1143739"/>
                  <a:gd name="connsiteX4" fmla="*/ 1140282 w 1143739"/>
                  <a:gd name="connsiteY4" fmla="*/ 20191 h 1143739"/>
                  <a:gd name="connsiteX5" fmla="*/ 1140282 w 1143739"/>
                  <a:gd name="connsiteY5" fmla="*/ 3458 h 1143739"/>
                  <a:gd name="connsiteX6" fmla="*/ 1123549 w 1143739"/>
                  <a:gd name="connsiteY6" fmla="*/ 3458 h 114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9">
                    <a:moveTo>
                      <a:pt x="1123549" y="3458"/>
                    </a:moveTo>
                    <a:lnTo>
                      <a:pt x="3458" y="1123548"/>
                    </a:lnTo>
                    <a:cubicBezTo>
                      <a:pt x="-1153" y="1128159"/>
                      <a:pt x="-1153" y="1135670"/>
                      <a:pt x="3458" y="1140281"/>
                    </a:cubicBezTo>
                    <a:cubicBezTo>
                      <a:pt x="8069" y="1144892"/>
                      <a:pt x="15580" y="1144892"/>
                      <a:pt x="20191" y="1140281"/>
                    </a:cubicBezTo>
                    <a:lnTo>
                      <a:pt x="1140282" y="20191"/>
                    </a:lnTo>
                    <a:cubicBezTo>
                      <a:pt x="1144893" y="15580"/>
                      <a:pt x="1144893" y="8069"/>
                      <a:pt x="1140282" y="3458"/>
                    </a:cubicBezTo>
                    <a:cubicBezTo>
                      <a:pt x="1135671" y="-1153"/>
                      <a:pt x="1128160" y="-1153"/>
                      <a:pt x="1123549" y="345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0" name="Freeform: Shape 137">
                <a:extLst>
                  <a:ext uri="{FF2B5EF4-FFF2-40B4-BE49-F238E27FC236}">
                    <a16:creationId xmlns:a16="http://schemas.microsoft.com/office/drawing/2014/main" id="{59773268-5E64-4549-B300-D5C23C6DA0D8}"/>
                  </a:ext>
                </a:extLst>
              </p:cNvPr>
              <p:cNvSpPr/>
              <p:nvPr/>
            </p:nvSpPr>
            <p:spPr>
              <a:xfrm>
                <a:off x="1629479" y="954564"/>
                <a:ext cx="518070" cy="518070"/>
              </a:xfrm>
              <a:custGeom>
                <a:avLst/>
                <a:gdLst>
                  <a:gd name="connsiteX0" fmla="*/ 20191 w 518070"/>
                  <a:gd name="connsiteY0" fmla="*/ 514613 h 518070"/>
                  <a:gd name="connsiteX1" fmla="*/ 514613 w 518070"/>
                  <a:gd name="connsiteY1" fmla="*/ 20191 h 518070"/>
                  <a:gd name="connsiteX2" fmla="*/ 514613 w 518070"/>
                  <a:gd name="connsiteY2" fmla="*/ 3458 h 518070"/>
                  <a:gd name="connsiteX3" fmla="*/ 497880 w 518070"/>
                  <a:gd name="connsiteY3" fmla="*/ 3458 h 518070"/>
                  <a:gd name="connsiteX4" fmla="*/ 3458 w 518070"/>
                  <a:gd name="connsiteY4" fmla="*/ 497880 h 518070"/>
                  <a:gd name="connsiteX5" fmla="*/ 3458 w 518070"/>
                  <a:gd name="connsiteY5" fmla="*/ 514613 h 518070"/>
                  <a:gd name="connsiteX6" fmla="*/ 20191 w 518070"/>
                  <a:gd name="connsiteY6" fmla="*/ 514613 h 51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70" h="518070">
                    <a:moveTo>
                      <a:pt x="20191" y="514613"/>
                    </a:moveTo>
                    <a:lnTo>
                      <a:pt x="514613" y="20191"/>
                    </a:lnTo>
                    <a:cubicBezTo>
                      <a:pt x="519224" y="15580"/>
                      <a:pt x="519224" y="8069"/>
                      <a:pt x="514613" y="3458"/>
                    </a:cubicBezTo>
                    <a:cubicBezTo>
                      <a:pt x="510002" y="-1153"/>
                      <a:pt x="502491" y="-1153"/>
                      <a:pt x="497880" y="3458"/>
                    </a:cubicBezTo>
                    <a:lnTo>
                      <a:pt x="3458" y="497880"/>
                    </a:lnTo>
                    <a:cubicBezTo>
                      <a:pt x="-1153" y="502491"/>
                      <a:pt x="-1153" y="510002"/>
                      <a:pt x="3458" y="514613"/>
                    </a:cubicBezTo>
                    <a:cubicBezTo>
                      <a:pt x="8069" y="519223"/>
                      <a:pt x="15580" y="519223"/>
                      <a:pt x="20191" y="51461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1" name="Freeform: Shape 138">
                <a:extLst>
                  <a:ext uri="{FF2B5EF4-FFF2-40B4-BE49-F238E27FC236}">
                    <a16:creationId xmlns:a16="http://schemas.microsoft.com/office/drawing/2014/main" id="{B244FD1A-628B-9847-8DDF-121510972859}"/>
                  </a:ext>
                </a:extLst>
              </p:cNvPr>
              <p:cNvSpPr/>
              <p:nvPr/>
            </p:nvSpPr>
            <p:spPr>
              <a:xfrm>
                <a:off x="1753595" y="1078632"/>
                <a:ext cx="163927" cy="163963"/>
              </a:xfrm>
              <a:custGeom>
                <a:avLst/>
                <a:gdLst>
                  <a:gd name="connsiteX0" fmla="*/ 20191 w 163927"/>
                  <a:gd name="connsiteY0" fmla="*/ 160470 h 163963"/>
                  <a:gd name="connsiteX1" fmla="*/ 160470 w 163927"/>
                  <a:gd name="connsiteY1" fmla="*/ 20191 h 163963"/>
                  <a:gd name="connsiteX2" fmla="*/ 160470 w 163927"/>
                  <a:gd name="connsiteY2" fmla="*/ 3458 h 163963"/>
                  <a:gd name="connsiteX3" fmla="*/ 143737 w 163927"/>
                  <a:gd name="connsiteY3" fmla="*/ 3458 h 163963"/>
                  <a:gd name="connsiteX4" fmla="*/ 3458 w 163927"/>
                  <a:gd name="connsiteY4" fmla="*/ 143737 h 163963"/>
                  <a:gd name="connsiteX5" fmla="*/ 3458 w 163927"/>
                  <a:gd name="connsiteY5" fmla="*/ 160470 h 163963"/>
                  <a:gd name="connsiteX6" fmla="*/ 20191 w 163927"/>
                  <a:gd name="connsiteY6" fmla="*/ 160470 h 16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927" h="163963">
                    <a:moveTo>
                      <a:pt x="20191" y="160470"/>
                    </a:moveTo>
                    <a:lnTo>
                      <a:pt x="160470" y="20191"/>
                    </a:lnTo>
                    <a:cubicBezTo>
                      <a:pt x="165081" y="15580"/>
                      <a:pt x="165081" y="8069"/>
                      <a:pt x="160470" y="3458"/>
                    </a:cubicBezTo>
                    <a:cubicBezTo>
                      <a:pt x="155859" y="-1153"/>
                      <a:pt x="148348" y="-1153"/>
                      <a:pt x="143737" y="3458"/>
                    </a:cubicBezTo>
                    <a:lnTo>
                      <a:pt x="3458" y="143737"/>
                    </a:lnTo>
                    <a:cubicBezTo>
                      <a:pt x="-1153" y="148348"/>
                      <a:pt x="-1153" y="155859"/>
                      <a:pt x="3458" y="160470"/>
                    </a:cubicBezTo>
                    <a:cubicBezTo>
                      <a:pt x="8069" y="165128"/>
                      <a:pt x="15532" y="165128"/>
                      <a:pt x="20191" y="160470"/>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2" name="Freeform: Shape 139">
                <a:extLst>
                  <a:ext uri="{FF2B5EF4-FFF2-40B4-BE49-F238E27FC236}">
                    <a16:creationId xmlns:a16="http://schemas.microsoft.com/office/drawing/2014/main" id="{13F97578-7821-2C47-B2F0-60E3F4140D29}"/>
                  </a:ext>
                </a:extLst>
              </p:cNvPr>
              <p:cNvSpPr/>
              <p:nvPr/>
            </p:nvSpPr>
            <p:spPr>
              <a:xfrm>
                <a:off x="1593161" y="918294"/>
                <a:ext cx="908579" cy="908566"/>
              </a:xfrm>
              <a:custGeom>
                <a:avLst/>
                <a:gdLst>
                  <a:gd name="connsiteX0" fmla="*/ 20238 w 908579"/>
                  <a:gd name="connsiteY0" fmla="*/ 905073 h 908566"/>
                  <a:gd name="connsiteX1" fmla="*/ 905121 w 908579"/>
                  <a:gd name="connsiteY1" fmla="*/ 20191 h 908566"/>
                  <a:gd name="connsiteX2" fmla="*/ 905121 w 908579"/>
                  <a:gd name="connsiteY2" fmla="*/ 3458 h 908566"/>
                  <a:gd name="connsiteX3" fmla="*/ 888388 w 908579"/>
                  <a:gd name="connsiteY3" fmla="*/ 3458 h 908566"/>
                  <a:gd name="connsiteX4" fmla="*/ 3458 w 908579"/>
                  <a:gd name="connsiteY4" fmla="*/ 888340 h 908566"/>
                  <a:gd name="connsiteX5" fmla="*/ 3458 w 908579"/>
                  <a:gd name="connsiteY5" fmla="*/ 905073 h 908566"/>
                  <a:gd name="connsiteX6" fmla="*/ 20238 w 908579"/>
                  <a:gd name="connsiteY6" fmla="*/ 905073 h 9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579" h="908566">
                    <a:moveTo>
                      <a:pt x="20238" y="905073"/>
                    </a:moveTo>
                    <a:lnTo>
                      <a:pt x="905121" y="20191"/>
                    </a:lnTo>
                    <a:cubicBezTo>
                      <a:pt x="909732" y="15580"/>
                      <a:pt x="909732" y="8069"/>
                      <a:pt x="905121" y="3458"/>
                    </a:cubicBezTo>
                    <a:cubicBezTo>
                      <a:pt x="900510" y="-1153"/>
                      <a:pt x="892999" y="-1153"/>
                      <a:pt x="888388" y="3458"/>
                    </a:cubicBezTo>
                    <a:lnTo>
                      <a:pt x="3458" y="888340"/>
                    </a:lnTo>
                    <a:cubicBezTo>
                      <a:pt x="-1153" y="892951"/>
                      <a:pt x="-1153" y="900462"/>
                      <a:pt x="3458" y="905073"/>
                    </a:cubicBezTo>
                    <a:cubicBezTo>
                      <a:pt x="8117" y="909731"/>
                      <a:pt x="15580" y="909731"/>
                      <a:pt x="20238" y="905073"/>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3" name="Freeform: Shape 140">
                <a:extLst>
                  <a:ext uri="{FF2B5EF4-FFF2-40B4-BE49-F238E27FC236}">
                    <a16:creationId xmlns:a16="http://schemas.microsoft.com/office/drawing/2014/main" id="{0FB7AB25-B380-854F-94D0-250E9BF413AA}"/>
                  </a:ext>
                </a:extLst>
              </p:cNvPr>
              <p:cNvSpPr/>
              <p:nvPr/>
            </p:nvSpPr>
            <p:spPr>
              <a:xfrm>
                <a:off x="1587124" y="912209"/>
                <a:ext cx="814743" cy="814736"/>
              </a:xfrm>
              <a:custGeom>
                <a:avLst/>
                <a:gdLst>
                  <a:gd name="connsiteX0" fmla="*/ 20191 w 814743"/>
                  <a:gd name="connsiteY0" fmla="*/ 811285 h 814736"/>
                  <a:gd name="connsiteX1" fmla="*/ 811285 w 814743"/>
                  <a:gd name="connsiteY1" fmla="*/ 20191 h 814736"/>
                  <a:gd name="connsiteX2" fmla="*/ 811285 w 814743"/>
                  <a:gd name="connsiteY2" fmla="*/ 3458 h 814736"/>
                  <a:gd name="connsiteX3" fmla="*/ 794552 w 814743"/>
                  <a:gd name="connsiteY3" fmla="*/ 3458 h 814736"/>
                  <a:gd name="connsiteX4" fmla="*/ 3458 w 814743"/>
                  <a:gd name="connsiteY4" fmla="*/ 794504 h 814736"/>
                  <a:gd name="connsiteX5" fmla="*/ 3458 w 814743"/>
                  <a:gd name="connsiteY5" fmla="*/ 811237 h 814736"/>
                  <a:gd name="connsiteX6" fmla="*/ 20191 w 814743"/>
                  <a:gd name="connsiteY6" fmla="*/ 811285 h 814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4743" h="814736">
                    <a:moveTo>
                      <a:pt x="20191" y="811285"/>
                    </a:moveTo>
                    <a:lnTo>
                      <a:pt x="811285" y="20191"/>
                    </a:lnTo>
                    <a:cubicBezTo>
                      <a:pt x="815896" y="15580"/>
                      <a:pt x="815896" y="8069"/>
                      <a:pt x="811285" y="3458"/>
                    </a:cubicBezTo>
                    <a:cubicBezTo>
                      <a:pt x="806674" y="-1153"/>
                      <a:pt x="799163" y="-1153"/>
                      <a:pt x="794552" y="3458"/>
                    </a:cubicBezTo>
                    <a:lnTo>
                      <a:pt x="3458" y="794504"/>
                    </a:lnTo>
                    <a:cubicBezTo>
                      <a:pt x="-1153" y="799115"/>
                      <a:pt x="-1153" y="806626"/>
                      <a:pt x="3458" y="811237"/>
                    </a:cubicBezTo>
                    <a:cubicBezTo>
                      <a:pt x="8069" y="815895"/>
                      <a:pt x="15580" y="815895"/>
                      <a:pt x="20191" y="811285"/>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4" name="Freeform: Shape 141">
                <a:extLst>
                  <a:ext uri="{FF2B5EF4-FFF2-40B4-BE49-F238E27FC236}">
                    <a16:creationId xmlns:a16="http://schemas.microsoft.com/office/drawing/2014/main" id="{A7E6CC38-78B6-F843-86AF-EA0033EB71AC}"/>
                  </a:ext>
                </a:extLst>
              </p:cNvPr>
              <p:cNvSpPr/>
              <p:nvPr/>
            </p:nvSpPr>
            <p:spPr>
              <a:xfrm>
                <a:off x="1595633" y="920765"/>
                <a:ext cx="691719" cy="691666"/>
              </a:xfrm>
              <a:custGeom>
                <a:avLst/>
                <a:gdLst>
                  <a:gd name="connsiteX0" fmla="*/ 20238 w 691719"/>
                  <a:gd name="connsiteY0" fmla="*/ 688214 h 691666"/>
                  <a:gd name="connsiteX1" fmla="*/ 688262 w 691719"/>
                  <a:gd name="connsiteY1" fmla="*/ 20191 h 691666"/>
                  <a:gd name="connsiteX2" fmla="*/ 688262 w 691719"/>
                  <a:gd name="connsiteY2" fmla="*/ 3458 h 691666"/>
                  <a:gd name="connsiteX3" fmla="*/ 671529 w 691719"/>
                  <a:gd name="connsiteY3" fmla="*/ 3458 h 691666"/>
                  <a:gd name="connsiteX4" fmla="*/ 3458 w 691719"/>
                  <a:gd name="connsiteY4" fmla="*/ 671434 h 691666"/>
                  <a:gd name="connsiteX5" fmla="*/ 3458 w 691719"/>
                  <a:gd name="connsiteY5" fmla="*/ 688166 h 691666"/>
                  <a:gd name="connsiteX6" fmla="*/ 20238 w 691719"/>
                  <a:gd name="connsiteY6" fmla="*/ 688214 h 69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19" h="691666">
                    <a:moveTo>
                      <a:pt x="20238" y="688214"/>
                    </a:moveTo>
                    <a:lnTo>
                      <a:pt x="688262" y="20191"/>
                    </a:lnTo>
                    <a:cubicBezTo>
                      <a:pt x="692873" y="15580"/>
                      <a:pt x="692873" y="8069"/>
                      <a:pt x="688262" y="3458"/>
                    </a:cubicBezTo>
                    <a:cubicBezTo>
                      <a:pt x="683651" y="-1153"/>
                      <a:pt x="676140" y="-1153"/>
                      <a:pt x="671529" y="3458"/>
                    </a:cubicBezTo>
                    <a:lnTo>
                      <a:pt x="3458" y="671434"/>
                    </a:lnTo>
                    <a:cubicBezTo>
                      <a:pt x="-1153" y="676045"/>
                      <a:pt x="-1153" y="683555"/>
                      <a:pt x="3458" y="688166"/>
                    </a:cubicBezTo>
                    <a:cubicBezTo>
                      <a:pt x="8117" y="692825"/>
                      <a:pt x="15580" y="692825"/>
                      <a:pt x="20238" y="68821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5" name="Freeform: Shape 142">
                <a:extLst>
                  <a:ext uri="{FF2B5EF4-FFF2-40B4-BE49-F238E27FC236}">
                    <a16:creationId xmlns:a16="http://schemas.microsoft.com/office/drawing/2014/main" id="{35C02E21-1D34-5540-8296-E4A9DBCEAFFF}"/>
                  </a:ext>
                </a:extLst>
              </p:cNvPr>
              <p:cNvSpPr/>
              <p:nvPr/>
            </p:nvSpPr>
            <p:spPr>
              <a:xfrm>
                <a:off x="1609514" y="934598"/>
                <a:ext cx="981879" cy="981855"/>
              </a:xfrm>
              <a:custGeom>
                <a:avLst/>
                <a:gdLst>
                  <a:gd name="connsiteX0" fmla="*/ 20191 w 981879"/>
                  <a:gd name="connsiteY0" fmla="*/ 978421 h 981855"/>
                  <a:gd name="connsiteX1" fmla="*/ 978421 w 981879"/>
                  <a:gd name="connsiteY1" fmla="*/ 20191 h 981855"/>
                  <a:gd name="connsiteX2" fmla="*/ 978421 w 981879"/>
                  <a:gd name="connsiteY2" fmla="*/ 3458 h 981855"/>
                  <a:gd name="connsiteX3" fmla="*/ 961689 w 981879"/>
                  <a:gd name="connsiteY3" fmla="*/ 3458 h 981855"/>
                  <a:gd name="connsiteX4" fmla="*/ 3458 w 981879"/>
                  <a:gd name="connsiteY4" fmla="*/ 961641 h 981855"/>
                  <a:gd name="connsiteX5" fmla="*/ 3458 w 981879"/>
                  <a:gd name="connsiteY5" fmla="*/ 978373 h 981855"/>
                  <a:gd name="connsiteX6" fmla="*/ 20191 w 981879"/>
                  <a:gd name="connsiteY6" fmla="*/ 978421 h 98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879" h="981855">
                    <a:moveTo>
                      <a:pt x="20191" y="978421"/>
                    </a:moveTo>
                    <a:lnTo>
                      <a:pt x="978421" y="20191"/>
                    </a:lnTo>
                    <a:cubicBezTo>
                      <a:pt x="983032" y="15580"/>
                      <a:pt x="983032" y="8069"/>
                      <a:pt x="978421" y="3458"/>
                    </a:cubicBezTo>
                    <a:cubicBezTo>
                      <a:pt x="973810" y="-1153"/>
                      <a:pt x="966300" y="-1153"/>
                      <a:pt x="961689" y="3458"/>
                    </a:cubicBezTo>
                    <a:lnTo>
                      <a:pt x="3458" y="961641"/>
                    </a:lnTo>
                    <a:cubicBezTo>
                      <a:pt x="-1153" y="966252"/>
                      <a:pt x="-1153" y="973762"/>
                      <a:pt x="3458" y="978373"/>
                    </a:cubicBezTo>
                    <a:cubicBezTo>
                      <a:pt x="8069" y="982984"/>
                      <a:pt x="15580" y="983032"/>
                      <a:pt x="20191" y="97842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6" name="Freeform: Shape 143">
                <a:extLst>
                  <a:ext uri="{FF2B5EF4-FFF2-40B4-BE49-F238E27FC236}">
                    <a16:creationId xmlns:a16="http://schemas.microsoft.com/office/drawing/2014/main" id="{4D3BEF6F-AF8C-AE44-922B-E81C5D23100E}"/>
                  </a:ext>
                </a:extLst>
              </p:cNvPr>
              <p:cNvSpPr/>
              <p:nvPr/>
            </p:nvSpPr>
            <p:spPr>
              <a:xfrm>
                <a:off x="1793478" y="1118610"/>
                <a:ext cx="1143739" cy="1143733"/>
              </a:xfrm>
              <a:custGeom>
                <a:avLst/>
                <a:gdLst>
                  <a:gd name="connsiteX0" fmla="*/ 20191 w 1143739"/>
                  <a:gd name="connsiteY0" fmla="*/ 1140281 h 1143733"/>
                  <a:gd name="connsiteX1" fmla="*/ 1140282 w 1143739"/>
                  <a:gd name="connsiteY1" fmla="*/ 20191 h 1143733"/>
                  <a:gd name="connsiteX2" fmla="*/ 1140282 w 1143739"/>
                  <a:gd name="connsiteY2" fmla="*/ 3458 h 1143733"/>
                  <a:gd name="connsiteX3" fmla="*/ 1123549 w 1143739"/>
                  <a:gd name="connsiteY3" fmla="*/ 3458 h 1143733"/>
                  <a:gd name="connsiteX4" fmla="*/ 3458 w 1143739"/>
                  <a:gd name="connsiteY4" fmla="*/ 1123501 h 1143733"/>
                  <a:gd name="connsiteX5" fmla="*/ 3458 w 1143739"/>
                  <a:gd name="connsiteY5" fmla="*/ 1140233 h 1143733"/>
                  <a:gd name="connsiteX6" fmla="*/ 20191 w 1143739"/>
                  <a:gd name="connsiteY6" fmla="*/ 1140281 h 114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739" h="1143733">
                    <a:moveTo>
                      <a:pt x="20191" y="1140281"/>
                    </a:moveTo>
                    <a:lnTo>
                      <a:pt x="1140282" y="20191"/>
                    </a:lnTo>
                    <a:cubicBezTo>
                      <a:pt x="1144893" y="15580"/>
                      <a:pt x="1144893" y="8069"/>
                      <a:pt x="1140282" y="3458"/>
                    </a:cubicBezTo>
                    <a:cubicBezTo>
                      <a:pt x="1135671" y="-1153"/>
                      <a:pt x="1128160" y="-1153"/>
                      <a:pt x="1123549" y="3458"/>
                    </a:cubicBezTo>
                    <a:lnTo>
                      <a:pt x="3458" y="1123501"/>
                    </a:lnTo>
                    <a:cubicBezTo>
                      <a:pt x="-1153" y="1128112"/>
                      <a:pt x="-1153" y="1135622"/>
                      <a:pt x="3458" y="1140233"/>
                    </a:cubicBezTo>
                    <a:cubicBezTo>
                      <a:pt x="8069" y="1144892"/>
                      <a:pt x="15580" y="1144892"/>
                      <a:pt x="20191" y="114028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7" name="Freeform: Shape 144">
                <a:extLst>
                  <a:ext uri="{FF2B5EF4-FFF2-40B4-BE49-F238E27FC236}">
                    <a16:creationId xmlns:a16="http://schemas.microsoft.com/office/drawing/2014/main" id="{97A40766-3676-C04F-AB4B-A4DF7032A508}"/>
                  </a:ext>
                </a:extLst>
              </p:cNvPr>
              <p:cNvSpPr/>
              <p:nvPr/>
            </p:nvSpPr>
            <p:spPr>
              <a:xfrm>
                <a:off x="1745514" y="1070599"/>
                <a:ext cx="1133757" cy="1133756"/>
              </a:xfrm>
              <a:custGeom>
                <a:avLst/>
                <a:gdLst>
                  <a:gd name="connsiteX0" fmla="*/ 20191 w 1133757"/>
                  <a:gd name="connsiteY0" fmla="*/ 1130298 h 1133756"/>
                  <a:gd name="connsiteX1" fmla="*/ 1130299 w 1133757"/>
                  <a:gd name="connsiteY1" fmla="*/ 20191 h 1133756"/>
                  <a:gd name="connsiteX2" fmla="*/ 1130299 w 1133757"/>
                  <a:gd name="connsiteY2" fmla="*/ 3458 h 1133756"/>
                  <a:gd name="connsiteX3" fmla="*/ 1113566 w 1133757"/>
                  <a:gd name="connsiteY3" fmla="*/ 3458 h 1133756"/>
                  <a:gd name="connsiteX4" fmla="*/ 3458 w 1133757"/>
                  <a:gd name="connsiteY4" fmla="*/ 1113566 h 1133756"/>
                  <a:gd name="connsiteX5" fmla="*/ 3458 w 1133757"/>
                  <a:gd name="connsiteY5" fmla="*/ 1130298 h 1133756"/>
                  <a:gd name="connsiteX6" fmla="*/ 20191 w 1133757"/>
                  <a:gd name="connsiteY6" fmla="*/ 1130298 h 113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3757" h="1133756">
                    <a:moveTo>
                      <a:pt x="20191" y="1130298"/>
                    </a:moveTo>
                    <a:lnTo>
                      <a:pt x="1130299" y="20191"/>
                    </a:lnTo>
                    <a:cubicBezTo>
                      <a:pt x="1134910" y="15580"/>
                      <a:pt x="1134910" y="8069"/>
                      <a:pt x="1130299" y="3458"/>
                    </a:cubicBezTo>
                    <a:cubicBezTo>
                      <a:pt x="1125688" y="-1153"/>
                      <a:pt x="1118177" y="-1153"/>
                      <a:pt x="1113566" y="3458"/>
                    </a:cubicBezTo>
                    <a:lnTo>
                      <a:pt x="3458" y="1113566"/>
                    </a:lnTo>
                    <a:cubicBezTo>
                      <a:pt x="-1153" y="1118177"/>
                      <a:pt x="-1153" y="1125687"/>
                      <a:pt x="3458" y="1130298"/>
                    </a:cubicBezTo>
                    <a:cubicBezTo>
                      <a:pt x="8069" y="1134909"/>
                      <a:pt x="15580" y="1134909"/>
                      <a:pt x="20191" y="1130298"/>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8" name="Freeform: Shape 145">
                <a:extLst>
                  <a:ext uri="{FF2B5EF4-FFF2-40B4-BE49-F238E27FC236}">
                    <a16:creationId xmlns:a16="http://schemas.microsoft.com/office/drawing/2014/main" id="{FC78B2BF-7C63-0D47-A039-8E3E2E26453D}"/>
                  </a:ext>
                </a:extLst>
              </p:cNvPr>
              <p:cNvSpPr/>
              <p:nvPr/>
            </p:nvSpPr>
            <p:spPr>
              <a:xfrm>
                <a:off x="1634042" y="959127"/>
                <a:ext cx="1038780" cy="1038815"/>
              </a:xfrm>
              <a:custGeom>
                <a:avLst/>
                <a:gdLst>
                  <a:gd name="connsiteX0" fmla="*/ 20191 w 1038780"/>
                  <a:gd name="connsiteY0" fmla="*/ 1035322 h 1038815"/>
                  <a:gd name="connsiteX1" fmla="*/ 1035322 w 1038780"/>
                  <a:gd name="connsiteY1" fmla="*/ 20191 h 1038815"/>
                  <a:gd name="connsiteX2" fmla="*/ 1035322 w 1038780"/>
                  <a:gd name="connsiteY2" fmla="*/ 3458 h 1038815"/>
                  <a:gd name="connsiteX3" fmla="*/ 1018589 w 1038780"/>
                  <a:gd name="connsiteY3" fmla="*/ 3458 h 1038815"/>
                  <a:gd name="connsiteX4" fmla="*/ 3458 w 1038780"/>
                  <a:gd name="connsiteY4" fmla="*/ 1018589 h 1038815"/>
                  <a:gd name="connsiteX5" fmla="*/ 3458 w 1038780"/>
                  <a:gd name="connsiteY5" fmla="*/ 1035322 h 1038815"/>
                  <a:gd name="connsiteX6" fmla="*/ 20191 w 1038780"/>
                  <a:gd name="connsiteY6" fmla="*/ 1035322 h 1038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8780" h="1038815">
                    <a:moveTo>
                      <a:pt x="20191" y="1035322"/>
                    </a:moveTo>
                    <a:lnTo>
                      <a:pt x="1035322" y="20191"/>
                    </a:lnTo>
                    <a:cubicBezTo>
                      <a:pt x="1039933" y="15580"/>
                      <a:pt x="1039933" y="8069"/>
                      <a:pt x="1035322" y="3458"/>
                    </a:cubicBezTo>
                    <a:cubicBezTo>
                      <a:pt x="1030711" y="-1153"/>
                      <a:pt x="1023200" y="-1153"/>
                      <a:pt x="1018589" y="3458"/>
                    </a:cubicBezTo>
                    <a:lnTo>
                      <a:pt x="3458" y="1018589"/>
                    </a:lnTo>
                    <a:cubicBezTo>
                      <a:pt x="-1153" y="1023200"/>
                      <a:pt x="-1153" y="1030711"/>
                      <a:pt x="3458" y="1035322"/>
                    </a:cubicBezTo>
                    <a:cubicBezTo>
                      <a:pt x="8069" y="1039980"/>
                      <a:pt x="15580" y="1039980"/>
                      <a:pt x="20191" y="1035322"/>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39" name="Freeform: Shape 146">
                <a:extLst>
                  <a:ext uri="{FF2B5EF4-FFF2-40B4-BE49-F238E27FC236}">
                    <a16:creationId xmlns:a16="http://schemas.microsoft.com/office/drawing/2014/main" id="{229B6395-2F0F-6D42-A8D7-C81453A53D7D}"/>
                  </a:ext>
                </a:extLst>
              </p:cNvPr>
              <p:cNvSpPr/>
              <p:nvPr/>
            </p:nvSpPr>
            <p:spPr>
              <a:xfrm>
                <a:off x="1702637" y="1027769"/>
                <a:ext cx="1113506" cy="1113458"/>
              </a:xfrm>
              <a:custGeom>
                <a:avLst/>
                <a:gdLst>
                  <a:gd name="connsiteX0" fmla="*/ 20238 w 1113506"/>
                  <a:gd name="connsiteY0" fmla="*/ 1110001 h 1113458"/>
                  <a:gd name="connsiteX1" fmla="*/ 1110049 w 1113506"/>
                  <a:gd name="connsiteY1" fmla="*/ 20191 h 1113458"/>
                  <a:gd name="connsiteX2" fmla="*/ 1110049 w 1113506"/>
                  <a:gd name="connsiteY2" fmla="*/ 3458 h 1113458"/>
                  <a:gd name="connsiteX3" fmla="*/ 1093316 w 1113506"/>
                  <a:gd name="connsiteY3" fmla="*/ 3458 h 1113458"/>
                  <a:gd name="connsiteX4" fmla="*/ 3458 w 1113506"/>
                  <a:gd name="connsiteY4" fmla="*/ 1093268 h 1113458"/>
                  <a:gd name="connsiteX5" fmla="*/ 3458 w 1113506"/>
                  <a:gd name="connsiteY5" fmla="*/ 1110001 h 1113458"/>
                  <a:gd name="connsiteX6" fmla="*/ 20238 w 1113506"/>
                  <a:gd name="connsiteY6" fmla="*/ 1110001 h 1113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3506" h="1113458">
                    <a:moveTo>
                      <a:pt x="20238" y="1110001"/>
                    </a:moveTo>
                    <a:lnTo>
                      <a:pt x="1110049" y="20191"/>
                    </a:lnTo>
                    <a:cubicBezTo>
                      <a:pt x="1114660" y="15580"/>
                      <a:pt x="1114660" y="8069"/>
                      <a:pt x="1110049" y="3458"/>
                    </a:cubicBezTo>
                    <a:cubicBezTo>
                      <a:pt x="1105438" y="-1153"/>
                      <a:pt x="1097927" y="-1153"/>
                      <a:pt x="1093316" y="3458"/>
                    </a:cubicBezTo>
                    <a:lnTo>
                      <a:pt x="3458" y="1093268"/>
                    </a:lnTo>
                    <a:cubicBezTo>
                      <a:pt x="-1153" y="1097879"/>
                      <a:pt x="-1153" y="1105390"/>
                      <a:pt x="3458" y="1110001"/>
                    </a:cubicBezTo>
                    <a:cubicBezTo>
                      <a:pt x="8069" y="1114612"/>
                      <a:pt x="15627" y="1114612"/>
                      <a:pt x="20238" y="1110001"/>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sp>
            <p:nvSpPr>
              <p:cNvPr id="340" name="Freeform: Shape 147">
                <a:extLst>
                  <a:ext uri="{FF2B5EF4-FFF2-40B4-BE49-F238E27FC236}">
                    <a16:creationId xmlns:a16="http://schemas.microsoft.com/office/drawing/2014/main" id="{5E35F2D2-7E11-1449-B72E-F14080979B57}"/>
                  </a:ext>
                </a:extLst>
              </p:cNvPr>
              <p:cNvSpPr/>
              <p:nvPr/>
            </p:nvSpPr>
            <p:spPr>
              <a:xfrm>
                <a:off x="1665321" y="990453"/>
                <a:ext cx="1082180" cy="1082132"/>
              </a:xfrm>
              <a:custGeom>
                <a:avLst/>
                <a:gdLst>
                  <a:gd name="connsiteX0" fmla="*/ 20238 w 1082180"/>
                  <a:gd name="connsiteY0" fmla="*/ 1078674 h 1082132"/>
                  <a:gd name="connsiteX1" fmla="*/ 1078722 w 1082180"/>
                  <a:gd name="connsiteY1" fmla="*/ 20191 h 1082132"/>
                  <a:gd name="connsiteX2" fmla="*/ 1078722 w 1082180"/>
                  <a:gd name="connsiteY2" fmla="*/ 3458 h 1082132"/>
                  <a:gd name="connsiteX3" fmla="*/ 1061990 w 1082180"/>
                  <a:gd name="connsiteY3" fmla="*/ 3458 h 1082132"/>
                  <a:gd name="connsiteX4" fmla="*/ 3458 w 1082180"/>
                  <a:gd name="connsiteY4" fmla="*/ 1061942 h 1082132"/>
                  <a:gd name="connsiteX5" fmla="*/ 3458 w 1082180"/>
                  <a:gd name="connsiteY5" fmla="*/ 1078674 h 1082132"/>
                  <a:gd name="connsiteX6" fmla="*/ 20238 w 1082180"/>
                  <a:gd name="connsiteY6" fmla="*/ 1078674 h 10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2180" h="1082132">
                    <a:moveTo>
                      <a:pt x="20238" y="1078674"/>
                    </a:moveTo>
                    <a:lnTo>
                      <a:pt x="1078722" y="20191"/>
                    </a:lnTo>
                    <a:cubicBezTo>
                      <a:pt x="1083333" y="15580"/>
                      <a:pt x="1083333" y="8069"/>
                      <a:pt x="1078722" y="3458"/>
                    </a:cubicBezTo>
                    <a:cubicBezTo>
                      <a:pt x="1074111" y="-1153"/>
                      <a:pt x="1066601" y="-1153"/>
                      <a:pt x="1061990" y="3458"/>
                    </a:cubicBezTo>
                    <a:lnTo>
                      <a:pt x="3458" y="1061942"/>
                    </a:lnTo>
                    <a:cubicBezTo>
                      <a:pt x="-1153" y="1066553"/>
                      <a:pt x="-1153" y="1074063"/>
                      <a:pt x="3458" y="1078674"/>
                    </a:cubicBezTo>
                    <a:cubicBezTo>
                      <a:pt x="8069" y="1083285"/>
                      <a:pt x="15580" y="1083285"/>
                      <a:pt x="20238" y="1078674"/>
                    </a:cubicBezTo>
                    <a:close/>
                  </a:path>
                </a:pathLst>
              </a:custGeom>
              <a:grpFill/>
              <a:ln w="4748"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a:ln>
                    <a:noFill/>
                  </a:ln>
                  <a:solidFill>
                    <a:srgbClr val="282828"/>
                  </a:solidFill>
                  <a:effectLst/>
                  <a:uLnTx/>
                  <a:uFillTx/>
                </a:endParaRPr>
              </a:p>
            </p:txBody>
          </p:sp>
        </p:grpSp>
      </p:grpSp>
    </p:spTree>
    <p:extLst>
      <p:ext uri="{BB962C8B-B14F-4D97-AF65-F5344CB8AC3E}">
        <p14:creationId xmlns:p14="http://schemas.microsoft.com/office/powerpoint/2010/main" val="27560748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36F43B-A4D6-0C4B-BC5F-9F310F3EBF97}"/>
              </a:ext>
            </a:extLst>
          </p:cNvPr>
          <p:cNvSpPr>
            <a:spLocks noGrp="1"/>
          </p:cNvSpPr>
          <p:nvPr>
            <p:ph type="title"/>
          </p:nvPr>
        </p:nvSpPr>
        <p:spPr/>
        <p:txBody>
          <a:bodyPr/>
          <a:lstStyle/>
          <a:p>
            <a:r>
              <a:rPr lang="en-US"/>
              <a:t>And the security industry has made it </a:t>
            </a:r>
            <a:br>
              <a:rPr lang="en-US"/>
            </a:br>
            <a:r>
              <a:rPr lang="en-US">
                <a:solidFill>
                  <a:schemeClr val="accent2"/>
                </a:solidFill>
                <a:latin typeface="CiscoSansTT" panose="020B0503020201020303" pitchFamily="34" charset="0"/>
                <a:cs typeface="CiscoSansTT" panose="020B0503020201020303" pitchFamily="34" charset="0"/>
              </a:rPr>
              <a:t>more complex than ever</a:t>
            </a:r>
          </a:p>
        </p:txBody>
      </p:sp>
      <p:sp>
        <p:nvSpPr>
          <p:cNvPr id="32" name="Arrow: Bent 1">
            <a:extLst>
              <a:ext uri="{FF2B5EF4-FFF2-40B4-BE49-F238E27FC236}">
                <a16:creationId xmlns:a16="http://schemas.microsoft.com/office/drawing/2014/main" id="{E45A5596-9783-E949-9BCC-C9BCE9D7FC3F}"/>
              </a:ext>
            </a:extLst>
          </p:cNvPr>
          <p:cNvSpPr/>
          <p:nvPr/>
        </p:nvSpPr>
        <p:spPr>
          <a:xfrm flipV="1">
            <a:off x="568411" y="1235676"/>
            <a:ext cx="7867315" cy="2805230"/>
          </a:xfrm>
          <a:prstGeom prst="bentArrow">
            <a:avLst>
              <a:gd name="adj1" fmla="val 25000"/>
              <a:gd name="adj2" fmla="val 0"/>
              <a:gd name="adj3" fmla="val 25000"/>
              <a:gd name="adj4" fmla="val 7035"/>
            </a:avLst>
          </a:prstGeom>
          <a:solidFill>
            <a:schemeClr val="accent1"/>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93" name="Group 92">
            <a:extLst>
              <a:ext uri="{FF2B5EF4-FFF2-40B4-BE49-F238E27FC236}">
                <a16:creationId xmlns:a16="http://schemas.microsoft.com/office/drawing/2014/main" id="{3BC856FE-02E4-934B-A0DA-53F756BC937F}"/>
              </a:ext>
            </a:extLst>
          </p:cNvPr>
          <p:cNvGrpSpPr/>
          <p:nvPr/>
        </p:nvGrpSpPr>
        <p:grpSpPr>
          <a:xfrm>
            <a:off x="8382618" y="3913873"/>
            <a:ext cx="559467" cy="254065"/>
            <a:chOff x="4609069" y="1291161"/>
            <a:chExt cx="941865" cy="385993"/>
          </a:xfrm>
          <a:solidFill>
            <a:schemeClr val="tx1"/>
          </a:solidFill>
        </p:grpSpPr>
        <p:sp>
          <p:nvSpPr>
            <p:cNvPr id="94" name="Oval 93">
              <a:extLst>
                <a:ext uri="{FF2B5EF4-FFF2-40B4-BE49-F238E27FC236}">
                  <a16:creationId xmlns:a16="http://schemas.microsoft.com/office/drawing/2014/main" id="{9FAD74FA-BCDA-D943-A92A-C5900B240885}"/>
                </a:ext>
              </a:extLst>
            </p:cNvPr>
            <p:cNvSpPr/>
            <p:nvPr/>
          </p:nvSpPr>
          <p:spPr>
            <a:xfrm>
              <a:off x="4609069" y="1291161"/>
              <a:ext cx="431031" cy="38599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sp>
          <p:nvSpPr>
            <p:cNvPr id="95" name="Oval 94">
              <a:extLst>
                <a:ext uri="{FF2B5EF4-FFF2-40B4-BE49-F238E27FC236}">
                  <a16:creationId xmlns:a16="http://schemas.microsoft.com/office/drawing/2014/main" id="{072DB234-D537-E148-9F28-0D323D6BCFEB}"/>
                </a:ext>
              </a:extLst>
            </p:cNvPr>
            <p:cNvSpPr/>
            <p:nvPr/>
          </p:nvSpPr>
          <p:spPr>
            <a:xfrm>
              <a:off x="5454157" y="1439946"/>
              <a:ext cx="96777" cy="8842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sp>
          <p:nvSpPr>
            <p:cNvPr id="96" name="Oval 95">
              <a:extLst>
                <a:ext uri="{FF2B5EF4-FFF2-40B4-BE49-F238E27FC236}">
                  <a16:creationId xmlns:a16="http://schemas.microsoft.com/office/drawing/2014/main" id="{D9A0607B-5E68-1949-BC0B-A572BFDFE366}"/>
                </a:ext>
              </a:extLst>
            </p:cNvPr>
            <p:cNvSpPr/>
            <p:nvPr/>
          </p:nvSpPr>
          <p:spPr>
            <a:xfrm>
              <a:off x="5166320" y="1401352"/>
              <a:ext cx="181273" cy="16562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grpSp>
      <p:grpSp>
        <p:nvGrpSpPr>
          <p:cNvPr id="97" name="Group 96">
            <a:extLst>
              <a:ext uri="{FF2B5EF4-FFF2-40B4-BE49-F238E27FC236}">
                <a16:creationId xmlns:a16="http://schemas.microsoft.com/office/drawing/2014/main" id="{0D85C580-20EA-F74E-ADB5-B1741061097A}"/>
              </a:ext>
            </a:extLst>
          </p:cNvPr>
          <p:cNvGrpSpPr/>
          <p:nvPr/>
        </p:nvGrpSpPr>
        <p:grpSpPr>
          <a:xfrm rot="10800000">
            <a:off x="461387" y="1853699"/>
            <a:ext cx="214604" cy="386993"/>
            <a:chOff x="9577355" y="1508656"/>
            <a:chExt cx="250335" cy="525473"/>
          </a:xfrm>
          <a:solidFill>
            <a:schemeClr val="tx1"/>
          </a:solidFill>
        </p:grpSpPr>
        <p:sp>
          <p:nvSpPr>
            <p:cNvPr id="98" name="Freeform 32">
              <a:extLst>
                <a:ext uri="{FF2B5EF4-FFF2-40B4-BE49-F238E27FC236}">
                  <a16:creationId xmlns:a16="http://schemas.microsoft.com/office/drawing/2014/main" id="{3F051715-E8B7-8440-8A75-77B983E53484}"/>
                </a:ext>
              </a:extLst>
            </p:cNvPr>
            <p:cNvSpPr>
              <a:spLocks/>
            </p:cNvSpPr>
            <p:nvPr/>
          </p:nvSpPr>
          <p:spPr bwMode="auto">
            <a:xfrm>
              <a:off x="9577355" y="1508656"/>
              <a:ext cx="250335" cy="202972"/>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99" name="Freeform 33">
              <a:extLst>
                <a:ext uri="{FF2B5EF4-FFF2-40B4-BE49-F238E27FC236}">
                  <a16:creationId xmlns:a16="http://schemas.microsoft.com/office/drawing/2014/main" id="{E5E178D0-B093-1E49-9B8E-8CC63FA0F83F}"/>
                </a:ext>
              </a:extLst>
            </p:cNvPr>
            <p:cNvSpPr>
              <a:spLocks/>
            </p:cNvSpPr>
            <p:nvPr/>
          </p:nvSpPr>
          <p:spPr bwMode="auto">
            <a:xfrm>
              <a:off x="9577355" y="1668778"/>
              <a:ext cx="250335" cy="202972"/>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100" name="Freeform 34">
              <a:extLst>
                <a:ext uri="{FF2B5EF4-FFF2-40B4-BE49-F238E27FC236}">
                  <a16:creationId xmlns:a16="http://schemas.microsoft.com/office/drawing/2014/main" id="{55C561BF-BF0D-7E4E-B552-BB8FB85AF323}"/>
                </a:ext>
              </a:extLst>
            </p:cNvPr>
            <p:cNvSpPr>
              <a:spLocks/>
            </p:cNvSpPr>
            <p:nvPr/>
          </p:nvSpPr>
          <p:spPr bwMode="auto">
            <a:xfrm>
              <a:off x="9577355" y="1828901"/>
              <a:ext cx="250335" cy="205228"/>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grpSp>
      <p:sp>
        <p:nvSpPr>
          <p:cNvPr id="88" name="TextBox 87">
            <a:extLst>
              <a:ext uri="{FF2B5EF4-FFF2-40B4-BE49-F238E27FC236}">
                <a16:creationId xmlns:a16="http://schemas.microsoft.com/office/drawing/2014/main" id="{A2C18C9F-2425-6E4F-97CC-915A9B28C814}"/>
              </a:ext>
            </a:extLst>
          </p:cNvPr>
          <p:cNvSpPr txBox="1"/>
          <p:nvPr/>
        </p:nvSpPr>
        <p:spPr>
          <a:xfrm>
            <a:off x="6419965" y="3677783"/>
            <a:ext cx="1729124" cy="523220"/>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cs typeface="+mn-cs"/>
              </a:rPr>
              <a:t>Plan to automate more actions</a:t>
            </a:r>
          </a:p>
        </p:txBody>
      </p:sp>
      <p:grpSp>
        <p:nvGrpSpPr>
          <p:cNvPr id="101" name="Group 100">
            <a:extLst>
              <a:ext uri="{FF2B5EF4-FFF2-40B4-BE49-F238E27FC236}">
                <a16:creationId xmlns:a16="http://schemas.microsoft.com/office/drawing/2014/main" id="{AE35E666-CD4E-254A-B30E-2348C8CA9117}"/>
              </a:ext>
            </a:extLst>
          </p:cNvPr>
          <p:cNvGrpSpPr/>
          <p:nvPr/>
        </p:nvGrpSpPr>
        <p:grpSpPr>
          <a:xfrm>
            <a:off x="6404915" y="1634607"/>
            <a:ext cx="1758666" cy="1743617"/>
            <a:chOff x="6187164" y="1456977"/>
            <a:chExt cx="1758666" cy="1743617"/>
          </a:xfrm>
        </p:grpSpPr>
        <p:sp>
          <p:nvSpPr>
            <p:cNvPr id="102" name="Oval 169">
              <a:extLst>
                <a:ext uri="{FF2B5EF4-FFF2-40B4-BE49-F238E27FC236}">
                  <a16:creationId xmlns:a16="http://schemas.microsoft.com/office/drawing/2014/main" id="{F6FC3A00-5A2E-A94E-9F74-797A388F9FFC}"/>
                </a:ext>
              </a:extLst>
            </p:cNvPr>
            <p:cNvSpPr>
              <a:spLocks noChangeArrowheads="1"/>
            </p:cNvSpPr>
            <p:nvPr/>
          </p:nvSpPr>
          <p:spPr bwMode="auto">
            <a:xfrm>
              <a:off x="6202214" y="1456977"/>
              <a:ext cx="1743616" cy="1743617"/>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04" name="Freeform 170">
              <a:extLst>
                <a:ext uri="{FF2B5EF4-FFF2-40B4-BE49-F238E27FC236}">
                  <a16:creationId xmlns:a16="http://schemas.microsoft.com/office/drawing/2014/main" id="{EFFA5D5F-69D7-2A46-932B-40030F515D06}"/>
                </a:ext>
              </a:extLst>
            </p:cNvPr>
            <p:cNvSpPr>
              <a:spLocks/>
            </p:cNvSpPr>
            <p:nvPr/>
          </p:nvSpPr>
          <p:spPr bwMode="auto">
            <a:xfrm>
              <a:off x="6205430" y="1457272"/>
              <a:ext cx="1735986" cy="1739801"/>
            </a:xfrm>
            <a:custGeom>
              <a:avLst/>
              <a:gdLst>
                <a:gd name="T0" fmla="*/ 132 w 265"/>
                <a:gd name="T1" fmla="*/ 0 h 265"/>
                <a:gd name="T2" fmla="*/ 265 w 265"/>
                <a:gd name="T3" fmla="*/ 133 h 265"/>
                <a:gd name="T4" fmla="*/ 132 w 265"/>
                <a:gd name="T5" fmla="*/ 265 h 265"/>
                <a:gd name="T6" fmla="*/ 0 w 265"/>
                <a:gd name="T7" fmla="*/ 133 h 265"/>
                <a:gd name="T8" fmla="*/ 1 w 265"/>
                <a:gd name="T9" fmla="*/ 117 h 265"/>
              </a:gdLst>
              <a:ahLst/>
              <a:cxnLst>
                <a:cxn ang="0">
                  <a:pos x="T0" y="T1"/>
                </a:cxn>
                <a:cxn ang="0">
                  <a:pos x="T2" y="T3"/>
                </a:cxn>
                <a:cxn ang="0">
                  <a:pos x="T4" y="T5"/>
                </a:cxn>
                <a:cxn ang="0">
                  <a:pos x="T6" y="T7"/>
                </a:cxn>
                <a:cxn ang="0">
                  <a:pos x="T8" y="T9"/>
                </a:cxn>
              </a:cxnLst>
              <a:rect l="0" t="0" r="r" b="b"/>
              <a:pathLst>
                <a:path w="265" h="265">
                  <a:moveTo>
                    <a:pt x="132" y="0"/>
                  </a:moveTo>
                  <a:cubicBezTo>
                    <a:pt x="205" y="0"/>
                    <a:pt x="265" y="60"/>
                    <a:pt x="265" y="133"/>
                  </a:cubicBezTo>
                  <a:cubicBezTo>
                    <a:pt x="265" y="206"/>
                    <a:pt x="205" y="265"/>
                    <a:pt x="132" y="265"/>
                  </a:cubicBezTo>
                  <a:cubicBezTo>
                    <a:pt x="59" y="265"/>
                    <a:pt x="0" y="206"/>
                    <a:pt x="0" y="133"/>
                  </a:cubicBezTo>
                  <a:cubicBezTo>
                    <a:pt x="0" y="127"/>
                    <a:pt x="0" y="122"/>
                    <a:pt x="1" y="117"/>
                  </a:cubicBezTo>
                </a:path>
              </a:pathLst>
            </a:custGeom>
            <a:noFill/>
            <a:ln w="571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05" name="TextBox 104">
              <a:extLst>
                <a:ext uri="{FF2B5EF4-FFF2-40B4-BE49-F238E27FC236}">
                  <a16:creationId xmlns:a16="http://schemas.microsoft.com/office/drawing/2014/main" id="{3D7E4074-4C3F-B540-A33A-4F353FCFCD02}"/>
                </a:ext>
              </a:extLst>
            </p:cNvPr>
            <p:cNvSpPr txBox="1"/>
            <p:nvPr/>
          </p:nvSpPr>
          <p:spPr>
            <a:xfrm>
              <a:off x="6187164" y="1980113"/>
              <a:ext cx="1735986" cy="707886"/>
            </a:xfrm>
            <a:prstGeom prst="rect">
              <a:avLst/>
            </a:prstGeom>
            <a:noFill/>
          </p:spPr>
          <p:txBody>
            <a:bodyPr wrap="square" lIns="0" r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a:ln>
                    <a:noFill/>
                  </a:ln>
                  <a:solidFill>
                    <a:srgbClr val="6BBF4E"/>
                  </a:solidFill>
                  <a:effectLst/>
                  <a:uLnTx/>
                  <a:uFillTx/>
                  <a:latin typeface="CiscoSansTT Thin" panose="020B0203020201020303" pitchFamily="34" charset="0"/>
                  <a:ea typeface="ＭＳ Ｐゴシック" charset="0"/>
                  <a:cs typeface="CiscoSansTT Thin" panose="020B0203020201020303" pitchFamily="34" charset="0"/>
                </a:rPr>
                <a:t>77%</a:t>
              </a:r>
            </a:p>
          </p:txBody>
        </p:sp>
      </p:grpSp>
      <p:sp>
        <p:nvSpPr>
          <p:cNvPr id="87" name="TextBox 86">
            <a:extLst>
              <a:ext uri="{FF2B5EF4-FFF2-40B4-BE49-F238E27FC236}">
                <a16:creationId xmlns:a16="http://schemas.microsoft.com/office/drawing/2014/main" id="{2FCF8266-815E-9B4D-B07C-D13097883B86}"/>
              </a:ext>
            </a:extLst>
          </p:cNvPr>
          <p:cNvSpPr txBox="1"/>
          <p:nvPr/>
        </p:nvSpPr>
        <p:spPr>
          <a:xfrm>
            <a:off x="3703493" y="3672513"/>
            <a:ext cx="1743616" cy="738664"/>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cs typeface="+mn-cs"/>
              </a:rPr>
              <a:t>Orchestration between products is challenging</a:t>
            </a:r>
          </a:p>
        </p:txBody>
      </p:sp>
      <p:grpSp>
        <p:nvGrpSpPr>
          <p:cNvPr id="106" name="Group 105">
            <a:extLst>
              <a:ext uri="{FF2B5EF4-FFF2-40B4-BE49-F238E27FC236}">
                <a16:creationId xmlns:a16="http://schemas.microsoft.com/office/drawing/2014/main" id="{53C4C809-4597-044D-81F5-865DC566CEEE}"/>
              </a:ext>
            </a:extLst>
          </p:cNvPr>
          <p:cNvGrpSpPr/>
          <p:nvPr/>
        </p:nvGrpSpPr>
        <p:grpSpPr>
          <a:xfrm>
            <a:off x="3696890" y="1634607"/>
            <a:ext cx="1749190" cy="1743617"/>
            <a:chOff x="3589507" y="1475733"/>
            <a:chExt cx="1749190" cy="1743617"/>
          </a:xfrm>
        </p:grpSpPr>
        <p:sp>
          <p:nvSpPr>
            <p:cNvPr id="107" name="TextBox 106">
              <a:extLst>
                <a:ext uri="{FF2B5EF4-FFF2-40B4-BE49-F238E27FC236}">
                  <a16:creationId xmlns:a16="http://schemas.microsoft.com/office/drawing/2014/main" id="{D644C937-FFF8-184B-A9D4-B79F541EB105}"/>
                </a:ext>
              </a:extLst>
            </p:cNvPr>
            <p:cNvSpPr txBox="1"/>
            <p:nvPr/>
          </p:nvSpPr>
          <p:spPr>
            <a:xfrm>
              <a:off x="3596109" y="1994443"/>
              <a:ext cx="1742588" cy="707886"/>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a:ln>
                    <a:noFill/>
                  </a:ln>
                  <a:solidFill>
                    <a:srgbClr val="6BBF4E"/>
                  </a:solidFill>
                  <a:effectLst/>
                  <a:uLnTx/>
                  <a:uFillTx/>
                  <a:latin typeface="CiscoSansTT Thin" panose="020B0203020201020303" pitchFamily="34" charset="0"/>
                  <a:ea typeface="ＭＳ Ｐゴシック" charset="0"/>
                  <a:cs typeface="CiscoSansTT Thin" panose="020B0203020201020303" pitchFamily="34" charset="0"/>
                </a:rPr>
                <a:t>81%</a:t>
              </a:r>
            </a:p>
          </p:txBody>
        </p:sp>
        <p:grpSp>
          <p:nvGrpSpPr>
            <p:cNvPr id="108" name="Group 107">
              <a:extLst>
                <a:ext uri="{FF2B5EF4-FFF2-40B4-BE49-F238E27FC236}">
                  <a16:creationId xmlns:a16="http://schemas.microsoft.com/office/drawing/2014/main" id="{1C48185C-03D3-444A-BD9B-BB68D1AA969F}"/>
                </a:ext>
              </a:extLst>
            </p:cNvPr>
            <p:cNvGrpSpPr/>
            <p:nvPr/>
          </p:nvGrpSpPr>
          <p:grpSpPr>
            <a:xfrm>
              <a:off x="3589507" y="1475733"/>
              <a:ext cx="1743616" cy="1743617"/>
              <a:chOff x="5364164" y="7054056"/>
              <a:chExt cx="725488" cy="725488"/>
            </a:xfrm>
          </p:grpSpPr>
          <p:sp>
            <p:nvSpPr>
              <p:cNvPr id="109" name="Oval 169">
                <a:extLst>
                  <a:ext uri="{FF2B5EF4-FFF2-40B4-BE49-F238E27FC236}">
                    <a16:creationId xmlns:a16="http://schemas.microsoft.com/office/drawing/2014/main" id="{73151AF5-82E0-EB48-BA05-FCA5079C2587}"/>
                  </a:ext>
                </a:extLst>
              </p:cNvPr>
              <p:cNvSpPr>
                <a:spLocks noChangeArrowheads="1"/>
              </p:cNvSpPr>
              <p:nvPr/>
            </p:nvSpPr>
            <p:spPr bwMode="auto">
              <a:xfrm>
                <a:off x="5364164" y="7054056"/>
                <a:ext cx="725488" cy="725488"/>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10" name="Freeform 170">
                <a:extLst>
                  <a:ext uri="{FF2B5EF4-FFF2-40B4-BE49-F238E27FC236}">
                    <a16:creationId xmlns:a16="http://schemas.microsoft.com/office/drawing/2014/main" id="{F95F68AC-BBBF-5948-B242-2B739E910398}"/>
                  </a:ext>
                </a:extLst>
              </p:cNvPr>
              <p:cNvSpPr>
                <a:spLocks/>
              </p:cNvSpPr>
              <p:nvPr/>
            </p:nvSpPr>
            <p:spPr bwMode="auto">
              <a:xfrm>
                <a:off x="5366911" y="7054056"/>
                <a:ext cx="722313" cy="723900"/>
              </a:xfrm>
              <a:custGeom>
                <a:avLst/>
                <a:gdLst>
                  <a:gd name="T0" fmla="*/ 132 w 265"/>
                  <a:gd name="T1" fmla="*/ 0 h 265"/>
                  <a:gd name="T2" fmla="*/ 265 w 265"/>
                  <a:gd name="T3" fmla="*/ 133 h 265"/>
                  <a:gd name="T4" fmla="*/ 132 w 265"/>
                  <a:gd name="T5" fmla="*/ 265 h 265"/>
                  <a:gd name="T6" fmla="*/ 0 w 265"/>
                  <a:gd name="T7" fmla="*/ 133 h 265"/>
                  <a:gd name="T8" fmla="*/ 1 w 265"/>
                  <a:gd name="T9" fmla="*/ 117 h 265"/>
                </a:gdLst>
                <a:ahLst/>
                <a:cxnLst>
                  <a:cxn ang="0">
                    <a:pos x="T0" y="T1"/>
                  </a:cxn>
                  <a:cxn ang="0">
                    <a:pos x="T2" y="T3"/>
                  </a:cxn>
                  <a:cxn ang="0">
                    <a:pos x="T4" y="T5"/>
                  </a:cxn>
                  <a:cxn ang="0">
                    <a:pos x="T6" y="T7"/>
                  </a:cxn>
                  <a:cxn ang="0">
                    <a:pos x="T8" y="T9"/>
                  </a:cxn>
                </a:cxnLst>
                <a:rect l="0" t="0" r="r" b="b"/>
                <a:pathLst>
                  <a:path w="265" h="265">
                    <a:moveTo>
                      <a:pt x="132" y="0"/>
                    </a:moveTo>
                    <a:cubicBezTo>
                      <a:pt x="205" y="0"/>
                      <a:pt x="265" y="60"/>
                      <a:pt x="265" y="133"/>
                    </a:cubicBezTo>
                    <a:cubicBezTo>
                      <a:pt x="265" y="206"/>
                      <a:pt x="205" y="265"/>
                      <a:pt x="132" y="265"/>
                    </a:cubicBezTo>
                    <a:cubicBezTo>
                      <a:pt x="59" y="265"/>
                      <a:pt x="0" y="206"/>
                      <a:pt x="0" y="133"/>
                    </a:cubicBezTo>
                    <a:cubicBezTo>
                      <a:pt x="0" y="127"/>
                      <a:pt x="0" y="122"/>
                      <a:pt x="1" y="117"/>
                    </a:cubicBezTo>
                  </a:path>
                </a:pathLst>
              </a:custGeom>
              <a:noFill/>
              <a:ln w="571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sp>
        <p:nvSpPr>
          <p:cNvPr id="89" name="TextBox 88">
            <a:extLst>
              <a:ext uri="{FF2B5EF4-FFF2-40B4-BE49-F238E27FC236}">
                <a16:creationId xmlns:a16="http://schemas.microsoft.com/office/drawing/2014/main" id="{4829AB87-DD3A-1D4F-93A7-C0ED8DD3013B}"/>
              </a:ext>
            </a:extLst>
          </p:cNvPr>
          <p:cNvSpPr txBox="1"/>
          <p:nvPr/>
        </p:nvSpPr>
        <p:spPr>
          <a:xfrm>
            <a:off x="953453" y="3672513"/>
            <a:ext cx="1729124" cy="738664"/>
          </a:xfrm>
          <a:prstGeom prst="rect">
            <a:avLst/>
          </a:prstGeom>
          <a:solidFill>
            <a:schemeClr val="bg1"/>
          </a:solid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cs typeface="+mn-cs"/>
              </a:rPr>
              <a:t>Time to detect </a:t>
            </a:r>
            <a:b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cs typeface="+mn-cs"/>
              </a:rPr>
            </a:br>
            <a:r>
              <a:rPr kumimoji="0" lang="en-US" sz="1400" b="0" i="0" u="none" strike="noStrike" kern="1200" cap="none" spc="0" normalizeH="0" baseline="0" noProof="0">
                <a:ln>
                  <a:noFill/>
                </a:ln>
                <a:solidFill>
                  <a:srgbClr val="0D274D"/>
                </a:solidFill>
                <a:effectLst/>
                <a:uLnTx/>
                <a:uFillTx/>
                <a:latin typeface="CiscoSansTT ExtraLight"/>
                <a:ea typeface="ＭＳ Ｐゴシック" charset="0"/>
                <a:cs typeface="+mn-cs"/>
              </a:rPr>
              <a:t>is the key KPI for security teams</a:t>
            </a:r>
          </a:p>
        </p:txBody>
      </p:sp>
      <p:grpSp>
        <p:nvGrpSpPr>
          <p:cNvPr id="111" name="Group 110">
            <a:extLst>
              <a:ext uri="{FF2B5EF4-FFF2-40B4-BE49-F238E27FC236}">
                <a16:creationId xmlns:a16="http://schemas.microsoft.com/office/drawing/2014/main" id="{37BCF6A4-FA90-0643-BFE7-A054620F6050}"/>
              </a:ext>
            </a:extLst>
          </p:cNvPr>
          <p:cNvGrpSpPr/>
          <p:nvPr/>
        </p:nvGrpSpPr>
        <p:grpSpPr>
          <a:xfrm>
            <a:off x="953453" y="1645739"/>
            <a:ext cx="1764894" cy="1762138"/>
            <a:chOff x="1181493" y="1434929"/>
            <a:chExt cx="1764894" cy="1762138"/>
          </a:xfrm>
        </p:grpSpPr>
        <p:grpSp>
          <p:nvGrpSpPr>
            <p:cNvPr id="112" name="Group 111">
              <a:extLst>
                <a:ext uri="{FF2B5EF4-FFF2-40B4-BE49-F238E27FC236}">
                  <a16:creationId xmlns:a16="http://schemas.microsoft.com/office/drawing/2014/main" id="{743CBCA5-507E-3F4B-B306-071A4CE322C7}"/>
                </a:ext>
              </a:extLst>
            </p:cNvPr>
            <p:cNvGrpSpPr/>
            <p:nvPr/>
          </p:nvGrpSpPr>
          <p:grpSpPr>
            <a:xfrm>
              <a:off x="1181493" y="1434929"/>
              <a:ext cx="1758292" cy="1762138"/>
              <a:chOff x="2052638" y="5234781"/>
              <a:chExt cx="725488" cy="727075"/>
            </a:xfrm>
          </p:grpSpPr>
          <p:sp>
            <p:nvSpPr>
              <p:cNvPr id="114" name="Oval 201">
                <a:extLst>
                  <a:ext uri="{FF2B5EF4-FFF2-40B4-BE49-F238E27FC236}">
                    <a16:creationId xmlns:a16="http://schemas.microsoft.com/office/drawing/2014/main" id="{5DB2EB68-BEDC-4843-9597-C80DC8D49D67}"/>
                  </a:ext>
                </a:extLst>
              </p:cNvPr>
              <p:cNvSpPr>
                <a:spLocks noChangeArrowheads="1"/>
              </p:cNvSpPr>
              <p:nvPr/>
            </p:nvSpPr>
            <p:spPr bwMode="auto">
              <a:xfrm>
                <a:off x="2052638" y="5234781"/>
                <a:ext cx="725488" cy="727075"/>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15" name="Freeform 202">
                <a:extLst>
                  <a:ext uri="{FF2B5EF4-FFF2-40B4-BE49-F238E27FC236}">
                    <a16:creationId xmlns:a16="http://schemas.microsoft.com/office/drawing/2014/main" id="{72C8AC0E-E72C-FC4D-ADAB-5D8A094E6AFC}"/>
                  </a:ext>
                </a:extLst>
              </p:cNvPr>
              <p:cNvSpPr>
                <a:spLocks/>
              </p:cNvSpPr>
              <p:nvPr/>
            </p:nvSpPr>
            <p:spPr bwMode="auto">
              <a:xfrm>
                <a:off x="2354263" y="5234781"/>
                <a:ext cx="423863" cy="723900"/>
              </a:xfrm>
              <a:custGeom>
                <a:avLst/>
                <a:gdLst>
                  <a:gd name="T0" fmla="*/ 23 w 155"/>
                  <a:gd name="T1" fmla="*/ 0 h 265"/>
                  <a:gd name="T2" fmla="*/ 155 w 155"/>
                  <a:gd name="T3" fmla="*/ 132 h 265"/>
                  <a:gd name="T4" fmla="*/ 23 w 155"/>
                  <a:gd name="T5" fmla="*/ 265 h 265"/>
                  <a:gd name="T6" fmla="*/ 0 w 155"/>
                  <a:gd name="T7" fmla="*/ 263 h 265"/>
                </a:gdLst>
                <a:ahLst/>
                <a:cxnLst>
                  <a:cxn ang="0">
                    <a:pos x="T0" y="T1"/>
                  </a:cxn>
                  <a:cxn ang="0">
                    <a:pos x="T2" y="T3"/>
                  </a:cxn>
                  <a:cxn ang="0">
                    <a:pos x="T4" y="T5"/>
                  </a:cxn>
                  <a:cxn ang="0">
                    <a:pos x="T6" y="T7"/>
                  </a:cxn>
                </a:cxnLst>
                <a:rect l="0" t="0" r="r" b="b"/>
                <a:pathLst>
                  <a:path w="155" h="265">
                    <a:moveTo>
                      <a:pt x="23" y="0"/>
                    </a:moveTo>
                    <a:cubicBezTo>
                      <a:pt x="96" y="0"/>
                      <a:pt x="155" y="59"/>
                      <a:pt x="155" y="132"/>
                    </a:cubicBezTo>
                    <a:cubicBezTo>
                      <a:pt x="155" y="206"/>
                      <a:pt x="96" y="265"/>
                      <a:pt x="23" y="265"/>
                    </a:cubicBezTo>
                    <a:cubicBezTo>
                      <a:pt x="14" y="265"/>
                      <a:pt x="9" y="264"/>
                      <a:pt x="0" y="263"/>
                    </a:cubicBezTo>
                  </a:path>
                </a:pathLst>
              </a:custGeom>
              <a:noFill/>
              <a:ln w="57150" cap="rnd">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sp>
          <p:nvSpPr>
            <p:cNvPr id="113" name="TextBox 112">
              <a:extLst>
                <a:ext uri="{FF2B5EF4-FFF2-40B4-BE49-F238E27FC236}">
                  <a16:creationId xmlns:a16="http://schemas.microsoft.com/office/drawing/2014/main" id="{EB75D807-E434-D04B-A8E4-7A9F593C9099}"/>
                </a:ext>
              </a:extLst>
            </p:cNvPr>
            <p:cNvSpPr txBox="1"/>
            <p:nvPr/>
          </p:nvSpPr>
          <p:spPr>
            <a:xfrm>
              <a:off x="1208459" y="1941662"/>
              <a:ext cx="1737928" cy="707886"/>
            </a:xfrm>
            <a:prstGeom prst="rect">
              <a:avLst/>
            </a:prstGeom>
            <a:noFill/>
          </p:spPr>
          <p:txBody>
            <a:bodyPr wrap="square" lIns="0" rIns="0"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000" b="0" i="0" u="none" strike="noStrike" kern="0" cap="none" spc="0" normalizeH="0" baseline="0" noProof="0">
                  <a:ln>
                    <a:noFill/>
                  </a:ln>
                  <a:solidFill>
                    <a:srgbClr val="6BBF4E"/>
                  </a:solidFill>
                  <a:effectLst/>
                  <a:uLnTx/>
                  <a:uFillTx/>
                  <a:latin typeface="CiscoSansTT Thin" panose="020B0203020201020303" pitchFamily="34" charset="0"/>
                  <a:ea typeface="ＭＳ Ｐゴシック" charset="0"/>
                  <a:cs typeface="CiscoSansTT Thin" panose="020B0203020201020303" pitchFamily="34" charset="0"/>
                </a:rPr>
                <a:t>57%</a:t>
              </a:r>
            </a:p>
          </p:txBody>
        </p:sp>
      </p:grpSp>
      <p:sp>
        <p:nvSpPr>
          <p:cNvPr id="116" name="TextBox 115">
            <a:extLst>
              <a:ext uri="{FF2B5EF4-FFF2-40B4-BE49-F238E27FC236}">
                <a16:creationId xmlns:a16="http://schemas.microsoft.com/office/drawing/2014/main" id="{DB2F6587-E042-E444-B233-DE2AADE6B514}"/>
              </a:ext>
            </a:extLst>
          </p:cNvPr>
          <p:cNvSpPr txBox="1"/>
          <p:nvPr/>
        </p:nvSpPr>
        <p:spPr>
          <a:xfrm>
            <a:off x="6414501" y="4762323"/>
            <a:ext cx="2480483" cy="230832"/>
          </a:xfrm>
          <a:prstGeom prst="rect">
            <a:avLst/>
          </a:prstGeom>
          <a:noFill/>
        </p:spPr>
        <p:txBody>
          <a:bodyPr wrap="square" rtlCol="0">
            <a:spAutoFit/>
          </a:bodyPr>
          <a:lstStyle/>
          <a:p>
            <a:pPr marL="0" marR="0" lvl="0" indent="0" algn="l" defTabSz="457189"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a:ln>
                  <a:noFill/>
                </a:ln>
                <a:solidFill>
                  <a:srgbClr val="0D274D"/>
                </a:solidFill>
                <a:effectLst/>
                <a:uLnTx/>
                <a:uFillTx/>
                <a:latin typeface="CiscoSansTT ExtraLight"/>
                <a:ea typeface="ＭＳ Ｐゴシック" charset="0"/>
                <a:cs typeface="CiscoSansTT Light" panose="020B0503020201020303" pitchFamily="34" charset="0"/>
              </a:rPr>
              <a:t>Source: CISO Benchmark Study 2020</a:t>
            </a:r>
            <a:endParaRPr kumimoji="0" lang="en-US" sz="900" b="1" i="1" u="none" strike="noStrike" kern="1200" cap="none" spc="0" normalizeH="0" baseline="0" noProof="0">
              <a:ln>
                <a:noFill/>
              </a:ln>
              <a:solidFill>
                <a:srgbClr val="0D274D"/>
              </a:solidFill>
              <a:effectLst/>
              <a:uLnTx/>
              <a:uFillTx/>
              <a:latin typeface="CiscoSansTT ExtraLight"/>
              <a:ea typeface="ＭＳ Ｐゴシック" charset="0"/>
              <a:cs typeface="CiscoSansTT Light" panose="020B0503020201020303" pitchFamily="34" charset="0"/>
            </a:endParaRPr>
          </a:p>
        </p:txBody>
      </p:sp>
      <p:grpSp>
        <p:nvGrpSpPr>
          <p:cNvPr id="7" name="Group 6">
            <a:extLst>
              <a:ext uri="{FF2B5EF4-FFF2-40B4-BE49-F238E27FC236}">
                <a16:creationId xmlns:a16="http://schemas.microsoft.com/office/drawing/2014/main" id="{8AB69E60-8EA4-6C41-8170-A76C6493741F}"/>
              </a:ext>
            </a:extLst>
          </p:cNvPr>
          <p:cNvGrpSpPr/>
          <p:nvPr/>
        </p:nvGrpSpPr>
        <p:grpSpPr>
          <a:xfrm rot="16200000">
            <a:off x="5793855" y="3887456"/>
            <a:ext cx="177778" cy="327664"/>
            <a:chOff x="621538" y="1746883"/>
            <a:chExt cx="198545" cy="467526"/>
          </a:xfrm>
          <a:solidFill>
            <a:schemeClr val="tx1"/>
          </a:solidFill>
        </p:grpSpPr>
        <p:sp>
          <p:nvSpPr>
            <p:cNvPr id="103" name="Freeform 32">
              <a:extLst>
                <a:ext uri="{FF2B5EF4-FFF2-40B4-BE49-F238E27FC236}">
                  <a16:creationId xmlns:a16="http://schemas.microsoft.com/office/drawing/2014/main" id="{6E59BB4C-E1EE-CF4C-A9C1-806A35FC55C5}"/>
                </a:ext>
              </a:extLst>
            </p:cNvPr>
            <p:cNvSpPr>
              <a:spLocks/>
            </p:cNvSpPr>
            <p:nvPr/>
          </p:nvSpPr>
          <p:spPr bwMode="auto">
            <a:xfrm rot="10800000">
              <a:off x="621538" y="2033820"/>
              <a:ext cx="198545" cy="180589"/>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118" name="Freeform 33">
              <a:extLst>
                <a:ext uri="{FF2B5EF4-FFF2-40B4-BE49-F238E27FC236}">
                  <a16:creationId xmlns:a16="http://schemas.microsoft.com/office/drawing/2014/main" id="{169FDD54-249A-4247-90BC-72FEA94C4633}"/>
                </a:ext>
              </a:extLst>
            </p:cNvPr>
            <p:cNvSpPr>
              <a:spLocks/>
            </p:cNvSpPr>
            <p:nvPr/>
          </p:nvSpPr>
          <p:spPr bwMode="auto">
            <a:xfrm rot="10800000">
              <a:off x="621538" y="1891356"/>
              <a:ext cx="198545" cy="180589"/>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119" name="Freeform 34">
              <a:extLst>
                <a:ext uri="{FF2B5EF4-FFF2-40B4-BE49-F238E27FC236}">
                  <a16:creationId xmlns:a16="http://schemas.microsoft.com/office/drawing/2014/main" id="{4E9FF21E-0B7A-6C44-ACC0-D878C9222F5B}"/>
                </a:ext>
              </a:extLst>
            </p:cNvPr>
            <p:cNvSpPr>
              <a:spLocks/>
            </p:cNvSpPr>
            <p:nvPr/>
          </p:nvSpPr>
          <p:spPr bwMode="auto">
            <a:xfrm rot="10800000">
              <a:off x="621538" y="1746883"/>
              <a:ext cx="198545" cy="182596"/>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grpSp>
    </p:spTree>
    <p:extLst>
      <p:ext uri="{BB962C8B-B14F-4D97-AF65-F5344CB8AC3E}">
        <p14:creationId xmlns:p14="http://schemas.microsoft.com/office/powerpoint/2010/main" val="35575373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 name="Arrow: Bent 1">
            <a:extLst>
              <a:ext uri="{FF2B5EF4-FFF2-40B4-BE49-F238E27FC236}">
                <a16:creationId xmlns:a16="http://schemas.microsoft.com/office/drawing/2014/main" id="{006CFC79-9D09-9A46-8BBE-F5A60079699B}"/>
              </a:ext>
            </a:extLst>
          </p:cNvPr>
          <p:cNvSpPr/>
          <p:nvPr/>
        </p:nvSpPr>
        <p:spPr>
          <a:xfrm flipV="1">
            <a:off x="568411" y="1232599"/>
            <a:ext cx="7867315" cy="2470962"/>
          </a:xfrm>
          <a:prstGeom prst="bentArrow">
            <a:avLst>
              <a:gd name="adj1" fmla="val 25000"/>
              <a:gd name="adj2" fmla="val 0"/>
              <a:gd name="adj3" fmla="val 25000"/>
              <a:gd name="adj4" fmla="val 7035"/>
            </a:avLst>
          </a:prstGeom>
          <a:solidFill>
            <a:schemeClr val="accent1"/>
          </a:solid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IN" sz="135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278" name="Group 277">
            <a:extLst>
              <a:ext uri="{FF2B5EF4-FFF2-40B4-BE49-F238E27FC236}">
                <a16:creationId xmlns:a16="http://schemas.microsoft.com/office/drawing/2014/main" id="{3259E036-6C3C-C542-A2DE-813BB6C4B019}"/>
              </a:ext>
            </a:extLst>
          </p:cNvPr>
          <p:cNvGrpSpPr/>
          <p:nvPr/>
        </p:nvGrpSpPr>
        <p:grpSpPr>
          <a:xfrm>
            <a:off x="8382618" y="3571753"/>
            <a:ext cx="559467" cy="254065"/>
            <a:chOff x="4609069" y="1291161"/>
            <a:chExt cx="941865" cy="385993"/>
          </a:xfrm>
          <a:solidFill>
            <a:schemeClr val="tx1"/>
          </a:solidFill>
        </p:grpSpPr>
        <p:sp>
          <p:nvSpPr>
            <p:cNvPr id="283" name="Oval 282">
              <a:extLst>
                <a:ext uri="{FF2B5EF4-FFF2-40B4-BE49-F238E27FC236}">
                  <a16:creationId xmlns:a16="http://schemas.microsoft.com/office/drawing/2014/main" id="{9DC8200D-4780-E942-8C32-3AED5693A28C}"/>
                </a:ext>
              </a:extLst>
            </p:cNvPr>
            <p:cNvSpPr/>
            <p:nvPr/>
          </p:nvSpPr>
          <p:spPr>
            <a:xfrm>
              <a:off x="4609069" y="1291161"/>
              <a:ext cx="431031" cy="38599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sp>
          <p:nvSpPr>
            <p:cNvPr id="284" name="Oval 283">
              <a:extLst>
                <a:ext uri="{FF2B5EF4-FFF2-40B4-BE49-F238E27FC236}">
                  <a16:creationId xmlns:a16="http://schemas.microsoft.com/office/drawing/2014/main" id="{7D189537-478D-3245-AE6D-FF3D7518F9D5}"/>
                </a:ext>
              </a:extLst>
            </p:cNvPr>
            <p:cNvSpPr/>
            <p:nvPr/>
          </p:nvSpPr>
          <p:spPr>
            <a:xfrm>
              <a:off x="5454157" y="1439946"/>
              <a:ext cx="96777" cy="8842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sp>
          <p:nvSpPr>
            <p:cNvPr id="285" name="Oval 284">
              <a:extLst>
                <a:ext uri="{FF2B5EF4-FFF2-40B4-BE49-F238E27FC236}">
                  <a16:creationId xmlns:a16="http://schemas.microsoft.com/office/drawing/2014/main" id="{081F9D4A-2B9B-3A4E-9EC7-7C7475BFA962}"/>
                </a:ext>
              </a:extLst>
            </p:cNvPr>
            <p:cNvSpPr/>
            <p:nvPr/>
          </p:nvSpPr>
          <p:spPr>
            <a:xfrm>
              <a:off x="5166320" y="1401352"/>
              <a:ext cx="181273" cy="165623"/>
            </a:xfrm>
            <a:prstGeom prst="ellipse">
              <a:avLst/>
            </a:prstGeom>
            <a:grp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Helvetica"/>
                <a:ea typeface="+mn-ea"/>
                <a:cs typeface="+mn-cs"/>
              </a:endParaRPr>
            </a:p>
          </p:txBody>
        </p:sp>
      </p:grpSp>
      <p:sp>
        <p:nvSpPr>
          <p:cNvPr id="2" name="Title 1">
            <a:extLst>
              <a:ext uri="{FF2B5EF4-FFF2-40B4-BE49-F238E27FC236}">
                <a16:creationId xmlns:a16="http://schemas.microsoft.com/office/drawing/2014/main" id="{F39CC61B-F18E-8241-A52B-BD1EAFE6A1B7}"/>
              </a:ext>
            </a:extLst>
          </p:cNvPr>
          <p:cNvSpPr>
            <a:spLocks noGrp="1"/>
          </p:cNvSpPr>
          <p:nvPr>
            <p:ph type="title"/>
          </p:nvPr>
        </p:nvSpPr>
        <p:spPr/>
        <p:txBody>
          <a:bodyPr/>
          <a:lstStyle/>
          <a:p>
            <a:r>
              <a:rPr lang="en-US" kern="0">
                <a:solidFill>
                  <a:srgbClr val="0D274D"/>
                </a:solidFill>
                <a:cs typeface="CiscoSansTT ExtraLight"/>
                <a:sym typeface="CiscoSansTT ExtraLight"/>
              </a:rPr>
              <a:t>A platform approach </a:t>
            </a:r>
            <a:r>
              <a:rPr lang="en-US" kern="0">
                <a:solidFill>
                  <a:srgbClr val="6BBF4E"/>
                </a:solidFill>
                <a:latin typeface="CiscoSansTT" panose="020B0503020201020303" pitchFamily="34" charset="0"/>
                <a:cs typeface="CiscoSansTT" panose="020B0503020201020303" pitchFamily="34" charset="0"/>
                <a:sym typeface="CiscoSansTT ExtraLight"/>
              </a:rPr>
              <a:t>confidently tackles </a:t>
            </a:r>
            <a:br>
              <a:rPr lang="en-US" kern="0">
                <a:solidFill>
                  <a:srgbClr val="6BBF4E"/>
                </a:solidFill>
                <a:cs typeface="CiscoSansTT ExtraLight"/>
                <a:sym typeface="CiscoSansTT ExtraLight"/>
              </a:rPr>
            </a:br>
            <a:r>
              <a:rPr lang="en-US" kern="0">
                <a:solidFill>
                  <a:srgbClr val="0D274D"/>
                </a:solidFill>
                <a:cs typeface="CiscoSansTT ExtraLight"/>
                <a:sym typeface="CiscoSansTT ExtraLight"/>
              </a:rPr>
              <a:t>the most pressing security operation challenges</a:t>
            </a:r>
            <a:endParaRPr lang="en-US"/>
          </a:p>
        </p:txBody>
      </p:sp>
      <p:sp>
        <p:nvSpPr>
          <p:cNvPr id="3" name="Oval 201">
            <a:extLst>
              <a:ext uri="{FF2B5EF4-FFF2-40B4-BE49-F238E27FC236}">
                <a16:creationId xmlns:a16="http://schemas.microsoft.com/office/drawing/2014/main" id="{4B974B16-55A6-BF4D-AE14-E211542EE511}"/>
              </a:ext>
            </a:extLst>
          </p:cNvPr>
          <p:cNvSpPr>
            <a:spLocks noChangeArrowheads="1"/>
          </p:cNvSpPr>
          <p:nvPr/>
        </p:nvSpPr>
        <p:spPr bwMode="auto">
          <a:xfrm>
            <a:off x="953453" y="1645739"/>
            <a:ext cx="1758292" cy="1762138"/>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4" name="Oval 169">
            <a:extLst>
              <a:ext uri="{FF2B5EF4-FFF2-40B4-BE49-F238E27FC236}">
                <a16:creationId xmlns:a16="http://schemas.microsoft.com/office/drawing/2014/main" id="{0546637D-9CED-3D44-BE02-76BA73BB52A6}"/>
              </a:ext>
            </a:extLst>
          </p:cNvPr>
          <p:cNvSpPr>
            <a:spLocks noChangeArrowheads="1"/>
          </p:cNvSpPr>
          <p:nvPr/>
        </p:nvSpPr>
        <p:spPr bwMode="auto">
          <a:xfrm>
            <a:off x="3696890" y="1634607"/>
            <a:ext cx="1743616" cy="1743617"/>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 name="Oval 169">
            <a:extLst>
              <a:ext uri="{FF2B5EF4-FFF2-40B4-BE49-F238E27FC236}">
                <a16:creationId xmlns:a16="http://schemas.microsoft.com/office/drawing/2014/main" id="{0268EE9E-FA7C-0A43-AAD5-CF7229EBCF3F}"/>
              </a:ext>
            </a:extLst>
          </p:cNvPr>
          <p:cNvSpPr>
            <a:spLocks noChangeArrowheads="1"/>
          </p:cNvSpPr>
          <p:nvPr/>
        </p:nvSpPr>
        <p:spPr bwMode="auto">
          <a:xfrm>
            <a:off x="6419965" y="1634607"/>
            <a:ext cx="1743616" cy="1743617"/>
          </a:xfrm>
          <a:prstGeom prst="ellipse">
            <a:avLst/>
          </a:prstGeom>
          <a:noFill/>
          <a:ln w="57150">
            <a:solidFill>
              <a:srgbClr val="FFFFFF">
                <a:lumMod val="95000"/>
              </a:srgbClr>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 name="TextBox 5">
            <a:extLst>
              <a:ext uri="{FF2B5EF4-FFF2-40B4-BE49-F238E27FC236}">
                <a16:creationId xmlns:a16="http://schemas.microsoft.com/office/drawing/2014/main" id="{79864A11-D9B9-E941-8025-25FF9C08D674}"/>
              </a:ext>
            </a:extLst>
          </p:cNvPr>
          <p:cNvSpPr txBox="1"/>
          <p:nvPr/>
        </p:nvSpPr>
        <p:spPr>
          <a:xfrm>
            <a:off x="1224100" y="3528051"/>
            <a:ext cx="1217000" cy="369332"/>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BBF4E"/>
                </a:solidFill>
                <a:effectLst/>
                <a:uLnTx/>
                <a:uFillTx/>
                <a:latin typeface="CiscoSansTT" panose="020B0503020201020303" pitchFamily="34" charset="0"/>
                <a:cs typeface="CiscoSansTT" panose="020B0503020201020303" pitchFamily="34" charset="0"/>
              </a:rPr>
              <a:t>Simplicity</a:t>
            </a:r>
          </a:p>
        </p:txBody>
      </p:sp>
      <p:sp>
        <p:nvSpPr>
          <p:cNvPr id="7" name="TextBox 6">
            <a:extLst>
              <a:ext uri="{FF2B5EF4-FFF2-40B4-BE49-F238E27FC236}">
                <a16:creationId xmlns:a16="http://schemas.microsoft.com/office/drawing/2014/main" id="{4073342B-AA13-4345-84CD-6648C08FC2A3}"/>
              </a:ext>
            </a:extLst>
          </p:cNvPr>
          <p:cNvSpPr txBox="1"/>
          <p:nvPr/>
        </p:nvSpPr>
        <p:spPr>
          <a:xfrm>
            <a:off x="4081359" y="3528051"/>
            <a:ext cx="1058303" cy="369332"/>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BBF4E"/>
                </a:solidFill>
                <a:effectLst/>
                <a:uLnTx/>
                <a:uFillTx/>
                <a:latin typeface="CiscoSansTT" panose="020B0503020201020303" pitchFamily="34" charset="0"/>
                <a:cs typeface="CiscoSansTT" panose="020B0503020201020303" pitchFamily="34" charset="0"/>
              </a:rPr>
              <a:t>Visibility</a:t>
            </a:r>
          </a:p>
        </p:txBody>
      </p:sp>
      <p:sp>
        <p:nvSpPr>
          <p:cNvPr id="8" name="TextBox 7">
            <a:extLst>
              <a:ext uri="{FF2B5EF4-FFF2-40B4-BE49-F238E27FC236}">
                <a16:creationId xmlns:a16="http://schemas.microsoft.com/office/drawing/2014/main" id="{2263648C-350F-B546-8BE5-0FFEB251D8A7}"/>
              </a:ext>
            </a:extLst>
          </p:cNvPr>
          <p:cNvSpPr txBox="1"/>
          <p:nvPr/>
        </p:nvSpPr>
        <p:spPr>
          <a:xfrm>
            <a:off x="6684877" y="3528051"/>
            <a:ext cx="1213794" cy="369332"/>
          </a:xfrm>
          <a:prstGeom prst="rect">
            <a:avLst/>
          </a:prstGeom>
          <a:solidFill>
            <a:schemeClr val="bg1"/>
          </a:solid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6BBF4E"/>
                </a:solidFill>
                <a:effectLst/>
                <a:uLnTx/>
                <a:uFillTx/>
                <a:latin typeface="CiscoSansTT" panose="020B0503020201020303" pitchFamily="34" charset="0"/>
                <a:cs typeface="CiscoSansTT" panose="020B0503020201020303" pitchFamily="34" charset="0"/>
              </a:rPr>
              <a:t>Efficiency</a:t>
            </a:r>
          </a:p>
        </p:txBody>
      </p:sp>
      <p:sp>
        <p:nvSpPr>
          <p:cNvPr id="9" name="Rectangle 8">
            <a:extLst>
              <a:ext uri="{FF2B5EF4-FFF2-40B4-BE49-F238E27FC236}">
                <a16:creationId xmlns:a16="http://schemas.microsoft.com/office/drawing/2014/main" id="{685735E9-2C85-5441-A3E3-F80B24272D61}"/>
              </a:ext>
            </a:extLst>
          </p:cNvPr>
          <p:cNvSpPr/>
          <p:nvPr/>
        </p:nvSpPr>
        <p:spPr>
          <a:xfrm>
            <a:off x="3367892" y="3892907"/>
            <a:ext cx="2485235" cy="669818"/>
          </a:xfrm>
          <a:prstGeom prst="rect">
            <a:avLst/>
          </a:prstGeom>
        </p:spPr>
        <p:txBody>
          <a:bodyPr wrap="square">
            <a:noAutofit/>
          </a:bodyPr>
          <a:lstStyle/>
          <a:p>
            <a:pPr algn="ctr" defTabSz="457200" fontAlgn="base">
              <a:spcBef>
                <a:spcPct val="0"/>
              </a:spcBef>
              <a:spcAft>
                <a:spcPct val="0"/>
              </a:spcAft>
              <a:defRPr/>
            </a:pPr>
            <a:r>
              <a:rPr lang="en-US" sz="1200">
                <a:solidFill>
                  <a:srgbClr val="0D274D"/>
                </a:solidFill>
                <a:latin typeface="CiscoSansTT ExtraLight"/>
                <a:ea typeface="ＭＳ Ｐゴシック" charset="0"/>
              </a:rPr>
              <a:t>Accelerate</a:t>
            </a:r>
            <a:r>
              <a:rPr kumimoji="0" lang="en-US" sz="1200" b="0" i="0" u="none" strike="noStrike" kern="1200" cap="none" spc="0" normalizeH="0" baseline="0" noProof="0">
                <a:ln>
                  <a:noFill/>
                </a:ln>
                <a:solidFill>
                  <a:srgbClr val="0D274D"/>
                </a:solidFill>
                <a:effectLst/>
                <a:uLnTx/>
                <a:uFillTx/>
                <a:latin typeface="CiscoSansTT ExtraLight"/>
                <a:ea typeface="ＭＳ Ｐゴシック" charset="0"/>
                <a:cs typeface="+mn-cs"/>
              </a:rPr>
              <a:t> </a:t>
            </a: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time to detect and investigate</a:t>
            </a:r>
            <a:r>
              <a:rPr kumimoji="0" lang="en-US" sz="1200" b="0" i="0" u="none" strike="noStrike" kern="1200" cap="none" spc="0" normalizeH="0" baseline="0" noProof="0">
                <a:ln>
                  <a:noFill/>
                </a:ln>
                <a:solidFill>
                  <a:srgbClr val="0D274D"/>
                </a:solidFill>
                <a:effectLst/>
                <a:uLnTx/>
                <a:uFillTx/>
                <a:latin typeface="CiscoSansTT ExtraLight"/>
                <a:ea typeface="ＭＳ Ｐゴシック" charset="0"/>
                <a:cs typeface="+mn-cs"/>
              </a:rPr>
              <a:t> threats and maintain</a:t>
            </a:r>
            <a:r>
              <a:rPr lang="en-US" sz="1200">
                <a:solidFill>
                  <a:srgbClr val="0D274D"/>
                </a:solidFill>
                <a:ea typeface="ＭＳ Ｐゴシック" charset="0"/>
              </a:rPr>
              <a:t> contextual awareness</a:t>
            </a:r>
            <a:endParaRPr kumimoji="0" lang="en-US" sz="1200" b="0" i="0" u="none" strike="noStrike" kern="1200" cap="none" spc="0" normalizeH="0" baseline="0" noProof="0">
              <a:ln>
                <a:noFill/>
              </a:ln>
              <a:solidFill>
                <a:srgbClr val="0D274D"/>
              </a:solidFill>
              <a:effectLst/>
              <a:uLnTx/>
              <a:uFillTx/>
              <a:latin typeface="CiscoSansTT ExtraLight"/>
              <a:ea typeface="ＭＳ Ｐゴシック" charset="0"/>
              <a:cs typeface="+mn-cs"/>
            </a:endParaRPr>
          </a:p>
        </p:txBody>
      </p:sp>
      <p:sp>
        <p:nvSpPr>
          <p:cNvPr id="10" name="Rectangle 9">
            <a:extLst>
              <a:ext uri="{FF2B5EF4-FFF2-40B4-BE49-F238E27FC236}">
                <a16:creationId xmlns:a16="http://schemas.microsoft.com/office/drawing/2014/main" id="{C99A2EEF-C6A2-0748-96A8-6C9BD999F295}"/>
              </a:ext>
            </a:extLst>
          </p:cNvPr>
          <p:cNvSpPr/>
          <p:nvPr/>
        </p:nvSpPr>
        <p:spPr>
          <a:xfrm>
            <a:off x="6065150" y="3892907"/>
            <a:ext cx="2479280" cy="669818"/>
          </a:xfrm>
          <a:prstGeom prst="rect">
            <a:avLst/>
          </a:prstGeom>
        </p:spPr>
        <p:txBody>
          <a:bodyPr wrap="square">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1200">
                <a:solidFill>
                  <a:srgbClr val="0D274D"/>
                </a:solidFill>
                <a:latin typeface="CiscoSansTT ExtraLight"/>
                <a:ea typeface="ＭＳ Ｐゴシック" charset="0"/>
              </a:rPr>
              <a:t>Accelerate </a:t>
            </a:r>
            <a:r>
              <a:rPr lang="en-US" sz="1200">
                <a:solidFill>
                  <a:srgbClr val="0D274D"/>
                </a:solidFill>
                <a:latin typeface="CiscoSansTT" panose="020B0503020201020303" pitchFamily="34" charset="0"/>
                <a:ea typeface="ＭＳ Ｐゴシック" charset="0"/>
                <a:cs typeface="CiscoSansTT" panose="020B0503020201020303" pitchFamily="34" charset="0"/>
              </a:rPr>
              <a:t>time to remediate </a:t>
            </a:r>
            <a:r>
              <a:rPr lang="en-US" sz="1200">
                <a:solidFill>
                  <a:srgbClr val="0D274D"/>
                </a:solidFill>
                <a:latin typeface="CiscoSansTT ExtraLight"/>
                <a:ea typeface="ＭＳ Ｐゴシック" charset="0"/>
              </a:rPr>
              <a:t>and </a:t>
            </a:r>
            <a:r>
              <a:rPr kumimoji="0" lang="en-US" sz="1200" b="0" i="0" u="none" strike="noStrike" kern="1200" cap="none" spc="0" normalizeH="0" baseline="0" noProof="0">
                <a:ln>
                  <a:noFill/>
                </a:ln>
                <a:solidFill>
                  <a:srgbClr val="0D274D"/>
                </a:solidFill>
                <a:effectLst/>
                <a:uLnTx/>
                <a:uFillTx/>
                <a:latin typeface="CiscoSansTT ExtraLight"/>
                <a:ea typeface="ＭＳ Ｐゴシック" charset="0"/>
                <a:cs typeface="+mn-cs"/>
              </a:rPr>
              <a:t>automate workflows to lower costs and strengthen security</a:t>
            </a:r>
          </a:p>
        </p:txBody>
      </p:sp>
      <p:sp>
        <p:nvSpPr>
          <p:cNvPr id="12" name="Rectangle 11">
            <a:extLst>
              <a:ext uri="{FF2B5EF4-FFF2-40B4-BE49-F238E27FC236}">
                <a16:creationId xmlns:a16="http://schemas.microsoft.com/office/drawing/2014/main" id="{C8561E39-C0F6-E148-81F5-BCD566ADFA03}"/>
              </a:ext>
            </a:extLst>
          </p:cNvPr>
          <p:cNvSpPr/>
          <p:nvPr/>
        </p:nvSpPr>
        <p:spPr>
          <a:xfrm>
            <a:off x="618395" y="3892907"/>
            <a:ext cx="2485235" cy="669818"/>
          </a:xfrm>
          <a:prstGeom prst="rect">
            <a:avLst/>
          </a:prstGeom>
        </p:spPr>
        <p:txBody>
          <a:bodyPr wrap="square">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Integrate technology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t>together with true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mn-cs"/>
              </a:rPr>
            </a:br>
            <a:r>
              <a:rPr kumimoji="0" lang="en-US" sz="12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turnkey interoperability</a:t>
            </a:r>
          </a:p>
        </p:txBody>
      </p:sp>
      <p:grpSp>
        <p:nvGrpSpPr>
          <p:cNvPr id="83" name="Group 82">
            <a:extLst>
              <a:ext uri="{FF2B5EF4-FFF2-40B4-BE49-F238E27FC236}">
                <a16:creationId xmlns:a16="http://schemas.microsoft.com/office/drawing/2014/main" id="{0C2ED66E-62D0-504D-BC24-AE7324435DCB}"/>
              </a:ext>
            </a:extLst>
          </p:cNvPr>
          <p:cNvGrpSpPr>
            <a:grpSpLocks noChangeAspect="1"/>
          </p:cNvGrpSpPr>
          <p:nvPr/>
        </p:nvGrpSpPr>
        <p:grpSpPr>
          <a:xfrm>
            <a:off x="3938093" y="1887343"/>
            <a:ext cx="1344831" cy="1220529"/>
            <a:chOff x="3952660" y="1890840"/>
            <a:chExt cx="1401472" cy="1271935"/>
          </a:xfrm>
        </p:grpSpPr>
        <p:pic>
          <p:nvPicPr>
            <p:cNvPr id="82" name="Picture 82" descr="A close up of electronics&#10;&#10;Description automatically generated">
              <a:extLst>
                <a:ext uri="{FF2B5EF4-FFF2-40B4-BE49-F238E27FC236}">
                  <a16:creationId xmlns:a16="http://schemas.microsoft.com/office/drawing/2014/main" id="{720B9A2E-EFC6-EC4E-B028-73FC316B4E42}"/>
                </a:ext>
              </a:extLst>
            </p:cNvPr>
            <p:cNvPicPr>
              <a:picLocks noChangeAspect="1"/>
            </p:cNvPicPr>
            <p:nvPr/>
          </p:nvPicPr>
          <p:blipFill>
            <a:blip r:embed="rId3" cstate="screen">
              <a:duotone>
                <a:srgbClr val="00BCEB">
                  <a:shade val="45000"/>
                  <a:satMod val="135000"/>
                </a:srgbClr>
                <a:prstClr val="white"/>
              </a:duotone>
              <a:extLst>
                <a:ext uri="{28A0092B-C50C-407E-A947-70E740481C1C}">
                  <a14:useLocalDpi xmlns:a14="http://schemas.microsoft.com/office/drawing/2010/main"/>
                </a:ext>
              </a:extLst>
            </a:blip>
            <a:stretch>
              <a:fillRect/>
            </a:stretch>
          </p:blipFill>
          <p:spPr>
            <a:xfrm rot="19454881" flipH="1">
              <a:off x="4307694" y="2118830"/>
              <a:ext cx="1046438" cy="854087"/>
            </a:xfrm>
            <a:prstGeom prst="rect">
              <a:avLst/>
            </a:prstGeom>
          </p:spPr>
        </p:pic>
        <p:grpSp>
          <p:nvGrpSpPr>
            <p:cNvPr id="28" name="Group 27">
              <a:extLst>
                <a:ext uri="{FF2B5EF4-FFF2-40B4-BE49-F238E27FC236}">
                  <a16:creationId xmlns:a16="http://schemas.microsoft.com/office/drawing/2014/main" id="{A5172671-6F02-2348-A5E9-59CE990F93E7}"/>
                </a:ext>
              </a:extLst>
            </p:cNvPr>
            <p:cNvGrpSpPr>
              <a:grpSpLocks noChangeAspect="1"/>
            </p:cNvGrpSpPr>
            <p:nvPr/>
          </p:nvGrpSpPr>
          <p:grpSpPr>
            <a:xfrm>
              <a:off x="3952660" y="1890840"/>
              <a:ext cx="1315698" cy="1271935"/>
              <a:chOff x="6159182" y="1273837"/>
              <a:chExt cx="1608153" cy="1503716"/>
            </a:xfrm>
          </p:grpSpPr>
          <p:sp>
            <p:nvSpPr>
              <p:cNvPr id="29" name="Oval 28">
                <a:extLst>
                  <a:ext uri="{FF2B5EF4-FFF2-40B4-BE49-F238E27FC236}">
                    <a16:creationId xmlns:a16="http://schemas.microsoft.com/office/drawing/2014/main" id="{B284CDE0-8DA4-7E4F-AB12-024405221199}"/>
                  </a:ext>
                </a:extLst>
              </p:cNvPr>
              <p:cNvSpPr/>
              <p:nvPr/>
            </p:nvSpPr>
            <p:spPr>
              <a:xfrm>
                <a:off x="6159182" y="1795878"/>
                <a:ext cx="866556" cy="866556"/>
              </a:xfrm>
              <a:prstGeom prst="ellipse">
                <a:avLst/>
              </a:prstGeom>
              <a:solidFill>
                <a:srgbClr val="00BCEB">
                  <a:alpha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30" name="Arc 29">
                <a:extLst>
                  <a:ext uri="{FF2B5EF4-FFF2-40B4-BE49-F238E27FC236}">
                    <a16:creationId xmlns:a16="http://schemas.microsoft.com/office/drawing/2014/main" id="{EEDAF43E-1287-3D4E-87E7-86F1FA04419D}"/>
                  </a:ext>
                </a:extLst>
              </p:cNvPr>
              <p:cNvSpPr/>
              <p:nvPr/>
            </p:nvSpPr>
            <p:spPr>
              <a:xfrm>
                <a:off x="6326358" y="1468366"/>
                <a:ext cx="1228004" cy="1228004"/>
              </a:xfrm>
              <a:prstGeom prst="arc">
                <a:avLst>
                  <a:gd name="adj1" fmla="val 1761019"/>
                  <a:gd name="adj2" fmla="val 15841988"/>
                </a:avLst>
              </a:prstGeom>
              <a:noFill/>
              <a:ln w="9525" cap="flat" cmpd="sng" algn="ctr">
                <a:solidFill>
                  <a:srgbClr val="6EBE4A"/>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sp>
            <p:nvSpPr>
              <p:cNvPr id="31" name="Isosceles Triangle 49">
                <a:extLst>
                  <a:ext uri="{FF2B5EF4-FFF2-40B4-BE49-F238E27FC236}">
                    <a16:creationId xmlns:a16="http://schemas.microsoft.com/office/drawing/2014/main" id="{B9227BA1-79EC-3944-8822-4E349CCC42E1}"/>
                  </a:ext>
                </a:extLst>
              </p:cNvPr>
              <p:cNvSpPr/>
              <p:nvPr/>
            </p:nvSpPr>
            <p:spPr>
              <a:xfrm rot="5989115">
                <a:off x="6864813" y="1425383"/>
                <a:ext cx="104112" cy="9080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6EBE4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cxnSp>
            <p:nvCxnSpPr>
              <p:cNvPr id="32" name="Straight Connector 31">
                <a:extLst>
                  <a:ext uri="{FF2B5EF4-FFF2-40B4-BE49-F238E27FC236}">
                    <a16:creationId xmlns:a16="http://schemas.microsoft.com/office/drawing/2014/main" id="{3182026F-9427-2D4C-90D9-9835F6391D9C}"/>
                  </a:ext>
                </a:extLst>
              </p:cNvPr>
              <p:cNvCxnSpPr/>
              <p:nvPr/>
            </p:nvCxnSpPr>
            <p:spPr>
              <a:xfrm flipH="1" flipV="1">
                <a:off x="6596063" y="1565536"/>
                <a:ext cx="28575" cy="59036"/>
              </a:xfrm>
              <a:prstGeom prst="line">
                <a:avLst/>
              </a:prstGeom>
              <a:noFill/>
              <a:ln w="9525" cap="flat" cmpd="sng" algn="ctr">
                <a:solidFill>
                  <a:srgbClr val="FFFFFF"/>
                </a:solidFill>
                <a:prstDash val="solid"/>
              </a:ln>
              <a:effectLst/>
            </p:spPr>
          </p:cxnSp>
          <p:cxnSp>
            <p:nvCxnSpPr>
              <p:cNvPr id="33" name="Straight Connector 32">
                <a:extLst>
                  <a:ext uri="{FF2B5EF4-FFF2-40B4-BE49-F238E27FC236}">
                    <a16:creationId xmlns:a16="http://schemas.microsoft.com/office/drawing/2014/main" id="{5348C559-59C2-974B-941E-1A41BD488E2A}"/>
                  </a:ext>
                </a:extLst>
              </p:cNvPr>
              <p:cNvCxnSpPr>
                <a:cxnSpLocks/>
              </p:cNvCxnSpPr>
              <p:nvPr/>
            </p:nvCxnSpPr>
            <p:spPr>
              <a:xfrm flipH="1" flipV="1">
                <a:off x="6330587" y="1927472"/>
                <a:ext cx="61103" cy="15935"/>
              </a:xfrm>
              <a:prstGeom prst="line">
                <a:avLst/>
              </a:prstGeom>
              <a:noFill/>
              <a:ln w="9525" cap="flat" cmpd="sng" algn="ctr">
                <a:solidFill>
                  <a:srgbClr val="FFFFFF"/>
                </a:solidFill>
                <a:prstDash val="solid"/>
              </a:ln>
              <a:effectLst/>
            </p:spPr>
          </p:cxnSp>
          <p:cxnSp>
            <p:nvCxnSpPr>
              <p:cNvPr id="34" name="Straight Connector 33">
                <a:extLst>
                  <a:ext uri="{FF2B5EF4-FFF2-40B4-BE49-F238E27FC236}">
                    <a16:creationId xmlns:a16="http://schemas.microsoft.com/office/drawing/2014/main" id="{C81724C6-1940-804E-8E9D-88B9E13D75DA}"/>
                  </a:ext>
                </a:extLst>
              </p:cNvPr>
              <p:cNvCxnSpPr>
                <a:cxnSpLocks/>
              </p:cNvCxnSpPr>
              <p:nvPr/>
            </p:nvCxnSpPr>
            <p:spPr>
              <a:xfrm flipH="1">
                <a:off x="6383819" y="2330834"/>
                <a:ext cx="55158" cy="21494"/>
              </a:xfrm>
              <a:prstGeom prst="line">
                <a:avLst/>
              </a:prstGeom>
              <a:noFill/>
              <a:ln w="9525" cap="flat" cmpd="sng" algn="ctr">
                <a:solidFill>
                  <a:srgbClr val="FFFFFF"/>
                </a:solidFill>
                <a:prstDash val="solid"/>
              </a:ln>
              <a:effectLst/>
            </p:spPr>
          </p:cxnSp>
          <p:cxnSp>
            <p:nvCxnSpPr>
              <p:cNvPr id="35" name="Straight Connector 34">
                <a:extLst>
                  <a:ext uri="{FF2B5EF4-FFF2-40B4-BE49-F238E27FC236}">
                    <a16:creationId xmlns:a16="http://schemas.microsoft.com/office/drawing/2014/main" id="{E70C834A-6F67-DF4D-967F-86329CB26328}"/>
                  </a:ext>
                </a:extLst>
              </p:cNvPr>
              <p:cNvCxnSpPr>
                <a:cxnSpLocks/>
              </p:cNvCxnSpPr>
              <p:nvPr/>
            </p:nvCxnSpPr>
            <p:spPr>
              <a:xfrm flipH="1">
                <a:off x="6691535" y="2595608"/>
                <a:ext cx="18904" cy="51584"/>
              </a:xfrm>
              <a:prstGeom prst="line">
                <a:avLst/>
              </a:prstGeom>
              <a:noFill/>
              <a:ln w="9525" cap="flat" cmpd="sng" algn="ctr">
                <a:solidFill>
                  <a:srgbClr val="FFFFFF"/>
                </a:solidFill>
                <a:prstDash val="solid"/>
              </a:ln>
              <a:effectLst/>
            </p:spPr>
          </p:cxnSp>
          <p:cxnSp>
            <p:nvCxnSpPr>
              <p:cNvPr id="36" name="Straight Connector 35">
                <a:extLst>
                  <a:ext uri="{FF2B5EF4-FFF2-40B4-BE49-F238E27FC236}">
                    <a16:creationId xmlns:a16="http://schemas.microsoft.com/office/drawing/2014/main" id="{1C8E563F-3E7F-3D47-A15F-1F5A2F6C09B4}"/>
                  </a:ext>
                </a:extLst>
              </p:cNvPr>
              <p:cNvCxnSpPr>
                <a:cxnSpLocks/>
              </p:cNvCxnSpPr>
              <p:nvPr/>
            </p:nvCxnSpPr>
            <p:spPr>
              <a:xfrm>
                <a:off x="7215779" y="2571188"/>
                <a:ext cx="25602" cy="50212"/>
              </a:xfrm>
              <a:prstGeom prst="line">
                <a:avLst/>
              </a:prstGeom>
              <a:noFill/>
              <a:ln w="9525" cap="flat" cmpd="sng" algn="ctr">
                <a:solidFill>
                  <a:srgbClr val="FFFFFF"/>
                </a:solidFill>
                <a:prstDash val="solid"/>
              </a:ln>
              <a:effectLst/>
            </p:spPr>
          </p:cxnSp>
          <p:pic>
            <p:nvPicPr>
              <p:cNvPr id="37" name="Picture 36" descr="A close up of electronics&#10;&#10;Description automatically generated">
                <a:extLst>
                  <a:ext uri="{FF2B5EF4-FFF2-40B4-BE49-F238E27FC236}">
                    <a16:creationId xmlns:a16="http://schemas.microsoft.com/office/drawing/2014/main" id="{2D19C707-D270-174D-B559-79934795E2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9619711" flipH="1">
                <a:off x="6546894" y="1508963"/>
                <a:ext cx="1220441" cy="996109"/>
              </a:xfrm>
              <a:prstGeom prst="rect">
                <a:avLst/>
              </a:prstGeom>
            </p:spPr>
          </p:pic>
          <p:sp>
            <p:nvSpPr>
              <p:cNvPr id="38" name="Arc 37">
                <a:extLst>
                  <a:ext uri="{FF2B5EF4-FFF2-40B4-BE49-F238E27FC236}">
                    <a16:creationId xmlns:a16="http://schemas.microsoft.com/office/drawing/2014/main" id="{C59E2AD2-C24F-8043-998D-2B1B35BB89BB}"/>
                  </a:ext>
                </a:extLst>
              </p:cNvPr>
              <p:cNvSpPr/>
              <p:nvPr/>
            </p:nvSpPr>
            <p:spPr>
              <a:xfrm>
                <a:off x="6235057" y="1387183"/>
                <a:ext cx="1390370" cy="1390370"/>
              </a:xfrm>
              <a:prstGeom prst="arc">
                <a:avLst>
                  <a:gd name="adj1" fmla="val 2013146"/>
                  <a:gd name="adj2" fmla="val 15684940"/>
                </a:avLst>
              </a:prstGeom>
              <a:noFill/>
              <a:ln w="9525" cap="flat" cmpd="sng" algn="ctr">
                <a:solidFill>
                  <a:srgbClr val="6EBE4A">
                    <a:alpha val="60000"/>
                  </a:srgbClr>
                </a:solidFill>
                <a:prstDash val="soli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latin typeface="CiscoSansTT ExtraLight"/>
                  <a:ea typeface="+mn-ea"/>
                  <a:cs typeface="+mn-cs"/>
                </a:endParaRPr>
              </a:p>
            </p:txBody>
          </p:sp>
          <p:cxnSp>
            <p:nvCxnSpPr>
              <p:cNvPr id="39" name="Straight Connector 38">
                <a:extLst>
                  <a:ext uri="{FF2B5EF4-FFF2-40B4-BE49-F238E27FC236}">
                    <a16:creationId xmlns:a16="http://schemas.microsoft.com/office/drawing/2014/main" id="{36CE1A80-2550-9E4F-8171-D81C2770EBA7}"/>
                  </a:ext>
                </a:extLst>
              </p:cNvPr>
              <p:cNvCxnSpPr>
                <a:cxnSpLocks/>
              </p:cNvCxnSpPr>
              <p:nvPr/>
            </p:nvCxnSpPr>
            <p:spPr>
              <a:xfrm flipV="1">
                <a:off x="6982418" y="1273837"/>
                <a:ext cx="172576" cy="324429"/>
              </a:xfrm>
              <a:prstGeom prst="line">
                <a:avLst/>
              </a:prstGeom>
              <a:noFill/>
              <a:ln w="9525" cap="flat" cmpd="sng" algn="ctr">
                <a:solidFill>
                  <a:srgbClr val="00BCEB">
                    <a:shade val="95000"/>
                    <a:satMod val="105000"/>
                  </a:srgbClr>
                </a:solidFill>
                <a:prstDash val="solid"/>
              </a:ln>
              <a:effectLst/>
            </p:spPr>
          </p:cxnSp>
          <p:cxnSp>
            <p:nvCxnSpPr>
              <p:cNvPr id="40" name="Straight Connector 39">
                <a:extLst>
                  <a:ext uri="{FF2B5EF4-FFF2-40B4-BE49-F238E27FC236}">
                    <a16:creationId xmlns:a16="http://schemas.microsoft.com/office/drawing/2014/main" id="{F8C01963-CCBA-9548-8C16-9BF7F153A73E}"/>
                  </a:ext>
                </a:extLst>
              </p:cNvPr>
              <p:cNvCxnSpPr>
                <a:cxnSpLocks/>
              </p:cNvCxnSpPr>
              <p:nvPr/>
            </p:nvCxnSpPr>
            <p:spPr>
              <a:xfrm>
                <a:off x="7375423" y="2327858"/>
                <a:ext cx="315553" cy="76874"/>
              </a:xfrm>
              <a:prstGeom prst="line">
                <a:avLst/>
              </a:prstGeom>
              <a:noFill/>
              <a:ln w="9525" cap="flat" cmpd="sng" algn="ctr">
                <a:solidFill>
                  <a:srgbClr val="00BCEB">
                    <a:shade val="95000"/>
                    <a:satMod val="105000"/>
                  </a:srgbClr>
                </a:solidFill>
                <a:prstDash val="solid"/>
              </a:ln>
              <a:effectLst/>
            </p:spPr>
          </p:cxnSp>
          <p:cxnSp>
            <p:nvCxnSpPr>
              <p:cNvPr id="41" name="Straight Connector 40">
                <a:extLst>
                  <a:ext uri="{FF2B5EF4-FFF2-40B4-BE49-F238E27FC236}">
                    <a16:creationId xmlns:a16="http://schemas.microsoft.com/office/drawing/2014/main" id="{E3121F7F-2024-7447-A664-29F06735EBFF}"/>
                  </a:ext>
                </a:extLst>
              </p:cNvPr>
              <p:cNvCxnSpPr>
                <a:cxnSpLocks/>
              </p:cNvCxnSpPr>
              <p:nvPr/>
            </p:nvCxnSpPr>
            <p:spPr>
              <a:xfrm flipV="1">
                <a:off x="6993460" y="1294329"/>
                <a:ext cx="110105" cy="205848"/>
              </a:xfrm>
              <a:prstGeom prst="line">
                <a:avLst/>
              </a:prstGeom>
              <a:noFill/>
              <a:ln w="9525" cap="flat" cmpd="sng" algn="ctr">
                <a:solidFill>
                  <a:srgbClr val="00BCEB">
                    <a:shade val="95000"/>
                    <a:satMod val="105000"/>
                  </a:srgbClr>
                </a:solidFill>
                <a:prstDash val="solid"/>
              </a:ln>
              <a:effectLst/>
            </p:spPr>
          </p:cxnSp>
          <p:cxnSp>
            <p:nvCxnSpPr>
              <p:cNvPr id="42" name="Straight Connector 41">
                <a:extLst>
                  <a:ext uri="{FF2B5EF4-FFF2-40B4-BE49-F238E27FC236}">
                    <a16:creationId xmlns:a16="http://schemas.microsoft.com/office/drawing/2014/main" id="{EE024153-97DA-C94D-9CA2-5415D0CC6FF4}"/>
                  </a:ext>
                </a:extLst>
              </p:cNvPr>
              <p:cNvCxnSpPr>
                <a:cxnSpLocks/>
              </p:cNvCxnSpPr>
              <p:nvPr/>
            </p:nvCxnSpPr>
            <p:spPr>
              <a:xfrm>
                <a:off x="7415173" y="2373197"/>
                <a:ext cx="212453" cy="53478"/>
              </a:xfrm>
              <a:prstGeom prst="line">
                <a:avLst/>
              </a:prstGeom>
              <a:noFill/>
              <a:ln w="9525" cap="flat" cmpd="sng" algn="ctr">
                <a:solidFill>
                  <a:srgbClr val="00BCEB">
                    <a:shade val="95000"/>
                    <a:satMod val="105000"/>
                  </a:srgbClr>
                </a:solidFill>
                <a:prstDash val="solid"/>
              </a:ln>
              <a:effectLst/>
            </p:spPr>
          </p:cxnSp>
        </p:grpSp>
      </p:grpSp>
      <p:grpSp>
        <p:nvGrpSpPr>
          <p:cNvPr id="43" name="Group 42">
            <a:extLst>
              <a:ext uri="{FF2B5EF4-FFF2-40B4-BE49-F238E27FC236}">
                <a16:creationId xmlns:a16="http://schemas.microsoft.com/office/drawing/2014/main" id="{3BAB16DB-AAF5-0840-A179-FFA4BB89EE02}"/>
              </a:ext>
            </a:extLst>
          </p:cNvPr>
          <p:cNvGrpSpPr>
            <a:grpSpLocks noChangeAspect="1"/>
          </p:cNvGrpSpPr>
          <p:nvPr/>
        </p:nvGrpSpPr>
        <p:grpSpPr>
          <a:xfrm>
            <a:off x="6707706" y="1964443"/>
            <a:ext cx="1168133" cy="1171811"/>
            <a:chOff x="4926347" y="1939685"/>
            <a:chExt cx="1987823" cy="1994082"/>
          </a:xfrm>
        </p:grpSpPr>
        <p:grpSp>
          <p:nvGrpSpPr>
            <p:cNvPr id="44" name="Group 63">
              <a:extLst>
                <a:ext uri="{FF2B5EF4-FFF2-40B4-BE49-F238E27FC236}">
                  <a16:creationId xmlns:a16="http://schemas.microsoft.com/office/drawing/2014/main" id="{905AB056-963D-FA45-A0D1-3E9EF9476707}"/>
                </a:ext>
              </a:extLst>
            </p:cNvPr>
            <p:cNvGrpSpPr/>
            <p:nvPr/>
          </p:nvGrpSpPr>
          <p:grpSpPr>
            <a:xfrm>
              <a:off x="5222911" y="3248176"/>
              <a:ext cx="804863" cy="685591"/>
              <a:chOff x="2147888" y="2814638"/>
              <a:chExt cx="1447800" cy="1231900"/>
            </a:xfrm>
            <a:solidFill>
              <a:srgbClr val="00BCEB"/>
            </a:solidFill>
          </p:grpSpPr>
          <p:sp>
            <p:nvSpPr>
              <p:cNvPr id="57" name="Freeform 46">
                <a:extLst>
                  <a:ext uri="{FF2B5EF4-FFF2-40B4-BE49-F238E27FC236}">
                    <a16:creationId xmlns:a16="http://schemas.microsoft.com/office/drawing/2014/main" id="{C72EE043-6665-2D48-9433-3DE538EA5396}"/>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8" name="Freeform 47">
                <a:extLst>
                  <a:ext uri="{FF2B5EF4-FFF2-40B4-BE49-F238E27FC236}">
                    <a16:creationId xmlns:a16="http://schemas.microsoft.com/office/drawing/2014/main" id="{23FD659D-B697-1544-A113-4799CE71B36E}"/>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59" name="Freeform 48">
                <a:extLst>
                  <a:ext uri="{FF2B5EF4-FFF2-40B4-BE49-F238E27FC236}">
                    <a16:creationId xmlns:a16="http://schemas.microsoft.com/office/drawing/2014/main" id="{EE88FC9E-68F6-924D-A667-E2746C2A015A}"/>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0" name="Freeform 49">
                <a:extLst>
                  <a:ext uri="{FF2B5EF4-FFF2-40B4-BE49-F238E27FC236}">
                    <a16:creationId xmlns:a16="http://schemas.microsoft.com/office/drawing/2014/main" id="{30145A3E-F66A-0544-AE2C-A76B599FFEC0}"/>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1" name="Freeform 50">
                <a:extLst>
                  <a:ext uri="{FF2B5EF4-FFF2-40B4-BE49-F238E27FC236}">
                    <a16:creationId xmlns:a16="http://schemas.microsoft.com/office/drawing/2014/main" id="{E130109D-4C2C-F944-8507-435C118722FB}"/>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2" name="Freeform 51">
                <a:extLst>
                  <a:ext uri="{FF2B5EF4-FFF2-40B4-BE49-F238E27FC236}">
                    <a16:creationId xmlns:a16="http://schemas.microsoft.com/office/drawing/2014/main" id="{DC34DC81-7BA1-1842-BBAD-707C6D1F941A}"/>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3" name="Freeform 52">
                <a:extLst>
                  <a:ext uri="{FF2B5EF4-FFF2-40B4-BE49-F238E27FC236}">
                    <a16:creationId xmlns:a16="http://schemas.microsoft.com/office/drawing/2014/main" id="{29E052A8-891D-FC4F-8008-B26EEB0ACA5B}"/>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64" name="Freeform 53">
                <a:extLst>
                  <a:ext uri="{FF2B5EF4-FFF2-40B4-BE49-F238E27FC236}">
                    <a16:creationId xmlns:a16="http://schemas.microsoft.com/office/drawing/2014/main" id="{FB8F1B84-B764-4140-98BD-951195F55127}"/>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grpSp>
        <p:grpSp>
          <p:nvGrpSpPr>
            <p:cNvPr id="45" name="Group 592">
              <a:extLst>
                <a:ext uri="{FF2B5EF4-FFF2-40B4-BE49-F238E27FC236}">
                  <a16:creationId xmlns:a16="http://schemas.microsoft.com/office/drawing/2014/main" id="{3F0621FA-EAFB-C744-9E6B-3A79293B2597}"/>
                </a:ext>
              </a:extLst>
            </p:cNvPr>
            <p:cNvGrpSpPr/>
            <p:nvPr/>
          </p:nvGrpSpPr>
          <p:grpSpPr>
            <a:xfrm>
              <a:off x="4926347" y="2110472"/>
              <a:ext cx="1880819" cy="1693100"/>
              <a:chOff x="-3083985" y="2387260"/>
              <a:chExt cx="2611628" cy="2350967"/>
            </a:xfrm>
          </p:grpSpPr>
          <p:pic>
            <p:nvPicPr>
              <p:cNvPr id="53" name="Picture 178" descr="A picture containing object&#10;&#10;Description automatically generated">
                <a:extLst>
                  <a:ext uri="{FF2B5EF4-FFF2-40B4-BE49-F238E27FC236}">
                    <a16:creationId xmlns:a16="http://schemas.microsoft.com/office/drawing/2014/main" id="{2E66BD81-4A35-A54C-9E92-669F19A4DE33}"/>
                  </a:ext>
                </a:extLst>
              </p:cNvPr>
              <p:cNvPicPr>
                <a:picLocks noChangeAspect="1"/>
              </p:cNvPicPr>
              <p:nvPr/>
            </p:nvPicPr>
            <p:blipFill>
              <a:blip r:embed="rId5"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6355791" flipH="1">
                <a:off x="-3014057" y="2866403"/>
                <a:ext cx="664007" cy="803863"/>
              </a:xfrm>
              <a:prstGeom prst="rect">
                <a:avLst/>
              </a:prstGeom>
            </p:spPr>
          </p:pic>
          <p:pic>
            <p:nvPicPr>
              <p:cNvPr id="54" name="Picture 179" descr="A close up of a computer&#10;&#10;Description automatically generated">
                <a:extLst>
                  <a:ext uri="{FF2B5EF4-FFF2-40B4-BE49-F238E27FC236}">
                    <a16:creationId xmlns:a16="http://schemas.microsoft.com/office/drawing/2014/main" id="{07E960F1-91E2-F541-9E70-E6890ED99E85}"/>
                  </a:ext>
                </a:extLst>
              </p:cNvPr>
              <p:cNvPicPr>
                <a:picLocks noChangeAspect="1"/>
              </p:cNvPicPr>
              <p:nvPr/>
            </p:nvPicPr>
            <p:blipFill>
              <a:blip r:embed="rId6"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8498307" flipH="1">
                <a:off x="-2779279" y="2900466"/>
                <a:ext cx="1143367" cy="459051"/>
              </a:xfrm>
              <a:prstGeom prst="rect">
                <a:avLst/>
              </a:prstGeom>
            </p:spPr>
          </p:pic>
          <p:pic>
            <p:nvPicPr>
              <p:cNvPr id="55" name="Picture 180" descr="A picture containing black, clock, white, knife&#10;&#10;Description automatically generated">
                <a:extLst>
                  <a:ext uri="{FF2B5EF4-FFF2-40B4-BE49-F238E27FC236}">
                    <a16:creationId xmlns:a16="http://schemas.microsoft.com/office/drawing/2014/main" id="{C84A733E-33F3-5241-AE16-397FE7486C8A}"/>
                  </a:ext>
                </a:extLst>
              </p:cNvPr>
              <p:cNvPicPr>
                <a:picLocks noChangeAspect="1"/>
              </p:cNvPicPr>
              <p:nvPr/>
            </p:nvPicPr>
            <p:blipFill>
              <a:blip r:embed="rId7"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7951816" flipH="1">
                <a:off x="-2229857" y="2161656"/>
                <a:ext cx="1425602" cy="1876809"/>
              </a:xfrm>
              <a:prstGeom prst="rect">
                <a:avLst/>
              </a:prstGeom>
            </p:spPr>
          </p:pic>
          <p:pic>
            <p:nvPicPr>
              <p:cNvPr id="56" name="Picture 181" descr="A picture containing indoor, sitting, black, white&#10;&#10;Description automatically generated">
                <a:extLst>
                  <a:ext uri="{FF2B5EF4-FFF2-40B4-BE49-F238E27FC236}">
                    <a16:creationId xmlns:a16="http://schemas.microsoft.com/office/drawing/2014/main" id="{530CF244-CAD1-9D4E-872D-2713411DE79C}"/>
                  </a:ext>
                </a:extLst>
              </p:cNvPr>
              <p:cNvPicPr>
                <a:picLocks noChangeAspect="1"/>
              </p:cNvPicPr>
              <p:nvPr/>
            </p:nvPicPr>
            <p:blipFill>
              <a:blip r:embed="rId8"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flipH="1">
                <a:off x="-1495766" y="3640426"/>
                <a:ext cx="1023409" cy="1097801"/>
              </a:xfrm>
              <a:prstGeom prst="rect">
                <a:avLst/>
              </a:prstGeom>
            </p:spPr>
          </p:pic>
        </p:grpSp>
        <p:grpSp>
          <p:nvGrpSpPr>
            <p:cNvPr id="46" name="Group 591">
              <a:extLst>
                <a:ext uri="{FF2B5EF4-FFF2-40B4-BE49-F238E27FC236}">
                  <a16:creationId xmlns:a16="http://schemas.microsoft.com/office/drawing/2014/main" id="{41C19CDB-453F-AD45-9912-2D40211D33DE}"/>
                </a:ext>
              </a:extLst>
            </p:cNvPr>
            <p:cNvGrpSpPr/>
            <p:nvPr/>
          </p:nvGrpSpPr>
          <p:grpSpPr>
            <a:xfrm>
              <a:off x="5096571" y="1939685"/>
              <a:ext cx="1817599" cy="1926301"/>
              <a:chOff x="-70844" y="2579788"/>
              <a:chExt cx="2523843" cy="2674780"/>
            </a:xfrm>
          </p:grpSpPr>
          <p:pic>
            <p:nvPicPr>
              <p:cNvPr id="49" name="Picture 588" descr="A picture containing object&#10;&#10;Description automatically generated">
                <a:extLst>
                  <a:ext uri="{FF2B5EF4-FFF2-40B4-BE49-F238E27FC236}">
                    <a16:creationId xmlns:a16="http://schemas.microsoft.com/office/drawing/2014/main" id="{30CCB424-4732-A448-921B-3F205A20DB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084758" flipH="1">
                <a:off x="-916" y="2753853"/>
                <a:ext cx="664007" cy="803863"/>
              </a:xfrm>
              <a:prstGeom prst="rect">
                <a:avLst/>
              </a:prstGeom>
            </p:spPr>
          </p:pic>
          <p:pic>
            <p:nvPicPr>
              <p:cNvPr id="50" name="Picture 582" descr="A close up of a computer&#10;&#10;Description automatically generated">
                <a:extLst>
                  <a:ext uri="{FF2B5EF4-FFF2-40B4-BE49-F238E27FC236}">
                    <a16:creationId xmlns:a16="http://schemas.microsoft.com/office/drawing/2014/main" id="{917A023B-558F-7C4A-9B48-EFB456E5CBC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615390" flipH="1">
                <a:off x="444582" y="2920634"/>
                <a:ext cx="1143367" cy="459051"/>
              </a:xfrm>
              <a:prstGeom prst="rect">
                <a:avLst/>
              </a:prstGeom>
            </p:spPr>
          </p:pic>
          <p:pic>
            <p:nvPicPr>
              <p:cNvPr id="51" name="Picture 590" descr="A picture containing black, clock, white, knife&#10;&#10;Description automatically generated">
                <a:extLst>
                  <a:ext uri="{FF2B5EF4-FFF2-40B4-BE49-F238E27FC236}">
                    <a16:creationId xmlns:a16="http://schemas.microsoft.com/office/drawing/2014/main" id="{6C28D740-951A-B544-990A-71D5778FACD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301551" flipH="1">
                <a:off x="1006233" y="2579788"/>
                <a:ext cx="1425602" cy="1876809"/>
              </a:xfrm>
              <a:prstGeom prst="rect">
                <a:avLst/>
              </a:prstGeom>
            </p:spPr>
          </p:pic>
          <p:pic>
            <p:nvPicPr>
              <p:cNvPr id="52" name="Picture 586" descr="A picture containing indoor, sitting, black, white&#10;&#10;Description automatically generated">
                <a:extLst>
                  <a:ext uri="{FF2B5EF4-FFF2-40B4-BE49-F238E27FC236}">
                    <a16:creationId xmlns:a16="http://schemas.microsoft.com/office/drawing/2014/main" id="{DEBF1E55-FE0C-2346-B8F2-78C776994F95}"/>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1429590" y="4156767"/>
                <a:ext cx="1023409" cy="1097801"/>
              </a:xfrm>
              <a:prstGeom prst="rect">
                <a:avLst/>
              </a:prstGeom>
            </p:spPr>
          </p:pic>
        </p:grpSp>
        <p:sp>
          <p:nvSpPr>
            <p:cNvPr id="47" name="Isosceles Triangle 49">
              <a:extLst>
                <a:ext uri="{FF2B5EF4-FFF2-40B4-BE49-F238E27FC236}">
                  <a16:creationId xmlns:a16="http://schemas.microsoft.com/office/drawing/2014/main" id="{7434F19F-BDE3-AB4E-8B01-5FC551B2F93B}"/>
                </a:ext>
              </a:extLst>
            </p:cNvPr>
            <p:cNvSpPr/>
            <p:nvPr/>
          </p:nvSpPr>
          <p:spPr>
            <a:xfrm>
              <a:off x="6343029" y="2308159"/>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48" name="Isosceles Triangle 49">
              <a:extLst>
                <a:ext uri="{FF2B5EF4-FFF2-40B4-BE49-F238E27FC236}">
                  <a16:creationId xmlns:a16="http://schemas.microsoft.com/office/drawing/2014/main" id="{9CE726C0-DF92-2940-8ADE-7631C7E36C89}"/>
                </a:ext>
              </a:extLst>
            </p:cNvPr>
            <p:cNvSpPr/>
            <p:nvPr/>
          </p:nvSpPr>
          <p:spPr>
            <a:xfrm>
              <a:off x="5861585" y="3323757"/>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0" cap="none" spc="0" normalizeH="0" baseline="0" noProof="0">
                <a:ln>
                  <a:noFill/>
                </a:ln>
                <a:solidFill>
                  <a:srgbClr val="0D274D"/>
                </a:solidFill>
                <a:effectLst/>
                <a:uLnTx/>
                <a:uFillTx/>
                <a:latin typeface="CiscoSansTT ExtraLight"/>
                <a:ea typeface="+mn-ea"/>
                <a:cs typeface="+mn-cs"/>
              </a:endParaRPr>
            </a:p>
          </p:txBody>
        </p:sp>
      </p:grpSp>
      <p:grpSp>
        <p:nvGrpSpPr>
          <p:cNvPr id="84" name="Group 83">
            <a:extLst>
              <a:ext uri="{FF2B5EF4-FFF2-40B4-BE49-F238E27FC236}">
                <a16:creationId xmlns:a16="http://schemas.microsoft.com/office/drawing/2014/main" id="{5209BA5A-80B8-AB4D-8DAF-D7E439B3F999}"/>
              </a:ext>
            </a:extLst>
          </p:cNvPr>
          <p:cNvGrpSpPr>
            <a:grpSpLocks noChangeAspect="1"/>
          </p:cNvGrpSpPr>
          <p:nvPr/>
        </p:nvGrpSpPr>
        <p:grpSpPr>
          <a:xfrm>
            <a:off x="1253417" y="1886261"/>
            <a:ext cx="1158363" cy="1259284"/>
            <a:chOff x="5022011" y="399610"/>
            <a:chExt cx="3996120" cy="4344279"/>
          </a:xfrm>
        </p:grpSpPr>
        <p:sp>
          <p:nvSpPr>
            <p:cNvPr id="85" name="Oval 83">
              <a:extLst>
                <a:ext uri="{FF2B5EF4-FFF2-40B4-BE49-F238E27FC236}">
                  <a16:creationId xmlns:a16="http://schemas.microsoft.com/office/drawing/2014/main" id="{24BA8F88-0BE2-C646-8E58-1E9F1AFB1DA5}"/>
                </a:ext>
              </a:extLst>
            </p:cNvPr>
            <p:cNvSpPr>
              <a:spLocks/>
            </p:cNvSpPr>
            <p:nvPr/>
          </p:nvSpPr>
          <p:spPr>
            <a:xfrm>
              <a:off x="7439634" y="661835"/>
              <a:ext cx="859470" cy="862494"/>
            </a:xfrm>
            <a:prstGeom prst="ellipse">
              <a:avLst/>
            </a:prstGeom>
            <a:solidFill>
              <a:srgbClr val="FFFFFF"/>
            </a:solidFill>
            <a:ln w="25400" cap="flat" cmpd="sng" algn="ctr">
              <a:no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86" name="Picture 596" descr="A picture containing sitting, black, dark, table&#10;&#10;Description automatically generated">
              <a:extLst>
                <a:ext uri="{FF2B5EF4-FFF2-40B4-BE49-F238E27FC236}">
                  <a16:creationId xmlns:a16="http://schemas.microsoft.com/office/drawing/2014/main" id="{ACA3B7BA-F56F-514A-A5CC-161B04D1D754}"/>
                </a:ext>
              </a:extLst>
            </p:cNvPr>
            <p:cNvPicPr>
              <a:picLocks noChangeAspect="1"/>
            </p:cNvPicPr>
            <p:nvPr/>
          </p:nvPicPr>
          <p:blipFill rotWithShape="1">
            <a:blip r:embed="rId9"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sp>
          <p:nvSpPr>
            <p:cNvPr id="87" name="Freeform: Shape 99">
              <a:extLst>
                <a:ext uri="{FF2B5EF4-FFF2-40B4-BE49-F238E27FC236}">
                  <a16:creationId xmlns:a16="http://schemas.microsoft.com/office/drawing/2014/main" id="{C2BEAEF5-FF12-7D43-A998-22286092BC7B}"/>
                </a:ext>
              </a:extLst>
            </p:cNvPr>
            <p:cNvSpPr/>
            <p:nvPr/>
          </p:nvSpPr>
          <p:spPr>
            <a:xfrm rot="7495001">
              <a:off x="6016695" y="1476789"/>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88" name="Isosceles Triangle 49">
              <a:extLst>
                <a:ext uri="{FF2B5EF4-FFF2-40B4-BE49-F238E27FC236}">
                  <a16:creationId xmlns:a16="http://schemas.microsoft.com/office/drawing/2014/main" id="{9581ED2C-135A-EA4D-9316-8B2102B83056}"/>
                </a:ext>
              </a:extLst>
            </p:cNvPr>
            <p:cNvSpPr/>
            <p:nvPr/>
          </p:nvSpPr>
          <p:spPr>
            <a:xfrm rot="10800000">
              <a:off x="5702955" y="2634004"/>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89" name="Rectangle: Rounded Corners 622">
              <a:extLst>
                <a:ext uri="{FF2B5EF4-FFF2-40B4-BE49-F238E27FC236}">
                  <a16:creationId xmlns:a16="http://schemas.microsoft.com/office/drawing/2014/main" id="{DC42F8AB-5F95-F449-BB52-CE8492DCBD17}"/>
                </a:ext>
              </a:extLst>
            </p:cNvPr>
            <p:cNvSpPr/>
            <p:nvPr/>
          </p:nvSpPr>
          <p:spPr>
            <a:xfrm>
              <a:off x="5574499" y="3117309"/>
              <a:ext cx="1308345" cy="294686"/>
            </a:xfrm>
            <a:prstGeom prst="roundRect">
              <a:avLst/>
            </a:prstGeom>
            <a:solidFill>
              <a:srgbClr val="0D274D"/>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pic>
          <p:nvPicPr>
            <p:cNvPr id="90" name="Picture 661" descr="A close up of a mountain&#10;&#10;Description automatically generated">
              <a:extLst>
                <a:ext uri="{FF2B5EF4-FFF2-40B4-BE49-F238E27FC236}">
                  <a16:creationId xmlns:a16="http://schemas.microsoft.com/office/drawing/2014/main" id="{46248BB5-7BC8-A846-AC35-DC81851BEEAE}"/>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936991" y="3093380"/>
              <a:ext cx="2081140" cy="1036944"/>
            </a:xfrm>
            <a:prstGeom prst="rect">
              <a:avLst/>
            </a:prstGeom>
          </p:spPr>
        </p:pic>
        <p:pic>
          <p:nvPicPr>
            <p:cNvPr id="91" name="Picture 654" descr="A close up of a mountain&#10;&#10;Description automatically generated">
              <a:extLst>
                <a:ext uri="{FF2B5EF4-FFF2-40B4-BE49-F238E27FC236}">
                  <a16:creationId xmlns:a16="http://schemas.microsoft.com/office/drawing/2014/main" id="{2BFF41B8-D98C-2442-BE21-E4E54B44150B}"/>
                </a:ext>
              </a:extLst>
            </p:cNvPr>
            <p:cNvPicPr>
              <a:picLocks noChangeAspect="1"/>
            </p:cNvPicPr>
            <p:nvPr/>
          </p:nvPicPr>
          <p:blipFill>
            <a:blip r:embed="rId11" cstate="screen">
              <a:duotone>
                <a:prstClr val="black"/>
                <a:srgbClr val="9E9EA2">
                  <a:tint val="45000"/>
                  <a:satMod val="400000"/>
                </a:srgbClr>
              </a:duotone>
              <a:extLst>
                <a:ext uri="{BEBA8EAE-BF5A-486C-A8C5-ECC9F3942E4B}">
                  <a14:imgProps xmlns:a14="http://schemas.microsoft.com/office/drawing/2010/main">
                    <a14:imgLayer r:embed="rId12">
                      <a14:imgEffect>
                        <a14:brightnessContrast bright="-12000"/>
                      </a14:imgEffect>
                    </a14:imgLayer>
                  </a14:imgProps>
                </a:ext>
                <a:ext uri="{28A0092B-C50C-407E-A947-70E740481C1C}">
                  <a14:useLocalDpi xmlns:a14="http://schemas.microsoft.com/office/drawing/2010/main"/>
                </a:ext>
              </a:extLst>
            </a:blip>
            <a:stretch>
              <a:fillRect/>
            </a:stretch>
          </p:blipFill>
          <p:spPr>
            <a:xfrm>
              <a:off x="5428845" y="2799167"/>
              <a:ext cx="2066449" cy="1029624"/>
            </a:xfrm>
            <a:prstGeom prst="rect">
              <a:avLst/>
            </a:prstGeom>
          </p:spPr>
        </p:pic>
        <p:pic>
          <p:nvPicPr>
            <p:cNvPr id="92" name="Picture 656" descr="A close up of a mountain&#10;&#10;Description automatically generated">
              <a:extLst>
                <a:ext uri="{FF2B5EF4-FFF2-40B4-BE49-F238E27FC236}">
                  <a16:creationId xmlns:a16="http://schemas.microsoft.com/office/drawing/2014/main" id="{9BF41B73-57E3-2B43-94AC-C31BA0A2BE72}"/>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022011" y="3051945"/>
              <a:ext cx="2081140" cy="1036944"/>
            </a:xfrm>
            <a:prstGeom prst="rect">
              <a:avLst/>
            </a:prstGeom>
          </p:spPr>
        </p:pic>
        <p:pic>
          <p:nvPicPr>
            <p:cNvPr id="93" name="Picture 108" descr="A close up of a mountain&#10;&#10;Description automatically generated">
              <a:extLst>
                <a:ext uri="{FF2B5EF4-FFF2-40B4-BE49-F238E27FC236}">
                  <a16:creationId xmlns:a16="http://schemas.microsoft.com/office/drawing/2014/main" id="{D8A9E6CD-C9EA-DB44-ADC2-388329412AA9}"/>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781454" y="2797676"/>
              <a:ext cx="2081140" cy="1036944"/>
            </a:xfrm>
            <a:prstGeom prst="rect">
              <a:avLst/>
            </a:prstGeom>
          </p:spPr>
        </p:pic>
        <p:pic>
          <p:nvPicPr>
            <p:cNvPr id="94" name="Picture 7" descr="A close up of a mountain&#10;&#10;Description automatically generated">
              <a:extLst>
                <a:ext uri="{FF2B5EF4-FFF2-40B4-BE49-F238E27FC236}">
                  <a16:creationId xmlns:a16="http://schemas.microsoft.com/office/drawing/2014/main" id="{1C9EE5D2-77E8-1141-A60F-865B5D1D9994}"/>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243141" y="3187103"/>
              <a:ext cx="2331539" cy="1161707"/>
            </a:xfrm>
            <a:prstGeom prst="rect">
              <a:avLst/>
            </a:prstGeom>
          </p:spPr>
        </p:pic>
        <p:pic>
          <p:nvPicPr>
            <p:cNvPr id="95" name="Picture 668" descr="A close up of a mountain&#10;&#10;Description automatically generated">
              <a:extLst>
                <a:ext uri="{FF2B5EF4-FFF2-40B4-BE49-F238E27FC236}">
                  <a16:creationId xmlns:a16="http://schemas.microsoft.com/office/drawing/2014/main" id="{A373E9B9-E707-B147-B9AC-2EBE1E0F64C5}"/>
                </a:ext>
              </a:extLst>
            </p:cNvPr>
            <p:cNvPicPr>
              <a:picLocks noChangeAspect="1"/>
            </p:cNvPicPr>
            <p:nvPr/>
          </p:nvPicPr>
          <p:blipFill>
            <a:blip r:embed="rId14" cstate="screen">
              <a:duotone>
                <a:prstClr val="black"/>
                <a:srgbClr val="9E9EA2">
                  <a:tint val="45000"/>
                  <a:satMod val="400000"/>
                </a:srgbClr>
              </a:duotone>
              <a:extLst>
                <a:ext uri="{BEBA8EAE-BF5A-486C-A8C5-ECC9F3942E4B}">
                  <a14:imgProps xmlns:a14="http://schemas.microsoft.com/office/drawing/2010/main">
                    <a14:imgLayer r:embed="rId15">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266028" y="2789445"/>
              <a:ext cx="1723254" cy="858624"/>
            </a:xfrm>
            <a:prstGeom prst="rect">
              <a:avLst/>
            </a:prstGeom>
          </p:spPr>
        </p:pic>
        <p:sp>
          <p:nvSpPr>
            <p:cNvPr id="96" name="Freeform: Shape 100">
              <a:extLst>
                <a:ext uri="{FF2B5EF4-FFF2-40B4-BE49-F238E27FC236}">
                  <a16:creationId xmlns:a16="http://schemas.microsoft.com/office/drawing/2014/main" id="{2AED2025-9C00-0D46-AD67-7B5C261CDA0A}"/>
                </a:ext>
              </a:extLst>
            </p:cNvPr>
            <p:cNvSpPr/>
            <p:nvPr/>
          </p:nvSpPr>
          <p:spPr>
            <a:xfrm rot="14974915">
              <a:off x="7072221" y="2565312"/>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97" name="Picture 6" descr="A close up of a mountain&#10;&#10;Description automatically generated">
              <a:extLst>
                <a:ext uri="{FF2B5EF4-FFF2-40B4-BE49-F238E27FC236}">
                  <a16:creationId xmlns:a16="http://schemas.microsoft.com/office/drawing/2014/main" id="{F5B0D64D-AF7E-3E46-9A5D-57887DF09135}"/>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5358005" y="3189191"/>
              <a:ext cx="2331539" cy="1161707"/>
            </a:xfrm>
            <a:prstGeom prst="rect">
              <a:avLst/>
            </a:prstGeom>
          </p:spPr>
        </p:pic>
        <p:sp>
          <p:nvSpPr>
            <p:cNvPr id="98" name="Freeform: Shape 86">
              <a:extLst>
                <a:ext uri="{FF2B5EF4-FFF2-40B4-BE49-F238E27FC236}">
                  <a16:creationId xmlns:a16="http://schemas.microsoft.com/office/drawing/2014/main" id="{800CEFC9-A039-D34A-A2E0-19990698835A}"/>
                </a:ext>
              </a:extLst>
            </p:cNvPr>
            <p:cNvSpPr>
              <a:spLocks noChangeAspect="1"/>
            </p:cNvSpPr>
            <p:nvPr/>
          </p:nvSpPr>
          <p:spPr>
            <a:xfrm rot="16200000">
              <a:off x="6147270" y="3399089"/>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ＭＳ Ｐゴシック" charset="0"/>
                <a:cs typeface="+mn-cs"/>
              </a:endParaRPr>
            </a:p>
          </p:txBody>
        </p:sp>
        <p:pic>
          <p:nvPicPr>
            <p:cNvPr id="99" name="Picture 105" descr="A close up of a mountain&#10;&#10;Description automatically generated">
              <a:extLst>
                <a:ext uri="{FF2B5EF4-FFF2-40B4-BE49-F238E27FC236}">
                  <a16:creationId xmlns:a16="http://schemas.microsoft.com/office/drawing/2014/main" id="{4FF49217-DCB8-C841-ADA2-08E816DAC900}"/>
                </a:ext>
              </a:extLst>
            </p:cNvPr>
            <p:cNvPicPr>
              <a:picLocks noChangeAspect="1"/>
            </p:cNvPicPr>
            <p:nvPr/>
          </p:nvPicPr>
          <p:blipFill>
            <a:blip r:embed="rId16"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045884" y="3243453"/>
              <a:ext cx="1790804" cy="892282"/>
            </a:xfrm>
            <a:prstGeom prst="rect">
              <a:avLst/>
            </a:prstGeom>
          </p:spPr>
        </p:pic>
        <p:sp>
          <p:nvSpPr>
            <p:cNvPr id="100" name="Isosceles Triangle 49">
              <a:extLst>
                <a:ext uri="{FF2B5EF4-FFF2-40B4-BE49-F238E27FC236}">
                  <a16:creationId xmlns:a16="http://schemas.microsoft.com/office/drawing/2014/main" id="{70FD7F35-97B1-2145-BAC5-0A6B1AE402C2}"/>
                </a:ext>
              </a:extLst>
            </p:cNvPr>
            <p:cNvSpPr/>
            <p:nvPr/>
          </p:nvSpPr>
          <p:spPr>
            <a:xfrm>
              <a:off x="6481784" y="2480006"/>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1" name="Rectangle: Rounded Corners 666">
              <a:extLst>
                <a:ext uri="{FF2B5EF4-FFF2-40B4-BE49-F238E27FC236}">
                  <a16:creationId xmlns:a16="http://schemas.microsoft.com/office/drawing/2014/main" id="{365E05A6-CC42-0B48-A469-2808DD405D13}"/>
                </a:ext>
              </a:extLst>
            </p:cNvPr>
            <p:cNvSpPr/>
            <p:nvPr/>
          </p:nvSpPr>
          <p:spPr>
            <a:xfrm>
              <a:off x="6194678" y="2106147"/>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sp>
          <p:nvSpPr>
            <p:cNvPr id="102" name="AutoShape 3">
              <a:extLst>
                <a:ext uri="{FF2B5EF4-FFF2-40B4-BE49-F238E27FC236}">
                  <a16:creationId xmlns:a16="http://schemas.microsoft.com/office/drawing/2014/main" id="{5D55D0AA-CEDB-044C-917C-8E7846EDDE3F}"/>
                </a:ext>
              </a:extLst>
            </p:cNvPr>
            <p:cNvSpPr>
              <a:spLocks noChangeAspect="1" noChangeArrowheads="1" noTextEdit="1"/>
            </p:cNvSpPr>
            <p:nvPr/>
          </p:nvSpPr>
          <p:spPr bwMode="auto">
            <a:xfrm rot="15056671">
              <a:off x="7384256" y="615156"/>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03" name="Freeform 5">
              <a:extLst>
                <a:ext uri="{FF2B5EF4-FFF2-40B4-BE49-F238E27FC236}">
                  <a16:creationId xmlns:a16="http://schemas.microsoft.com/office/drawing/2014/main" id="{5FC0E7D9-9464-7242-B2E3-E5FED5CDA1BA}"/>
                </a:ext>
              </a:extLst>
            </p:cNvPr>
            <p:cNvSpPr>
              <a:spLocks/>
            </p:cNvSpPr>
            <p:nvPr/>
          </p:nvSpPr>
          <p:spPr bwMode="auto">
            <a:xfrm rot="21386774">
              <a:off x="7308733" y="587389"/>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sp>
          <p:nvSpPr>
            <p:cNvPr id="104" name="Freeform 6">
              <a:extLst>
                <a:ext uri="{FF2B5EF4-FFF2-40B4-BE49-F238E27FC236}">
                  <a16:creationId xmlns:a16="http://schemas.microsoft.com/office/drawing/2014/main" id="{8AD337F8-2F0B-D347-9BFD-C0A960279194}"/>
                </a:ext>
              </a:extLst>
            </p:cNvPr>
            <p:cNvSpPr>
              <a:spLocks/>
            </p:cNvSpPr>
            <p:nvPr/>
          </p:nvSpPr>
          <p:spPr bwMode="auto">
            <a:xfrm rot="15056671">
              <a:off x="7972413" y="1399965"/>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charset="0"/>
                <a:ea typeface="ＭＳ Ｐゴシック" charset="0"/>
                <a:cs typeface="+mn-cs"/>
              </a:endParaRPr>
            </a:p>
          </p:txBody>
        </p:sp>
        <p:pic>
          <p:nvPicPr>
            <p:cNvPr id="105" name="Picture 578" descr="A close up of a persons hand&#10;&#10;Description automatically generated">
              <a:extLst>
                <a:ext uri="{FF2B5EF4-FFF2-40B4-BE49-F238E27FC236}">
                  <a16:creationId xmlns:a16="http://schemas.microsoft.com/office/drawing/2014/main" id="{68CDC7D8-3777-2148-A43F-8A4BAC2E6998}"/>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6065948" y="399610"/>
              <a:ext cx="2070387" cy="3307335"/>
            </a:xfrm>
            <a:prstGeom prst="rect">
              <a:avLst/>
            </a:prstGeom>
          </p:spPr>
        </p:pic>
        <p:cxnSp>
          <p:nvCxnSpPr>
            <p:cNvPr id="106" name="Straight Connector 68">
              <a:extLst>
                <a:ext uri="{FF2B5EF4-FFF2-40B4-BE49-F238E27FC236}">
                  <a16:creationId xmlns:a16="http://schemas.microsoft.com/office/drawing/2014/main" id="{1DF394AF-346F-5F40-9EF3-C33D94D81E5F}"/>
                </a:ext>
              </a:extLst>
            </p:cNvPr>
            <p:cNvCxnSpPr>
              <a:cxnSpLocks/>
            </p:cNvCxnSpPr>
            <p:nvPr/>
          </p:nvCxnSpPr>
          <p:spPr>
            <a:xfrm flipV="1">
              <a:off x="8053454" y="547273"/>
              <a:ext cx="258188" cy="286562"/>
            </a:xfrm>
            <a:prstGeom prst="line">
              <a:avLst/>
            </a:prstGeom>
            <a:noFill/>
            <a:ln w="25400" cap="flat" cmpd="sng" algn="ctr">
              <a:solidFill>
                <a:srgbClr val="6EBE4A"/>
              </a:solidFill>
              <a:prstDash val="solid"/>
              <a:miter lim="800000"/>
            </a:ln>
            <a:effectLst/>
          </p:spPr>
        </p:cxnSp>
        <p:cxnSp>
          <p:nvCxnSpPr>
            <p:cNvPr id="107" name="Straight Connector 69">
              <a:extLst>
                <a:ext uri="{FF2B5EF4-FFF2-40B4-BE49-F238E27FC236}">
                  <a16:creationId xmlns:a16="http://schemas.microsoft.com/office/drawing/2014/main" id="{7A306D5E-4703-8347-8415-002FCC7B81CA}"/>
                </a:ext>
              </a:extLst>
            </p:cNvPr>
            <p:cNvCxnSpPr>
              <a:cxnSpLocks/>
            </p:cNvCxnSpPr>
            <p:nvPr/>
          </p:nvCxnSpPr>
          <p:spPr>
            <a:xfrm flipV="1">
              <a:off x="8106909" y="892488"/>
              <a:ext cx="365895" cy="111469"/>
            </a:xfrm>
            <a:prstGeom prst="line">
              <a:avLst/>
            </a:prstGeom>
            <a:noFill/>
            <a:ln w="25400" cap="flat" cmpd="sng" algn="ctr">
              <a:solidFill>
                <a:srgbClr val="6EBE4A"/>
              </a:solidFill>
              <a:prstDash val="solid"/>
              <a:miter lim="800000"/>
            </a:ln>
            <a:effectLst/>
          </p:spPr>
        </p:cxnSp>
        <p:cxnSp>
          <p:nvCxnSpPr>
            <p:cNvPr id="108" name="Straight Connector 70">
              <a:extLst>
                <a:ext uri="{FF2B5EF4-FFF2-40B4-BE49-F238E27FC236}">
                  <a16:creationId xmlns:a16="http://schemas.microsoft.com/office/drawing/2014/main" id="{4691F6B2-F6DD-1B4E-96A1-19AAE29DDEC0}"/>
                </a:ext>
              </a:extLst>
            </p:cNvPr>
            <p:cNvCxnSpPr>
              <a:cxnSpLocks/>
            </p:cNvCxnSpPr>
            <p:nvPr/>
          </p:nvCxnSpPr>
          <p:spPr>
            <a:xfrm>
              <a:off x="8107268" y="1192221"/>
              <a:ext cx="377947" cy="83227"/>
            </a:xfrm>
            <a:prstGeom prst="line">
              <a:avLst/>
            </a:prstGeom>
            <a:noFill/>
            <a:ln w="25400" cap="flat" cmpd="sng" algn="ctr">
              <a:solidFill>
                <a:srgbClr val="6EBE4A"/>
              </a:solidFill>
              <a:prstDash val="solid"/>
              <a:miter lim="800000"/>
            </a:ln>
            <a:effectLst/>
          </p:spPr>
        </p:cxnSp>
        <p:sp>
          <p:nvSpPr>
            <p:cNvPr id="109" name="Freeform: Shape 725">
              <a:extLst>
                <a:ext uri="{FF2B5EF4-FFF2-40B4-BE49-F238E27FC236}">
                  <a16:creationId xmlns:a16="http://schemas.microsoft.com/office/drawing/2014/main" id="{CC44CC69-9483-3849-8CC1-DC8CA648C137}"/>
                </a:ext>
              </a:extLst>
            </p:cNvPr>
            <p:cNvSpPr/>
            <p:nvPr/>
          </p:nvSpPr>
          <p:spPr>
            <a:xfrm>
              <a:off x="6364504" y="651554"/>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10" name="Freeform: Shape 726">
              <a:extLst>
                <a:ext uri="{FF2B5EF4-FFF2-40B4-BE49-F238E27FC236}">
                  <a16:creationId xmlns:a16="http://schemas.microsoft.com/office/drawing/2014/main" id="{8D5BE669-8821-B649-BA1A-4533691D1A2D}"/>
                </a:ext>
              </a:extLst>
            </p:cNvPr>
            <p:cNvSpPr/>
            <p:nvPr/>
          </p:nvSpPr>
          <p:spPr>
            <a:xfrm>
              <a:off x="6349495" y="678498"/>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sp>
          <p:nvSpPr>
            <p:cNvPr id="111" name="Freeform: Shape 727">
              <a:extLst>
                <a:ext uri="{FF2B5EF4-FFF2-40B4-BE49-F238E27FC236}">
                  <a16:creationId xmlns:a16="http://schemas.microsoft.com/office/drawing/2014/main" id="{2CB2EBCB-9FE0-1747-9835-032945616371}"/>
                </a:ext>
              </a:extLst>
            </p:cNvPr>
            <p:cNvSpPr/>
            <p:nvPr/>
          </p:nvSpPr>
          <p:spPr>
            <a:xfrm>
              <a:off x="6344685" y="705459"/>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12" name="Picture 650" descr="A close up of a mountain&#10;&#10;Description automatically generated">
              <a:extLst>
                <a:ext uri="{FF2B5EF4-FFF2-40B4-BE49-F238E27FC236}">
                  <a16:creationId xmlns:a16="http://schemas.microsoft.com/office/drawing/2014/main" id="{5D326DE6-4CCC-2244-801D-FDF2B16F7DB6}"/>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19647" y="3396261"/>
              <a:ext cx="2331539" cy="1161707"/>
            </a:xfrm>
            <a:prstGeom prst="rect">
              <a:avLst/>
            </a:prstGeom>
          </p:spPr>
        </p:pic>
        <p:pic>
          <p:nvPicPr>
            <p:cNvPr id="113" name="Picture 11" descr="A close up of a mountain&#10;&#10;Description automatically generated">
              <a:extLst>
                <a:ext uri="{FF2B5EF4-FFF2-40B4-BE49-F238E27FC236}">
                  <a16:creationId xmlns:a16="http://schemas.microsoft.com/office/drawing/2014/main" id="{C83D12EC-CB93-654A-B3AF-DC9E6053E7D7}"/>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791559" y="3408734"/>
              <a:ext cx="2081140" cy="1036944"/>
            </a:xfrm>
            <a:prstGeom prst="rect">
              <a:avLst/>
            </a:prstGeom>
          </p:spPr>
        </p:pic>
        <p:pic>
          <p:nvPicPr>
            <p:cNvPr id="114" name="Picture 651" descr="A close up of a mountain&#10;&#10;Description automatically generated">
              <a:extLst>
                <a:ext uri="{FF2B5EF4-FFF2-40B4-BE49-F238E27FC236}">
                  <a16:creationId xmlns:a16="http://schemas.microsoft.com/office/drawing/2014/main" id="{6D8E152A-5117-0C4C-920A-1FD793E4EA37}"/>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flipH="1">
              <a:off x="6530862" y="3536367"/>
              <a:ext cx="2453510" cy="1161707"/>
            </a:xfrm>
            <a:prstGeom prst="rect">
              <a:avLst/>
            </a:prstGeom>
          </p:spPr>
        </p:pic>
        <p:pic>
          <p:nvPicPr>
            <p:cNvPr id="115" name="Picture 652" descr="A close up of a mountain&#10;&#10;Description automatically generated">
              <a:extLst>
                <a:ext uri="{FF2B5EF4-FFF2-40B4-BE49-F238E27FC236}">
                  <a16:creationId xmlns:a16="http://schemas.microsoft.com/office/drawing/2014/main" id="{37E4982C-3B7D-CF4F-ADC0-28798A92D0EA}"/>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490681" y="3706945"/>
              <a:ext cx="2081140" cy="1036944"/>
            </a:xfrm>
            <a:prstGeom prst="rect">
              <a:avLst/>
            </a:prstGeom>
          </p:spPr>
        </p:pic>
        <p:pic>
          <p:nvPicPr>
            <p:cNvPr id="116" name="Picture 653" descr="A close up of a mountain&#10;&#10;Description automatically generated">
              <a:extLst>
                <a:ext uri="{FF2B5EF4-FFF2-40B4-BE49-F238E27FC236}">
                  <a16:creationId xmlns:a16="http://schemas.microsoft.com/office/drawing/2014/main" id="{972854A0-FFD4-6B4E-94EB-94D5718E2A01}"/>
                </a:ext>
              </a:extLst>
            </p:cNvPr>
            <p:cNvPicPr>
              <a:picLocks noChangeAspect="1"/>
            </p:cNvPicPr>
            <p:nvPr/>
          </p:nvPicPr>
          <p:blipFill>
            <a:blip r:embed="rId1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029946" y="3399660"/>
              <a:ext cx="2453510" cy="1161707"/>
            </a:xfrm>
            <a:prstGeom prst="rect">
              <a:avLst/>
            </a:prstGeom>
          </p:spPr>
        </p:pic>
        <p:pic>
          <p:nvPicPr>
            <p:cNvPr id="117" name="Picture 671" descr="A close up of a mountain&#10;&#10;Description automatically generated">
              <a:extLst>
                <a:ext uri="{FF2B5EF4-FFF2-40B4-BE49-F238E27FC236}">
                  <a16:creationId xmlns:a16="http://schemas.microsoft.com/office/drawing/2014/main" id="{59D6841E-E817-424A-B6F2-96C942C02521}"/>
                </a:ext>
              </a:extLst>
            </p:cNvPr>
            <p:cNvPicPr>
              <a:picLocks noChangeAspect="1"/>
            </p:cNvPicPr>
            <p:nvPr/>
          </p:nvPicPr>
          <p:blipFill>
            <a:blip r:embed="rId19"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635063" y="3439796"/>
              <a:ext cx="1521937" cy="758317"/>
            </a:xfrm>
            <a:prstGeom prst="rect">
              <a:avLst/>
            </a:prstGeom>
          </p:spPr>
        </p:pic>
        <p:sp>
          <p:nvSpPr>
            <p:cNvPr id="118" name="Freeform: Shape 98">
              <a:extLst>
                <a:ext uri="{FF2B5EF4-FFF2-40B4-BE49-F238E27FC236}">
                  <a16:creationId xmlns:a16="http://schemas.microsoft.com/office/drawing/2014/main" id="{784BE7D5-DB38-034C-AD6A-95CFF77A7E10}"/>
                </a:ext>
              </a:extLst>
            </p:cNvPr>
            <p:cNvSpPr/>
            <p:nvPr/>
          </p:nvSpPr>
          <p:spPr>
            <a:xfrm>
              <a:off x="5587711" y="2779505"/>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pic>
          <p:nvPicPr>
            <p:cNvPr id="119" name="Picture 188" descr="A picture containing sitting, black, dark, table&#10;&#10;Description automatically generated">
              <a:extLst>
                <a:ext uri="{FF2B5EF4-FFF2-40B4-BE49-F238E27FC236}">
                  <a16:creationId xmlns:a16="http://schemas.microsoft.com/office/drawing/2014/main" id="{A9E0D254-9D6B-FB47-B058-926DE0D10DBB}"/>
                </a:ext>
              </a:extLst>
            </p:cNvPr>
            <p:cNvPicPr>
              <a:picLocks noChangeAspect="1"/>
            </p:cNvPicPr>
            <p:nvPr/>
          </p:nvPicPr>
          <p:blipFill rotWithShape="1">
            <a:blip r:embed="rId9"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grpSp>
      <p:grpSp>
        <p:nvGrpSpPr>
          <p:cNvPr id="120" name="Group 119">
            <a:extLst>
              <a:ext uri="{FF2B5EF4-FFF2-40B4-BE49-F238E27FC236}">
                <a16:creationId xmlns:a16="http://schemas.microsoft.com/office/drawing/2014/main" id="{177C76BC-2D22-BC4A-9BA5-E41E81FA6196}"/>
              </a:ext>
            </a:extLst>
          </p:cNvPr>
          <p:cNvGrpSpPr/>
          <p:nvPr/>
        </p:nvGrpSpPr>
        <p:grpSpPr>
          <a:xfrm rot="10800000">
            <a:off x="461387" y="1853699"/>
            <a:ext cx="214604" cy="386993"/>
            <a:chOff x="9577355" y="1508656"/>
            <a:chExt cx="250335" cy="525473"/>
          </a:xfrm>
          <a:solidFill>
            <a:schemeClr val="tx1"/>
          </a:solidFill>
        </p:grpSpPr>
        <p:sp>
          <p:nvSpPr>
            <p:cNvPr id="121" name="Freeform 32">
              <a:extLst>
                <a:ext uri="{FF2B5EF4-FFF2-40B4-BE49-F238E27FC236}">
                  <a16:creationId xmlns:a16="http://schemas.microsoft.com/office/drawing/2014/main" id="{26DA271C-C836-9D48-B927-4E2F6DAAFD34}"/>
                </a:ext>
              </a:extLst>
            </p:cNvPr>
            <p:cNvSpPr>
              <a:spLocks/>
            </p:cNvSpPr>
            <p:nvPr/>
          </p:nvSpPr>
          <p:spPr bwMode="auto">
            <a:xfrm>
              <a:off x="9577355" y="1508656"/>
              <a:ext cx="250335" cy="202972"/>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122" name="Freeform 33">
              <a:extLst>
                <a:ext uri="{FF2B5EF4-FFF2-40B4-BE49-F238E27FC236}">
                  <a16:creationId xmlns:a16="http://schemas.microsoft.com/office/drawing/2014/main" id="{47419EE4-5576-8C44-97BE-DA956C514C54}"/>
                </a:ext>
              </a:extLst>
            </p:cNvPr>
            <p:cNvSpPr>
              <a:spLocks/>
            </p:cNvSpPr>
            <p:nvPr/>
          </p:nvSpPr>
          <p:spPr bwMode="auto">
            <a:xfrm>
              <a:off x="9577355" y="1668778"/>
              <a:ext cx="250335" cy="202972"/>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sp>
          <p:nvSpPr>
            <p:cNvPr id="123" name="Freeform 34">
              <a:extLst>
                <a:ext uri="{FF2B5EF4-FFF2-40B4-BE49-F238E27FC236}">
                  <a16:creationId xmlns:a16="http://schemas.microsoft.com/office/drawing/2014/main" id="{5F7AAAE3-27D7-9646-B95A-4FFB37EF7467}"/>
                </a:ext>
              </a:extLst>
            </p:cNvPr>
            <p:cNvSpPr>
              <a:spLocks/>
            </p:cNvSpPr>
            <p:nvPr/>
          </p:nvSpPr>
          <p:spPr bwMode="auto">
            <a:xfrm>
              <a:off x="9577355" y="1828901"/>
              <a:ext cx="250335" cy="205228"/>
            </a:xfrm>
            <a:custGeom>
              <a:avLst/>
              <a:gdLst>
                <a:gd name="T0" fmla="*/ 3 w 82"/>
                <a:gd name="T1" fmla="*/ 66 h 66"/>
                <a:gd name="T2" fmla="*/ 2 w 82"/>
                <a:gd name="T3" fmla="*/ 66 h 66"/>
                <a:gd name="T4" fmla="*/ 1 w 82"/>
                <a:gd name="T5" fmla="*/ 62 h 66"/>
                <a:gd name="T6" fmla="*/ 39 w 82"/>
                <a:gd name="T7" fmla="*/ 1 h 66"/>
                <a:gd name="T8" fmla="*/ 41 w 82"/>
                <a:gd name="T9" fmla="*/ 0 h 66"/>
                <a:gd name="T10" fmla="*/ 41 w 82"/>
                <a:gd name="T11" fmla="*/ 0 h 66"/>
                <a:gd name="T12" fmla="*/ 44 w 82"/>
                <a:gd name="T13" fmla="*/ 1 h 66"/>
                <a:gd name="T14" fmla="*/ 81 w 82"/>
                <a:gd name="T15" fmla="*/ 60 h 66"/>
                <a:gd name="T16" fmla="*/ 80 w 82"/>
                <a:gd name="T17" fmla="*/ 64 h 66"/>
                <a:gd name="T18" fmla="*/ 76 w 82"/>
                <a:gd name="T19" fmla="*/ 63 h 66"/>
                <a:gd name="T20" fmla="*/ 41 w 82"/>
                <a:gd name="T21" fmla="*/ 8 h 66"/>
                <a:gd name="T22" fmla="*/ 6 w 82"/>
                <a:gd name="T23" fmla="*/ 65 h 66"/>
                <a:gd name="T24" fmla="*/ 3 w 82"/>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6">
                  <a:moveTo>
                    <a:pt x="3" y="66"/>
                  </a:moveTo>
                  <a:cubicBezTo>
                    <a:pt x="3" y="66"/>
                    <a:pt x="2" y="66"/>
                    <a:pt x="2" y="66"/>
                  </a:cubicBezTo>
                  <a:cubicBezTo>
                    <a:pt x="1" y="65"/>
                    <a:pt x="0" y="63"/>
                    <a:pt x="1" y="62"/>
                  </a:cubicBezTo>
                  <a:cubicBezTo>
                    <a:pt x="39" y="1"/>
                    <a:pt x="39" y="1"/>
                    <a:pt x="39" y="1"/>
                  </a:cubicBezTo>
                  <a:cubicBezTo>
                    <a:pt x="39" y="0"/>
                    <a:pt x="40" y="0"/>
                    <a:pt x="41" y="0"/>
                  </a:cubicBezTo>
                  <a:cubicBezTo>
                    <a:pt x="41" y="0"/>
                    <a:pt x="41" y="0"/>
                    <a:pt x="41" y="0"/>
                  </a:cubicBezTo>
                  <a:cubicBezTo>
                    <a:pt x="42" y="0"/>
                    <a:pt x="43" y="0"/>
                    <a:pt x="44" y="1"/>
                  </a:cubicBezTo>
                  <a:cubicBezTo>
                    <a:pt x="81" y="60"/>
                    <a:pt x="81" y="60"/>
                    <a:pt x="81" y="60"/>
                  </a:cubicBezTo>
                  <a:cubicBezTo>
                    <a:pt x="82" y="61"/>
                    <a:pt x="81" y="63"/>
                    <a:pt x="80" y="64"/>
                  </a:cubicBezTo>
                  <a:cubicBezTo>
                    <a:pt x="79" y="65"/>
                    <a:pt x="77" y="64"/>
                    <a:pt x="76" y="63"/>
                  </a:cubicBezTo>
                  <a:cubicBezTo>
                    <a:pt x="41" y="8"/>
                    <a:pt x="41" y="8"/>
                    <a:pt x="41" y="8"/>
                  </a:cubicBezTo>
                  <a:cubicBezTo>
                    <a:pt x="6" y="65"/>
                    <a:pt x="6" y="65"/>
                    <a:pt x="6" y="65"/>
                  </a:cubicBezTo>
                  <a:cubicBezTo>
                    <a:pt x="5" y="66"/>
                    <a:pt x="4" y="66"/>
                    <a:pt x="3"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ea typeface="+mn-ea"/>
                <a:cs typeface="+mn-cs"/>
              </a:endParaRPr>
            </a:p>
          </p:txBody>
        </p:sp>
      </p:grpSp>
    </p:spTree>
    <p:extLst>
      <p:ext uri="{BB962C8B-B14F-4D97-AF65-F5344CB8AC3E}">
        <p14:creationId xmlns:p14="http://schemas.microsoft.com/office/powerpoint/2010/main" val="35147291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FC8ED-D518-41C2-A0BF-6B72679F01C0}"/>
              </a:ext>
            </a:extLst>
          </p:cNvPr>
          <p:cNvSpPr>
            <a:spLocks noGrp="1"/>
          </p:cNvSpPr>
          <p:nvPr>
            <p:ph type="title"/>
          </p:nvPr>
        </p:nvSpPr>
        <p:spPr/>
        <p:txBody>
          <a:bodyPr/>
          <a:lstStyle/>
          <a:p>
            <a:r>
              <a:rPr lang="en-US"/>
              <a:t>Building a platform </a:t>
            </a:r>
            <a:r>
              <a:rPr lang="en-US">
                <a:solidFill>
                  <a:schemeClr val="tx2"/>
                </a:solidFill>
                <a:latin typeface="CiscoSansTT" panose="020B0503020201020303" pitchFamily="34" charset="0"/>
                <a:cs typeface="CiscoSansTT" panose="020B0503020201020303" pitchFamily="34" charset="0"/>
              </a:rPr>
              <a:t>takes time </a:t>
            </a:r>
            <a:br>
              <a:rPr lang="en-US">
                <a:solidFill>
                  <a:schemeClr val="tx2"/>
                </a:solidFill>
              </a:rPr>
            </a:br>
            <a:r>
              <a:rPr lang="en-US"/>
              <a:t>and </a:t>
            </a:r>
            <a:r>
              <a:rPr lang="en-US">
                <a:solidFill>
                  <a:schemeClr val="tx2"/>
                </a:solidFill>
                <a:latin typeface="CiscoSansTT" panose="020B0503020201020303" pitchFamily="34" charset="0"/>
                <a:cs typeface="CiscoSansTT" panose="020B0503020201020303" pitchFamily="34" charset="0"/>
              </a:rPr>
              <a:t>engineering talent</a:t>
            </a:r>
          </a:p>
        </p:txBody>
      </p:sp>
      <p:grpSp>
        <p:nvGrpSpPr>
          <p:cNvPr id="145" name="Group 144">
            <a:extLst>
              <a:ext uri="{FF2B5EF4-FFF2-40B4-BE49-F238E27FC236}">
                <a16:creationId xmlns:a16="http://schemas.microsoft.com/office/drawing/2014/main" id="{3067527A-A824-E04A-9470-75A92C8845F7}"/>
              </a:ext>
            </a:extLst>
          </p:cNvPr>
          <p:cNvGrpSpPr/>
          <p:nvPr/>
        </p:nvGrpSpPr>
        <p:grpSpPr>
          <a:xfrm rot="1919770">
            <a:off x="8769732" y="2100082"/>
            <a:ext cx="281482" cy="343472"/>
            <a:chOff x="8141949" y="524301"/>
            <a:chExt cx="281482" cy="343472"/>
          </a:xfrm>
        </p:grpSpPr>
        <p:sp>
          <p:nvSpPr>
            <p:cNvPr id="146" name="Isosceles Triangle 49">
              <a:extLst>
                <a:ext uri="{FF2B5EF4-FFF2-40B4-BE49-F238E27FC236}">
                  <a16:creationId xmlns:a16="http://schemas.microsoft.com/office/drawing/2014/main" id="{7E65FA46-C49A-8D4C-89E8-E70F88916D07}"/>
                </a:ext>
              </a:extLst>
            </p:cNvPr>
            <p:cNvSpPr/>
            <p:nvPr/>
          </p:nvSpPr>
          <p:spPr>
            <a:xfrm rot="3367536">
              <a:off x="8106722" y="559528"/>
              <a:ext cx="341784" cy="27132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solidFill>
            <a:ln w="19050" cap="rnd"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47" name="Isosceles Triangle 49">
              <a:extLst>
                <a:ext uri="{FF2B5EF4-FFF2-40B4-BE49-F238E27FC236}">
                  <a16:creationId xmlns:a16="http://schemas.microsoft.com/office/drawing/2014/main" id="{16C6F9B0-F75B-F14F-A418-4A2217CEFE6A}"/>
                </a:ext>
              </a:extLst>
            </p:cNvPr>
            <p:cNvSpPr/>
            <p:nvPr/>
          </p:nvSpPr>
          <p:spPr>
            <a:xfrm rot="3367536">
              <a:off x="8215551" y="659893"/>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12700" cap="rnd"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grpSp>
      <p:cxnSp>
        <p:nvCxnSpPr>
          <p:cNvPr id="148" name="Straight Connector 147">
            <a:extLst>
              <a:ext uri="{FF2B5EF4-FFF2-40B4-BE49-F238E27FC236}">
                <a16:creationId xmlns:a16="http://schemas.microsoft.com/office/drawing/2014/main" id="{98542AB3-E925-094D-8F89-1BD89A124A0A}"/>
              </a:ext>
            </a:extLst>
          </p:cNvPr>
          <p:cNvCxnSpPr>
            <a:cxnSpLocks/>
          </p:cNvCxnSpPr>
          <p:nvPr/>
        </p:nvCxnSpPr>
        <p:spPr>
          <a:xfrm>
            <a:off x="6778544" y="2271696"/>
            <a:ext cx="0" cy="182880"/>
          </a:xfrm>
          <a:prstGeom prst="line">
            <a:avLst/>
          </a:prstGeom>
          <a:noFill/>
          <a:ln w="9525" cap="flat" cmpd="sng" algn="ctr">
            <a:solidFill>
              <a:srgbClr val="00BCEB"/>
            </a:solidFill>
            <a:prstDash val="sysDash"/>
          </a:ln>
          <a:effectLst/>
        </p:spPr>
      </p:cxnSp>
      <p:cxnSp>
        <p:nvCxnSpPr>
          <p:cNvPr id="149" name="Straight Connector 148">
            <a:extLst>
              <a:ext uri="{FF2B5EF4-FFF2-40B4-BE49-F238E27FC236}">
                <a16:creationId xmlns:a16="http://schemas.microsoft.com/office/drawing/2014/main" id="{B8349071-B3DF-8A44-BED3-1E52FB7F4815}"/>
              </a:ext>
            </a:extLst>
          </p:cNvPr>
          <p:cNvCxnSpPr>
            <a:cxnSpLocks/>
          </p:cNvCxnSpPr>
          <p:nvPr/>
        </p:nvCxnSpPr>
        <p:spPr>
          <a:xfrm>
            <a:off x="562194" y="1666019"/>
            <a:ext cx="0" cy="788557"/>
          </a:xfrm>
          <a:prstGeom prst="line">
            <a:avLst/>
          </a:prstGeom>
          <a:noFill/>
          <a:ln w="9525" cap="flat" cmpd="sng" algn="ctr">
            <a:solidFill>
              <a:srgbClr val="00BCEB"/>
            </a:solidFill>
            <a:prstDash val="sysDash"/>
          </a:ln>
          <a:effectLst/>
        </p:spPr>
      </p:cxnSp>
      <p:sp>
        <p:nvSpPr>
          <p:cNvPr id="150" name="Rounded Rectangle 149">
            <a:extLst>
              <a:ext uri="{FF2B5EF4-FFF2-40B4-BE49-F238E27FC236}">
                <a16:creationId xmlns:a16="http://schemas.microsoft.com/office/drawing/2014/main" id="{2EC35D93-FAF0-164B-AE5A-150A817801D0}"/>
              </a:ext>
            </a:extLst>
          </p:cNvPr>
          <p:cNvSpPr/>
          <p:nvPr/>
        </p:nvSpPr>
        <p:spPr>
          <a:xfrm>
            <a:off x="339177" y="1265717"/>
            <a:ext cx="1247549" cy="567986"/>
          </a:xfrm>
          <a:prstGeom prst="roundRect">
            <a:avLst>
              <a:gd name="adj" fmla="val 50000"/>
            </a:avLst>
          </a:prstGeom>
          <a:solidFill>
            <a:srgbClr val="FFFFFF"/>
          </a:solidFill>
          <a:ln w="12700" cap="rnd" cmpd="sng" algn="ctr">
            <a:solidFill>
              <a:srgbClr val="00BCEB"/>
            </a:solidFill>
            <a:prstDash val="solid"/>
            <a:head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cxnSp>
        <p:nvCxnSpPr>
          <p:cNvPr id="151" name="Straight Connector 150">
            <a:extLst>
              <a:ext uri="{FF2B5EF4-FFF2-40B4-BE49-F238E27FC236}">
                <a16:creationId xmlns:a16="http://schemas.microsoft.com/office/drawing/2014/main" id="{A31AF668-59FB-6A45-9105-1F0592AEACE1}"/>
              </a:ext>
            </a:extLst>
          </p:cNvPr>
          <p:cNvCxnSpPr>
            <a:cxnSpLocks/>
          </p:cNvCxnSpPr>
          <p:nvPr/>
        </p:nvCxnSpPr>
        <p:spPr>
          <a:xfrm>
            <a:off x="3385861" y="1544674"/>
            <a:ext cx="0" cy="922602"/>
          </a:xfrm>
          <a:prstGeom prst="line">
            <a:avLst/>
          </a:prstGeom>
          <a:noFill/>
          <a:ln w="9525" cap="flat" cmpd="sng" algn="ctr">
            <a:solidFill>
              <a:srgbClr val="00BCEB"/>
            </a:solidFill>
            <a:prstDash val="sysDash"/>
          </a:ln>
          <a:effectLst/>
        </p:spPr>
      </p:cxnSp>
      <p:cxnSp>
        <p:nvCxnSpPr>
          <p:cNvPr id="152" name="Straight Connector 151">
            <a:extLst>
              <a:ext uri="{FF2B5EF4-FFF2-40B4-BE49-F238E27FC236}">
                <a16:creationId xmlns:a16="http://schemas.microsoft.com/office/drawing/2014/main" id="{1C5DE6DC-5732-B346-8680-2D9839BE6141}"/>
              </a:ext>
            </a:extLst>
          </p:cNvPr>
          <p:cNvCxnSpPr>
            <a:cxnSpLocks/>
          </p:cNvCxnSpPr>
          <p:nvPr/>
        </p:nvCxnSpPr>
        <p:spPr>
          <a:xfrm>
            <a:off x="7908885" y="1742263"/>
            <a:ext cx="0" cy="532602"/>
          </a:xfrm>
          <a:prstGeom prst="line">
            <a:avLst/>
          </a:prstGeom>
          <a:noFill/>
          <a:ln w="9525" cap="flat" cmpd="sng" algn="ctr">
            <a:solidFill>
              <a:srgbClr val="00BCEB"/>
            </a:solidFill>
            <a:prstDash val="sysDash"/>
          </a:ln>
          <a:effectLst/>
        </p:spPr>
      </p:cxnSp>
      <p:sp>
        <p:nvSpPr>
          <p:cNvPr id="153" name="Rounded Rectangle 152">
            <a:extLst>
              <a:ext uri="{FF2B5EF4-FFF2-40B4-BE49-F238E27FC236}">
                <a16:creationId xmlns:a16="http://schemas.microsoft.com/office/drawing/2014/main" id="{A3718BAF-6F8E-4A47-B9F6-9A27DAFAC2B3}"/>
              </a:ext>
            </a:extLst>
          </p:cNvPr>
          <p:cNvSpPr/>
          <p:nvPr/>
        </p:nvSpPr>
        <p:spPr>
          <a:xfrm>
            <a:off x="6763398" y="1265718"/>
            <a:ext cx="2093824" cy="567985"/>
          </a:xfrm>
          <a:prstGeom prst="roundRect">
            <a:avLst>
              <a:gd name="adj" fmla="val 50000"/>
            </a:avLst>
          </a:prstGeom>
          <a:solidFill>
            <a:srgbClr val="FFFFFF"/>
          </a:solidFill>
          <a:ln w="12700" cap="rnd" cmpd="sng" algn="ctr">
            <a:solidFill>
              <a:srgbClr val="00BCEB"/>
            </a:solidFill>
            <a:prstDash val="solid"/>
            <a:head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cxnSp>
        <p:nvCxnSpPr>
          <p:cNvPr id="154" name="Straight Connector 153">
            <a:extLst>
              <a:ext uri="{FF2B5EF4-FFF2-40B4-BE49-F238E27FC236}">
                <a16:creationId xmlns:a16="http://schemas.microsoft.com/office/drawing/2014/main" id="{1FDF8047-85FE-5A49-AAD9-41D3C7516ED6}"/>
              </a:ext>
            </a:extLst>
          </p:cNvPr>
          <p:cNvCxnSpPr>
            <a:cxnSpLocks/>
          </p:cNvCxnSpPr>
          <p:nvPr/>
        </p:nvCxnSpPr>
        <p:spPr>
          <a:xfrm>
            <a:off x="6215437" y="1666019"/>
            <a:ext cx="0" cy="1448655"/>
          </a:xfrm>
          <a:prstGeom prst="line">
            <a:avLst/>
          </a:prstGeom>
          <a:noFill/>
          <a:ln w="9525" cap="flat" cmpd="sng" algn="ctr">
            <a:solidFill>
              <a:srgbClr val="00BCEB"/>
            </a:solidFill>
            <a:prstDash val="sysDash"/>
          </a:ln>
          <a:effectLst/>
        </p:spPr>
      </p:cxnSp>
      <p:sp>
        <p:nvSpPr>
          <p:cNvPr id="155" name="Rounded Rectangle 154">
            <a:extLst>
              <a:ext uri="{FF2B5EF4-FFF2-40B4-BE49-F238E27FC236}">
                <a16:creationId xmlns:a16="http://schemas.microsoft.com/office/drawing/2014/main" id="{52434593-C697-3B4D-A1D0-F16CE73D3C9F}"/>
              </a:ext>
            </a:extLst>
          </p:cNvPr>
          <p:cNvSpPr/>
          <p:nvPr/>
        </p:nvSpPr>
        <p:spPr>
          <a:xfrm>
            <a:off x="5670038" y="1265718"/>
            <a:ext cx="1031145" cy="567985"/>
          </a:xfrm>
          <a:prstGeom prst="roundRect">
            <a:avLst>
              <a:gd name="adj" fmla="val 50000"/>
            </a:avLst>
          </a:prstGeom>
          <a:solidFill>
            <a:srgbClr val="FFFFFF"/>
          </a:solidFill>
          <a:ln w="12700" cap="rnd" cmpd="sng" algn="ctr">
            <a:solidFill>
              <a:srgbClr val="00BCEB"/>
            </a:solidFill>
            <a:prstDash val="solid"/>
            <a:head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cxnSp>
        <p:nvCxnSpPr>
          <p:cNvPr id="156" name="Straight Connector 155">
            <a:extLst>
              <a:ext uri="{FF2B5EF4-FFF2-40B4-BE49-F238E27FC236}">
                <a16:creationId xmlns:a16="http://schemas.microsoft.com/office/drawing/2014/main" id="{5811DAE6-A83F-B240-81B8-D2DA5FE39A18}"/>
              </a:ext>
            </a:extLst>
          </p:cNvPr>
          <p:cNvCxnSpPr>
            <a:cxnSpLocks/>
          </p:cNvCxnSpPr>
          <p:nvPr/>
        </p:nvCxnSpPr>
        <p:spPr>
          <a:xfrm>
            <a:off x="8180280" y="2271143"/>
            <a:ext cx="0" cy="843531"/>
          </a:xfrm>
          <a:prstGeom prst="line">
            <a:avLst/>
          </a:prstGeom>
          <a:noFill/>
          <a:ln w="9525" cap="flat" cmpd="sng" algn="ctr">
            <a:solidFill>
              <a:srgbClr val="00BCEB"/>
            </a:solidFill>
            <a:prstDash val="sysDash"/>
          </a:ln>
          <a:effectLst/>
        </p:spPr>
      </p:cxnSp>
      <p:cxnSp>
        <p:nvCxnSpPr>
          <p:cNvPr id="157" name="Straight Connector 156">
            <a:extLst>
              <a:ext uri="{FF2B5EF4-FFF2-40B4-BE49-F238E27FC236}">
                <a16:creationId xmlns:a16="http://schemas.microsoft.com/office/drawing/2014/main" id="{2A168F0B-3D25-8242-BA04-18CF9E92BCE6}"/>
              </a:ext>
            </a:extLst>
          </p:cNvPr>
          <p:cNvCxnSpPr>
            <a:cxnSpLocks/>
          </p:cNvCxnSpPr>
          <p:nvPr/>
        </p:nvCxnSpPr>
        <p:spPr>
          <a:xfrm>
            <a:off x="8032189" y="2271695"/>
            <a:ext cx="0" cy="243293"/>
          </a:xfrm>
          <a:prstGeom prst="line">
            <a:avLst/>
          </a:prstGeom>
          <a:noFill/>
          <a:ln w="9525" cap="flat" cmpd="sng" algn="ctr">
            <a:solidFill>
              <a:srgbClr val="74BF4B"/>
            </a:solidFill>
            <a:prstDash val="sysDash"/>
          </a:ln>
          <a:effectLst/>
        </p:spPr>
      </p:cxnSp>
      <p:cxnSp>
        <p:nvCxnSpPr>
          <p:cNvPr id="158" name="Straight Connector 157">
            <a:extLst>
              <a:ext uri="{FF2B5EF4-FFF2-40B4-BE49-F238E27FC236}">
                <a16:creationId xmlns:a16="http://schemas.microsoft.com/office/drawing/2014/main" id="{9C2B78A2-9481-9548-A4D5-69B495BF3D43}"/>
              </a:ext>
            </a:extLst>
          </p:cNvPr>
          <p:cNvCxnSpPr>
            <a:cxnSpLocks/>
          </p:cNvCxnSpPr>
          <p:nvPr/>
        </p:nvCxnSpPr>
        <p:spPr>
          <a:xfrm>
            <a:off x="25473" y="2274622"/>
            <a:ext cx="8752805" cy="0"/>
          </a:xfrm>
          <a:prstGeom prst="line">
            <a:avLst/>
          </a:prstGeom>
          <a:noFill/>
          <a:ln w="19050" cap="flat" cmpd="sng" algn="ctr">
            <a:solidFill>
              <a:srgbClr val="0D274D"/>
            </a:solidFill>
            <a:prstDash val="solid"/>
            <a:round/>
            <a:headEnd type="none" w="med" len="med"/>
            <a:tailEnd type="none" w="med" len="med"/>
          </a:ln>
          <a:effectLst/>
        </p:spPr>
      </p:cxnSp>
      <p:cxnSp>
        <p:nvCxnSpPr>
          <p:cNvPr id="159" name="Straight Connector 158">
            <a:extLst>
              <a:ext uri="{FF2B5EF4-FFF2-40B4-BE49-F238E27FC236}">
                <a16:creationId xmlns:a16="http://schemas.microsoft.com/office/drawing/2014/main" id="{BF97A7A7-70A7-B34D-B215-8C70FAD4F2DA}"/>
              </a:ext>
            </a:extLst>
          </p:cNvPr>
          <p:cNvCxnSpPr>
            <a:cxnSpLocks/>
          </p:cNvCxnSpPr>
          <p:nvPr/>
        </p:nvCxnSpPr>
        <p:spPr>
          <a:xfrm flipH="1">
            <a:off x="4516205" y="2271696"/>
            <a:ext cx="0" cy="182880"/>
          </a:xfrm>
          <a:prstGeom prst="line">
            <a:avLst/>
          </a:prstGeom>
          <a:noFill/>
          <a:ln w="9525" cap="flat" cmpd="sng" algn="ctr">
            <a:solidFill>
              <a:srgbClr val="00BCEB"/>
            </a:solidFill>
            <a:prstDash val="sysDash"/>
          </a:ln>
          <a:effectLst/>
        </p:spPr>
      </p:cxnSp>
      <p:sp>
        <p:nvSpPr>
          <p:cNvPr id="160" name="Oval 159">
            <a:extLst>
              <a:ext uri="{FF2B5EF4-FFF2-40B4-BE49-F238E27FC236}">
                <a16:creationId xmlns:a16="http://schemas.microsoft.com/office/drawing/2014/main" id="{A67615AD-99E0-1B47-BA94-58DAA9601FFF}"/>
              </a:ext>
            </a:extLst>
          </p:cNvPr>
          <p:cNvSpPr/>
          <p:nvPr/>
        </p:nvSpPr>
        <p:spPr>
          <a:xfrm>
            <a:off x="4471869"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1" name="Oval 160">
            <a:extLst>
              <a:ext uri="{FF2B5EF4-FFF2-40B4-BE49-F238E27FC236}">
                <a16:creationId xmlns:a16="http://schemas.microsoft.com/office/drawing/2014/main" id="{608714C1-0C19-0642-99F2-D593DBC85F28}"/>
              </a:ext>
            </a:extLst>
          </p:cNvPr>
          <p:cNvSpPr/>
          <p:nvPr/>
        </p:nvSpPr>
        <p:spPr>
          <a:xfrm>
            <a:off x="1083015"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2" name="Oval 161">
            <a:extLst>
              <a:ext uri="{FF2B5EF4-FFF2-40B4-BE49-F238E27FC236}">
                <a16:creationId xmlns:a16="http://schemas.microsoft.com/office/drawing/2014/main" id="{A5081C91-C719-504E-B354-30C7F8866631}"/>
              </a:ext>
            </a:extLst>
          </p:cNvPr>
          <p:cNvSpPr/>
          <p:nvPr/>
        </p:nvSpPr>
        <p:spPr>
          <a:xfrm>
            <a:off x="2212633"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3" name="Oval 162">
            <a:extLst>
              <a:ext uri="{FF2B5EF4-FFF2-40B4-BE49-F238E27FC236}">
                <a16:creationId xmlns:a16="http://schemas.microsoft.com/office/drawing/2014/main" id="{B906E01E-7C18-384E-9A7D-9B330CDCB9F4}"/>
              </a:ext>
            </a:extLst>
          </p:cNvPr>
          <p:cNvSpPr/>
          <p:nvPr/>
        </p:nvSpPr>
        <p:spPr>
          <a:xfrm>
            <a:off x="3342251"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cxnSp>
        <p:nvCxnSpPr>
          <p:cNvPr id="164" name="Straight Connector 163">
            <a:extLst>
              <a:ext uri="{FF2B5EF4-FFF2-40B4-BE49-F238E27FC236}">
                <a16:creationId xmlns:a16="http://schemas.microsoft.com/office/drawing/2014/main" id="{01578EBD-DA97-A24E-A891-43889F7AA9EA}"/>
              </a:ext>
            </a:extLst>
          </p:cNvPr>
          <p:cNvCxnSpPr>
            <a:cxnSpLocks/>
          </p:cNvCxnSpPr>
          <p:nvPr/>
        </p:nvCxnSpPr>
        <p:spPr>
          <a:xfrm flipH="1">
            <a:off x="5651841" y="2271696"/>
            <a:ext cx="0" cy="182880"/>
          </a:xfrm>
          <a:prstGeom prst="line">
            <a:avLst/>
          </a:prstGeom>
          <a:noFill/>
          <a:ln w="9525" cap="flat" cmpd="sng" algn="ctr">
            <a:solidFill>
              <a:srgbClr val="00BCEB"/>
            </a:solidFill>
            <a:prstDash val="sysDash"/>
          </a:ln>
          <a:effectLst/>
        </p:spPr>
      </p:cxnSp>
      <p:sp>
        <p:nvSpPr>
          <p:cNvPr id="165" name="Oval 164">
            <a:extLst>
              <a:ext uri="{FF2B5EF4-FFF2-40B4-BE49-F238E27FC236}">
                <a16:creationId xmlns:a16="http://schemas.microsoft.com/office/drawing/2014/main" id="{7869A251-4569-4D4C-8866-572D5E7D4A2B}"/>
              </a:ext>
            </a:extLst>
          </p:cNvPr>
          <p:cNvSpPr/>
          <p:nvPr/>
        </p:nvSpPr>
        <p:spPr>
          <a:xfrm>
            <a:off x="5601487"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6" name="Oval 165">
            <a:extLst>
              <a:ext uri="{FF2B5EF4-FFF2-40B4-BE49-F238E27FC236}">
                <a16:creationId xmlns:a16="http://schemas.microsoft.com/office/drawing/2014/main" id="{FA066D03-F2D8-1046-9439-1F73485909B2}"/>
              </a:ext>
            </a:extLst>
          </p:cNvPr>
          <p:cNvSpPr/>
          <p:nvPr/>
        </p:nvSpPr>
        <p:spPr>
          <a:xfrm>
            <a:off x="6731105"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7" name="Rounded Rectangle 166">
            <a:extLst>
              <a:ext uri="{FF2B5EF4-FFF2-40B4-BE49-F238E27FC236}">
                <a16:creationId xmlns:a16="http://schemas.microsoft.com/office/drawing/2014/main" id="{D6B95BAA-7316-BA4D-BC15-666E1264469A}"/>
              </a:ext>
            </a:extLst>
          </p:cNvPr>
          <p:cNvSpPr/>
          <p:nvPr/>
        </p:nvSpPr>
        <p:spPr>
          <a:xfrm>
            <a:off x="2532309" y="1278138"/>
            <a:ext cx="1718286" cy="567985"/>
          </a:xfrm>
          <a:prstGeom prst="roundRect">
            <a:avLst>
              <a:gd name="adj" fmla="val 50000"/>
            </a:avLst>
          </a:prstGeom>
          <a:solidFill>
            <a:srgbClr val="FFFFFF"/>
          </a:solidFill>
          <a:ln w="12700" cap="rnd" cmpd="sng" algn="ctr">
            <a:solidFill>
              <a:srgbClr val="00BCEB"/>
            </a:solidFill>
            <a:prstDash val="solid"/>
            <a:headEnd type="arrow"/>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68" name="Rectangle 167">
            <a:extLst>
              <a:ext uri="{FF2B5EF4-FFF2-40B4-BE49-F238E27FC236}">
                <a16:creationId xmlns:a16="http://schemas.microsoft.com/office/drawing/2014/main" id="{50C23E21-8DBE-DD4E-97B1-8AF5AC98DEFC}"/>
              </a:ext>
            </a:extLst>
          </p:cNvPr>
          <p:cNvSpPr/>
          <p:nvPr/>
        </p:nvSpPr>
        <p:spPr>
          <a:xfrm>
            <a:off x="2717183" y="1341961"/>
            <a:ext cx="1452078" cy="415498"/>
          </a:xfrm>
          <a:prstGeom prst="rect">
            <a:avLst/>
          </a:prstGeom>
          <a:noFill/>
          <a:ln w="6350"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Began acquiring </a:t>
            </a:r>
            <a:b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new technologies and innovating at a rapid pace</a:t>
            </a:r>
          </a:p>
        </p:txBody>
      </p:sp>
      <p:sp>
        <p:nvSpPr>
          <p:cNvPr id="169" name="Rectangle 168">
            <a:extLst>
              <a:ext uri="{FF2B5EF4-FFF2-40B4-BE49-F238E27FC236}">
                <a16:creationId xmlns:a16="http://schemas.microsoft.com/office/drawing/2014/main" id="{3D0D5837-9E51-EF49-B2E8-1E3D77972056}"/>
              </a:ext>
            </a:extLst>
          </p:cNvPr>
          <p:cNvSpPr/>
          <p:nvPr/>
        </p:nvSpPr>
        <p:spPr>
          <a:xfrm>
            <a:off x="6949187" y="1341961"/>
            <a:ext cx="1831066" cy="415498"/>
          </a:xfrm>
          <a:prstGeom prst="rect">
            <a:avLst/>
          </a:prstGeom>
          <a:noFill/>
          <a:ln w="6350"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The most comprehensive integrated cybersecurity platform on the planet gets even better</a:t>
            </a:r>
          </a:p>
        </p:txBody>
      </p:sp>
      <p:sp>
        <p:nvSpPr>
          <p:cNvPr id="170" name="Rectangle 169">
            <a:extLst>
              <a:ext uri="{FF2B5EF4-FFF2-40B4-BE49-F238E27FC236}">
                <a16:creationId xmlns:a16="http://schemas.microsoft.com/office/drawing/2014/main" id="{4FDA176C-5A6C-C647-B9B9-6FB4CFD4DD04}"/>
              </a:ext>
            </a:extLst>
          </p:cNvPr>
          <p:cNvSpPr/>
          <p:nvPr/>
        </p:nvSpPr>
        <p:spPr>
          <a:xfrm>
            <a:off x="5870216" y="1341961"/>
            <a:ext cx="721319" cy="415498"/>
          </a:xfrm>
          <a:prstGeom prst="rect">
            <a:avLst/>
          </a:prstGeom>
          <a:noFill/>
          <a:ln w="6350"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Unified </a:t>
            </a:r>
            <a:b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network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and security</a:t>
            </a:r>
          </a:p>
        </p:txBody>
      </p:sp>
      <p:sp>
        <p:nvSpPr>
          <p:cNvPr id="171" name="Rectangle 170">
            <a:extLst>
              <a:ext uri="{FF2B5EF4-FFF2-40B4-BE49-F238E27FC236}">
                <a16:creationId xmlns:a16="http://schemas.microsoft.com/office/drawing/2014/main" id="{1CEC57E0-6294-7A46-A5C1-F66B91647F8B}"/>
              </a:ext>
            </a:extLst>
          </p:cNvPr>
          <p:cNvSpPr/>
          <p:nvPr/>
        </p:nvSpPr>
        <p:spPr>
          <a:xfrm>
            <a:off x="498464" y="1341961"/>
            <a:ext cx="940945" cy="415498"/>
          </a:xfrm>
          <a:prstGeom prst="rect">
            <a:avLst/>
          </a:prstGeom>
          <a:noFill/>
          <a:ln w="6350"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Started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foundation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security solutions</a:t>
            </a:r>
          </a:p>
        </p:txBody>
      </p:sp>
      <p:sp>
        <p:nvSpPr>
          <p:cNvPr id="172" name="Rectangle 171">
            <a:extLst>
              <a:ext uri="{FF2B5EF4-FFF2-40B4-BE49-F238E27FC236}">
                <a16:creationId xmlns:a16="http://schemas.microsoft.com/office/drawing/2014/main" id="{F5698F77-7406-6F4F-A38C-BF0CDD0F1714}"/>
              </a:ext>
            </a:extLst>
          </p:cNvPr>
          <p:cNvSpPr/>
          <p:nvPr/>
        </p:nvSpPr>
        <p:spPr>
          <a:xfrm>
            <a:off x="562194" y="2478155"/>
            <a:ext cx="842010" cy="756009"/>
          </a:xfrm>
          <a:prstGeom prst="rect">
            <a:avLst/>
          </a:prstGeom>
        </p:spPr>
        <p:txBody>
          <a:bodyPr wrap="square" lIns="0" tIns="0" rIns="0" bIns="0" anchor="t">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Network </a:t>
            </a:r>
            <a:b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b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Segmentation</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Email Security</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Web Security Gateway</a:t>
            </a:r>
          </a:p>
        </p:txBody>
      </p:sp>
      <p:sp>
        <p:nvSpPr>
          <p:cNvPr id="173" name="Rectangle 172">
            <a:extLst>
              <a:ext uri="{FF2B5EF4-FFF2-40B4-BE49-F238E27FC236}">
                <a16:creationId xmlns:a16="http://schemas.microsoft.com/office/drawing/2014/main" id="{AF2026D8-6A9A-B347-AD55-90892F41C809}"/>
              </a:ext>
            </a:extLst>
          </p:cNvPr>
          <p:cNvSpPr/>
          <p:nvPr/>
        </p:nvSpPr>
        <p:spPr>
          <a:xfrm>
            <a:off x="5084937" y="3137966"/>
            <a:ext cx="1081350" cy="71060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t>Cloud Security</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Traffic Analytics </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Workload Protection</a:t>
            </a:r>
          </a:p>
        </p:txBody>
      </p:sp>
      <p:sp>
        <p:nvSpPr>
          <p:cNvPr id="174" name="Rectangle 173">
            <a:extLst>
              <a:ext uri="{FF2B5EF4-FFF2-40B4-BE49-F238E27FC236}">
                <a16:creationId xmlns:a16="http://schemas.microsoft.com/office/drawing/2014/main" id="{D0E14D84-B6F5-FA4D-89DB-B178D16DFA15}"/>
              </a:ext>
            </a:extLst>
          </p:cNvPr>
          <p:cNvSpPr/>
          <p:nvPr/>
        </p:nvSpPr>
        <p:spPr>
          <a:xfrm>
            <a:off x="6215437" y="3137967"/>
            <a:ext cx="1422467" cy="718145"/>
          </a:xfrm>
          <a:prstGeom prst="rect">
            <a:avLst/>
          </a:prstGeom>
        </p:spPr>
        <p:txBody>
          <a:bodyPr wrap="square" lIns="0" tIns="0" rIns="0" bIns="0">
            <a:sp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SD-WAN</a:t>
            </a:r>
            <a:b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SD-Access</a:t>
            </a:r>
            <a:b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Application Performance Management</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Cloud Analytics</a:t>
            </a:r>
          </a:p>
        </p:txBody>
      </p:sp>
      <p:sp>
        <p:nvSpPr>
          <p:cNvPr id="175" name="Rectangle 174">
            <a:extLst>
              <a:ext uri="{FF2B5EF4-FFF2-40B4-BE49-F238E27FC236}">
                <a16:creationId xmlns:a16="http://schemas.microsoft.com/office/drawing/2014/main" id="{C0C2C465-7BED-4443-8C5B-55556E887C4E}"/>
              </a:ext>
            </a:extLst>
          </p:cNvPr>
          <p:cNvSpPr/>
          <p:nvPr/>
        </p:nvSpPr>
        <p:spPr>
          <a:xfrm>
            <a:off x="6772900" y="2478156"/>
            <a:ext cx="1037410"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t>MFA</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t>Threat </a:t>
            </a:r>
            <a:b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b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t>Response</a:t>
            </a:r>
          </a:p>
        </p:txBody>
      </p:sp>
      <p:sp>
        <p:nvSpPr>
          <p:cNvPr id="176" name="Rectangle 175">
            <a:extLst>
              <a:ext uri="{FF2B5EF4-FFF2-40B4-BE49-F238E27FC236}">
                <a16:creationId xmlns:a16="http://schemas.microsoft.com/office/drawing/2014/main" id="{85B53127-399E-3747-8B61-CD2F0556DBF9}"/>
              </a:ext>
            </a:extLst>
          </p:cNvPr>
          <p:cNvSpPr/>
          <p:nvPr/>
        </p:nvSpPr>
        <p:spPr>
          <a:xfrm>
            <a:off x="3948720" y="3137967"/>
            <a:ext cx="1193375" cy="720192"/>
          </a:xfrm>
          <a:prstGeom prst="rect">
            <a:avLst/>
          </a:prstGeom>
        </p:spPr>
        <p:txBody>
          <a:bodyPr wrap="square" lIns="0" tIns="0" rIns="0" bIns="0" anchor="t">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mn-cs"/>
              </a:rPr>
              <a:t>Malware Analysis</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mn-cs"/>
              </a:rPr>
              <a:t>Endpoint Detection</a:t>
            </a:r>
            <a:br>
              <a:rPr kumimoji="0" lang="en-US" sz="900" b="0" i="0" u="none" strike="noStrike" kern="1200" cap="none" spc="0" normalizeH="0" baseline="0" noProof="0">
                <a:ln>
                  <a:noFill/>
                </a:ln>
                <a:solidFill>
                  <a:srgbClr val="0D274D"/>
                </a:solidFill>
                <a:effectLst/>
                <a:uLnTx/>
                <a:uFillTx/>
                <a:latin typeface="CiscoSansTT"/>
                <a:ea typeface="ＭＳ Ｐゴシック"/>
                <a:cs typeface="+mn-cs"/>
              </a:rPr>
            </a:br>
            <a:r>
              <a:rPr kumimoji="0" lang="en-US" sz="900" b="0" i="0" u="none" strike="noStrike" kern="1200" cap="none" spc="0" normalizeH="0" baseline="0" noProof="0">
                <a:ln>
                  <a:noFill/>
                </a:ln>
                <a:solidFill>
                  <a:srgbClr val="0D274D"/>
                </a:solidFill>
                <a:effectLst/>
                <a:uLnTx/>
                <a:uFillTx/>
                <a:latin typeface="CiscoSansTT"/>
                <a:ea typeface="ＭＳ Ｐゴシック"/>
                <a:cs typeface="+mn-cs"/>
              </a:rPr>
              <a:t>and Response</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NGIPS</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a:ea typeface="ＭＳ Ｐゴシック"/>
                <a:cs typeface="CiscoSansTT" panose="020B0503020201020303" pitchFamily="34" charset="0"/>
              </a:rPr>
              <a:t>DC Networking</a:t>
            </a:r>
          </a:p>
        </p:txBody>
      </p:sp>
      <p:sp>
        <p:nvSpPr>
          <p:cNvPr id="177" name="Rectangle 176">
            <a:extLst>
              <a:ext uri="{FF2B5EF4-FFF2-40B4-BE49-F238E27FC236}">
                <a16:creationId xmlns:a16="http://schemas.microsoft.com/office/drawing/2014/main" id="{B88D9FEE-4CBD-7742-8DE6-4F1178F214A8}"/>
              </a:ext>
            </a:extLst>
          </p:cNvPr>
          <p:cNvSpPr/>
          <p:nvPr/>
        </p:nvSpPr>
        <p:spPr>
          <a:xfrm>
            <a:off x="3385861" y="2478156"/>
            <a:ext cx="783400"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mn-cs"/>
              </a:rPr>
              <a:t>Unified Threat Management </a:t>
            </a:r>
          </a:p>
        </p:txBody>
      </p:sp>
      <p:sp>
        <p:nvSpPr>
          <p:cNvPr id="178" name="Rectangle 177">
            <a:extLst>
              <a:ext uri="{FF2B5EF4-FFF2-40B4-BE49-F238E27FC236}">
                <a16:creationId xmlns:a16="http://schemas.microsoft.com/office/drawing/2014/main" id="{A2783927-533C-714C-A198-E2DF0BDC523D}"/>
              </a:ext>
            </a:extLst>
          </p:cNvPr>
          <p:cNvSpPr/>
          <p:nvPr/>
        </p:nvSpPr>
        <p:spPr>
          <a:xfrm>
            <a:off x="1692508" y="2478156"/>
            <a:ext cx="606491" cy="276999"/>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Cloud Web Security Gateway</a:t>
            </a:r>
          </a:p>
        </p:txBody>
      </p:sp>
      <p:sp>
        <p:nvSpPr>
          <p:cNvPr id="179" name="Rectangle 178">
            <a:extLst>
              <a:ext uri="{FF2B5EF4-FFF2-40B4-BE49-F238E27FC236}">
                <a16:creationId xmlns:a16="http://schemas.microsoft.com/office/drawing/2014/main" id="{D7681AEB-C2CC-014D-A362-F94EFD1DCF94}"/>
              </a:ext>
            </a:extLst>
          </p:cNvPr>
          <p:cNvSpPr/>
          <p:nvPr/>
        </p:nvSpPr>
        <p:spPr>
          <a:xfrm>
            <a:off x="2825701" y="2478156"/>
            <a:ext cx="658181" cy="507831"/>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Network Access Control</a:t>
            </a:r>
          </a:p>
        </p:txBody>
      </p:sp>
      <p:sp>
        <p:nvSpPr>
          <p:cNvPr id="180" name="Oval 179">
            <a:extLst>
              <a:ext uri="{FF2B5EF4-FFF2-40B4-BE49-F238E27FC236}">
                <a16:creationId xmlns:a16="http://schemas.microsoft.com/office/drawing/2014/main" id="{4898F608-7B93-BB4C-8683-12C9DE2C7A80}"/>
              </a:ext>
            </a:extLst>
          </p:cNvPr>
          <p:cNvSpPr/>
          <p:nvPr/>
        </p:nvSpPr>
        <p:spPr>
          <a:xfrm>
            <a:off x="518206"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81" name="Rectangle 180">
            <a:extLst>
              <a:ext uri="{FF2B5EF4-FFF2-40B4-BE49-F238E27FC236}">
                <a16:creationId xmlns:a16="http://schemas.microsoft.com/office/drawing/2014/main" id="{98DA8DDC-2CCC-E049-B5FE-A5697722DE82}"/>
              </a:ext>
            </a:extLst>
          </p:cNvPr>
          <p:cNvSpPr/>
          <p:nvPr/>
        </p:nvSpPr>
        <p:spPr>
          <a:xfrm>
            <a:off x="339177" y="1931168"/>
            <a:ext cx="454577" cy="215444"/>
          </a:xfrm>
          <a:prstGeom prst="rect">
            <a:avLst/>
          </a:prstGeom>
          <a:solidFill>
            <a:srgbClr val="FFFFFF">
              <a:alpha val="79608"/>
            </a:srgbClr>
          </a:solid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07</a:t>
            </a:r>
          </a:p>
        </p:txBody>
      </p:sp>
      <p:cxnSp>
        <p:nvCxnSpPr>
          <p:cNvPr id="182" name="Straight Connector 181">
            <a:extLst>
              <a:ext uri="{FF2B5EF4-FFF2-40B4-BE49-F238E27FC236}">
                <a16:creationId xmlns:a16="http://schemas.microsoft.com/office/drawing/2014/main" id="{2D874A85-8B05-3E4C-9606-4B8D0F0FF2A4}"/>
              </a:ext>
            </a:extLst>
          </p:cNvPr>
          <p:cNvCxnSpPr>
            <a:cxnSpLocks/>
          </p:cNvCxnSpPr>
          <p:nvPr/>
        </p:nvCxnSpPr>
        <p:spPr>
          <a:xfrm flipH="1">
            <a:off x="5084937" y="2248402"/>
            <a:ext cx="1" cy="866272"/>
          </a:xfrm>
          <a:prstGeom prst="line">
            <a:avLst/>
          </a:prstGeom>
          <a:noFill/>
          <a:ln w="9525" cap="flat" cmpd="sng" algn="ctr">
            <a:solidFill>
              <a:srgbClr val="00BCEB"/>
            </a:solidFill>
            <a:prstDash val="sysDash"/>
          </a:ln>
          <a:effectLst/>
        </p:spPr>
      </p:cxnSp>
      <p:sp>
        <p:nvSpPr>
          <p:cNvPr id="183" name="Oval 182">
            <a:extLst>
              <a:ext uri="{FF2B5EF4-FFF2-40B4-BE49-F238E27FC236}">
                <a16:creationId xmlns:a16="http://schemas.microsoft.com/office/drawing/2014/main" id="{DCA620C0-BA1F-6444-9E83-C77CCAE536B1}"/>
              </a:ext>
            </a:extLst>
          </p:cNvPr>
          <p:cNvSpPr/>
          <p:nvPr/>
        </p:nvSpPr>
        <p:spPr>
          <a:xfrm>
            <a:off x="5036678"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84" name="Rectangle 183">
            <a:extLst>
              <a:ext uri="{FF2B5EF4-FFF2-40B4-BE49-F238E27FC236}">
                <a16:creationId xmlns:a16="http://schemas.microsoft.com/office/drawing/2014/main" id="{6715D041-2987-7041-9CE0-DCB8CB46E9ED}"/>
              </a:ext>
            </a:extLst>
          </p:cNvPr>
          <p:cNvSpPr/>
          <p:nvPr/>
        </p:nvSpPr>
        <p:spPr>
          <a:xfrm>
            <a:off x="4864608" y="1931168"/>
            <a:ext cx="444502"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15</a:t>
            </a:r>
          </a:p>
        </p:txBody>
      </p:sp>
      <p:cxnSp>
        <p:nvCxnSpPr>
          <p:cNvPr id="185" name="Straight Connector 184">
            <a:extLst>
              <a:ext uri="{FF2B5EF4-FFF2-40B4-BE49-F238E27FC236}">
                <a16:creationId xmlns:a16="http://schemas.microsoft.com/office/drawing/2014/main" id="{1269F33F-E620-8C41-94E7-218346931A58}"/>
              </a:ext>
            </a:extLst>
          </p:cNvPr>
          <p:cNvCxnSpPr>
            <a:cxnSpLocks/>
          </p:cNvCxnSpPr>
          <p:nvPr/>
        </p:nvCxnSpPr>
        <p:spPr>
          <a:xfrm>
            <a:off x="3954302" y="2248402"/>
            <a:ext cx="0" cy="866272"/>
          </a:xfrm>
          <a:prstGeom prst="line">
            <a:avLst/>
          </a:prstGeom>
          <a:noFill/>
          <a:ln w="9525" cap="flat" cmpd="sng" algn="ctr">
            <a:solidFill>
              <a:srgbClr val="00BCEB"/>
            </a:solidFill>
            <a:prstDash val="sysDash"/>
          </a:ln>
          <a:effectLst/>
        </p:spPr>
      </p:cxnSp>
      <p:sp>
        <p:nvSpPr>
          <p:cNvPr id="186" name="Oval 185">
            <a:extLst>
              <a:ext uri="{FF2B5EF4-FFF2-40B4-BE49-F238E27FC236}">
                <a16:creationId xmlns:a16="http://schemas.microsoft.com/office/drawing/2014/main" id="{C06D23C8-7706-4C48-9BFD-B5F7CAD62F1B}"/>
              </a:ext>
            </a:extLst>
          </p:cNvPr>
          <p:cNvSpPr/>
          <p:nvPr/>
        </p:nvSpPr>
        <p:spPr>
          <a:xfrm>
            <a:off x="3907060"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87" name="Rectangle 186">
            <a:extLst>
              <a:ext uri="{FF2B5EF4-FFF2-40B4-BE49-F238E27FC236}">
                <a16:creationId xmlns:a16="http://schemas.microsoft.com/office/drawing/2014/main" id="{68A4C67F-B6DC-9342-AED1-E068B020D6E3}"/>
              </a:ext>
            </a:extLst>
          </p:cNvPr>
          <p:cNvSpPr/>
          <p:nvPr/>
        </p:nvSpPr>
        <p:spPr>
          <a:xfrm>
            <a:off x="3736386" y="1931168"/>
            <a:ext cx="444502"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13</a:t>
            </a:r>
          </a:p>
        </p:txBody>
      </p:sp>
      <p:sp>
        <p:nvSpPr>
          <p:cNvPr id="188" name="Oval 187">
            <a:extLst>
              <a:ext uri="{FF2B5EF4-FFF2-40B4-BE49-F238E27FC236}">
                <a16:creationId xmlns:a16="http://schemas.microsoft.com/office/drawing/2014/main" id="{2EF50581-26CA-2F46-BD6D-C22F31AD19AB}"/>
              </a:ext>
            </a:extLst>
          </p:cNvPr>
          <p:cNvSpPr/>
          <p:nvPr/>
        </p:nvSpPr>
        <p:spPr>
          <a:xfrm>
            <a:off x="6166296"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89" name="Rectangle 188">
            <a:extLst>
              <a:ext uri="{FF2B5EF4-FFF2-40B4-BE49-F238E27FC236}">
                <a16:creationId xmlns:a16="http://schemas.microsoft.com/office/drawing/2014/main" id="{895AEF6E-0363-CA46-A290-0229CA283E55}"/>
              </a:ext>
            </a:extLst>
          </p:cNvPr>
          <p:cNvSpPr/>
          <p:nvPr/>
        </p:nvSpPr>
        <p:spPr>
          <a:xfrm>
            <a:off x="5992887" y="1931168"/>
            <a:ext cx="444502" cy="215444"/>
          </a:xfrm>
          <a:prstGeom prst="rect">
            <a:avLst/>
          </a:prstGeom>
          <a:solidFill>
            <a:srgbClr val="FFFFFF">
              <a:alpha val="79608"/>
            </a:srgbClr>
          </a:solid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17</a:t>
            </a:r>
          </a:p>
        </p:txBody>
      </p:sp>
      <p:cxnSp>
        <p:nvCxnSpPr>
          <p:cNvPr id="190" name="Straight Connector 189">
            <a:extLst>
              <a:ext uri="{FF2B5EF4-FFF2-40B4-BE49-F238E27FC236}">
                <a16:creationId xmlns:a16="http://schemas.microsoft.com/office/drawing/2014/main" id="{4FDA8E9C-FAC7-C143-8F69-2C5784006446}"/>
              </a:ext>
            </a:extLst>
          </p:cNvPr>
          <p:cNvCxnSpPr>
            <a:cxnSpLocks/>
          </p:cNvCxnSpPr>
          <p:nvPr/>
        </p:nvCxnSpPr>
        <p:spPr>
          <a:xfrm flipH="1">
            <a:off x="1692508" y="2280972"/>
            <a:ext cx="0" cy="182880"/>
          </a:xfrm>
          <a:prstGeom prst="line">
            <a:avLst/>
          </a:prstGeom>
          <a:noFill/>
          <a:ln w="9525" cap="flat" cmpd="sng" algn="ctr">
            <a:solidFill>
              <a:srgbClr val="00BCEB"/>
            </a:solidFill>
            <a:prstDash val="sysDash"/>
          </a:ln>
          <a:effectLst/>
        </p:spPr>
      </p:cxnSp>
      <p:sp>
        <p:nvSpPr>
          <p:cNvPr id="191" name="Oval 190">
            <a:extLst>
              <a:ext uri="{FF2B5EF4-FFF2-40B4-BE49-F238E27FC236}">
                <a16:creationId xmlns:a16="http://schemas.microsoft.com/office/drawing/2014/main" id="{1AC1903C-1992-C042-B5E4-A80ADE35B7E5}"/>
              </a:ext>
            </a:extLst>
          </p:cNvPr>
          <p:cNvSpPr/>
          <p:nvPr/>
        </p:nvSpPr>
        <p:spPr>
          <a:xfrm>
            <a:off x="1644249"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92" name="Rectangle 191">
            <a:extLst>
              <a:ext uri="{FF2B5EF4-FFF2-40B4-BE49-F238E27FC236}">
                <a16:creationId xmlns:a16="http://schemas.microsoft.com/office/drawing/2014/main" id="{35305F84-8AAE-6041-8917-EFAD6E42B048}"/>
              </a:ext>
            </a:extLst>
          </p:cNvPr>
          <p:cNvSpPr/>
          <p:nvPr/>
        </p:nvSpPr>
        <p:spPr>
          <a:xfrm>
            <a:off x="1474179" y="1931168"/>
            <a:ext cx="436658"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09</a:t>
            </a:r>
          </a:p>
        </p:txBody>
      </p:sp>
      <p:cxnSp>
        <p:nvCxnSpPr>
          <p:cNvPr id="193" name="Straight Connector 192">
            <a:extLst>
              <a:ext uri="{FF2B5EF4-FFF2-40B4-BE49-F238E27FC236}">
                <a16:creationId xmlns:a16="http://schemas.microsoft.com/office/drawing/2014/main" id="{9B9EA9CF-538C-B749-92D9-449F1BD7489E}"/>
              </a:ext>
            </a:extLst>
          </p:cNvPr>
          <p:cNvCxnSpPr>
            <a:cxnSpLocks/>
          </p:cNvCxnSpPr>
          <p:nvPr/>
        </p:nvCxnSpPr>
        <p:spPr>
          <a:xfrm flipH="1">
            <a:off x="2825701" y="2271696"/>
            <a:ext cx="0" cy="182880"/>
          </a:xfrm>
          <a:prstGeom prst="line">
            <a:avLst/>
          </a:prstGeom>
          <a:noFill/>
          <a:ln w="9525" cap="flat" cmpd="sng" algn="ctr">
            <a:solidFill>
              <a:srgbClr val="00BCEB"/>
            </a:solidFill>
            <a:prstDash val="sysDash"/>
          </a:ln>
          <a:effectLst/>
        </p:spPr>
      </p:cxnSp>
      <p:sp>
        <p:nvSpPr>
          <p:cNvPr id="194" name="Oval 193">
            <a:extLst>
              <a:ext uri="{FF2B5EF4-FFF2-40B4-BE49-F238E27FC236}">
                <a16:creationId xmlns:a16="http://schemas.microsoft.com/office/drawing/2014/main" id="{73D35274-7142-3D4C-92CB-B2D2496D6F1A}"/>
              </a:ext>
            </a:extLst>
          </p:cNvPr>
          <p:cNvSpPr/>
          <p:nvPr/>
        </p:nvSpPr>
        <p:spPr>
          <a:xfrm>
            <a:off x="2777442"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95" name="Rectangle 194">
            <a:extLst>
              <a:ext uri="{FF2B5EF4-FFF2-40B4-BE49-F238E27FC236}">
                <a16:creationId xmlns:a16="http://schemas.microsoft.com/office/drawing/2014/main" id="{64BC15FB-2951-CE44-8836-1DEE91B1C3C7}"/>
              </a:ext>
            </a:extLst>
          </p:cNvPr>
          <p:cNvSpPr/>
          <p:nvPr/>
        </p:nvSpPr>
        <p:spPr>
          <a:xfrm>
            <a:off x="2607372" y="1931168"/>
            <a:ext cx="436658"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11</a:t>
            </a:r>
          </a:p>
        </p:txBody>
      </p:sp>
      <p:sp>
        <p:nvSpPr>
          <p:cNvPr id="196" name="Oval 195">
            <a:extLst>
              <a:ext uri="{FF2B5EF4-FFF2-40B4-BE49-F238E27FC236}">
                <a16:creationId xmlns:a16="http://schemas.microsoft.com/office/drawing/2014/main" id="{8698B901-4E68-4949-9460-CCF157B7956F}"/>
              </a:ext>
            </a:extLst>
          </p:cNvPr>
          <p:cNvSpPr/>
          <p:nvPr/>
        </p:nvSpPr>
        <p:spPr>
          <a:xfrm>
            <a:off x="7295914"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97" name="Rectangle 196">
            <a:extLst>
              <a:ext uri="{FF2B5EF4-FFF2-40B4-BE49-F238E27FC236}">
                <a16:creationId xmlns:a16="http://schemas.microsoft.com/office/drawing/2014/main" id="{1BA4BB85-CD4B-7544-9957-240FA05FBA08}"/>
              </a:ext>
            </a:extLst>
          </p:cNvPr>
          <p:cNvSpPr/>
          <p:nvPr/>
        </p:nvSpPr>
        <p:spPr>
          <a:xfrm>
            <a:off x="7123386" y="1931168"/>
            <a:ext cx="444502"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19</a:t>
            </a:r>
          </a:p>
        </p:txBody>
      </p:sp>
      <p:sp>
        <p:nvSpPr>
          <p:cNvPr id="198" name="Oval 197">
            <a:extLst>
              <a:ext uri="{FF2B5EF4-FFF2-40B4-BE49-F238E27FC236}">
                <a16:creationId xmlns:a16="http://schemas.microsoft.com/office/drawing/2014/main" id="{8E488B51-8ED6-7546-8990-83B761B3DC0E}"/>
              </a:ext>
            </a:extLst>
          </p:cNvPr>
          <p:cNvSpPr/>
          <p:nvPr/>
        </p:nvSpPr>
        <p:spPr>
          <a:xfrm>
            <a:off x="8425533"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199" name="Rectangle 198">
            <a:extLst>
              <a:ext uri="{FF2B5EF4-FFF2-40B4-BE49-F238E27FC236}">
                <a16:creationId xmlns:a16="http://schemas.microsoft.com/office/drawing/2014/main" id="{28A86AF6-F854-DC43-A568-1AA424A77714}"/>
              </a:ext>
            </a:extLst>
          </p:cNvPr>
          <p:cNvSpPr/>
          <p:nvPr/>
        </p:nvSpPr>
        <p:spPr>
          <a:xfrm>
            <a:off x="8248495" y="1931168"/>
            <a:ext cx="438854" cy="215444"/>
          </a:xfrm>
          <a:prstGeom prst="rect">
            <a:avLst/>
          </a:prstGeom>
          <a:noFill/>
          <a:ln w="9525" cap="flat" cmpd="sng" algn="ctr">
            <a:noFill/>
            <a:prstDash val="solid"/>
          </a:ln>
          <a:effectLst/>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CiscoSansTT ExtraLight" panose="020B0303020201020303" pitchFamily="34" charset="0"/>
              </a:rPr>
              <a:t>2021</a:t>
            </a:r>
          </a:p>
        </p:txBody>
      </p:sp>
      <p:sp>
        <p:nvSpPr>
          <p:cNvPr id="200" name="Rectangle 199">
            <a:extLst>
              <a:ext uri="{FF2B5EF4-FFF2-40B4-BE49-F238E27FC236}">
                <a16:creationId xmlns:a16="http://schemas.microsoft.com/office/drawing/2014/main" id="{2547928D-2166-7D44-8D15-723D2A19400C}"/>
              </a:ext>
            </a:extLst>
          </p:cNvPr>
          <p:cNvSpPr/>
          <p:nvPr/>
        </p:nvSpPr>
        <p:spPr>
          <a:xfrm>
            <a:off x="8180280" y="3137967"/>
            <a:ext cx="497192" cy="415494"/>
          </a:xfrm>
          <a:prstGeom prst="rect">
            <a:avLst/>
          </a:prstGeom>
        </p:spPr>
        <p:txBody>
          <a:bodyPr wrap="square" lIns="0" tIns="0" rIns="0" bIns="0">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Cloud </a:t>
            </a:r>
            <a:br>
              <a:rPr kumimoji="0" lang="en-US" sz="9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Mailbox </a:t>
            </a:r>
            <a:br>
              <a:rPr kumimoji="0" lang="en-US" sz="9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r>
              <a:rPr kumimoji="0" lang="en-US" sz="900" b="0" i="0" u="none" strike="noStrike" kern="1200" cap="none" spc="0" normalizeH="0" baseline="0" noProof="0" dirty="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Defense</a:t>
            </a:r>
          </a:p>
        </p:txBody>
      </p:sp>
      <p:sp>
        <p:nvSpPr>
          <p:cNvPr id="201" name="Oval 200">
            <a:extLst>
              <a:ext uri="{FF2B5EF4-FFF2-40B4-BE49-F238E27FC236}">
                <a16:creationId xmlns:a16="http://schemas.microsoft.com/office/drawing/2014/main" id="{41F9B717-D2E7-9E44-859E-7CDF6F095F0B}"/>
              </a:ext>
            </a:extLst>
          </p:cNvPr>
          <p:cNvSpPr/>
          <p:nvPr/>
        </p:nvSpPr>
        <p:spPr>
          <a:xfrm>
            <a:off x="7860723" y="2228905"/>
            <a:ext cx="96518" cy="96518"/>
          </a:xfrm>
          <a:prstGeom prst="ellipse">
            <a:avLst/>
          </a:prstGeom>
          <a:solidFill>
            <a:srgbClr val="0D274D"/>
          </a:solidFill>
          <a:ln w="25400" cap="flat" cmpd="sng" algn="ctr">
            <a:no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9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grpSp>
        <p:nvGrpSpPr>
          <p:cNvPr id="205" name="Group 204">
            <a:extLst>
              <a:ext uri="{FF2B5EF4-FFF2-40B4-BE49-F238E27FC236}">
                <a16:creationId xmlns:a16="http://schemas.microsoft.com/office/drawing/2014/main" id="{049261F3-D0E9-0242-8B65-60945B5F9414}"/>
              </a:ext>
            </a:extLst>
          </p:cNvPr>
          <p:cNvGrpSpPr>
            <a:grpSpLocks/>
          </p:cNvGrpSpPr>
          <p:nvPr/>
        </p:nvGrpSpPr>
        <p:grpSpPr>
          <a:xfrm>
            <a:off x="939873" y="4000768"/>
            <a:ext cx="7315200" cy="53131"/>
            <a:chOff x="1432190" y="3774859"/>
            <a:chExt cx="6753784" cy="53131"/>
          </a:xfrm>
        </p:grpSpPr>
        <p:cxnSp>
          <p:nvCxnSpPr>
            <p:cNvPr id="206" name="Straight Connector 205">
              <a:extLst>
                <a:ext uri="{FF2B5EF4-FFF2-40B4-BE49-F238E27FC236}">
                  <a16:creationId xmlns:a16="http://schemas.microsoft.com/office/drawing/2014/main" id="{F84DFFE3-1F2B-564D-BBF3-85E6EDA5BE00}"/>
                </a:ext>
              </a:extLst>
            </p:cNvPr>
            <p:cNvCxnSpPr/>
            <p:nvPr/>
          </p:nvCxnSpPr>
          <p:spPr>
            <a:xfrm>
              <a:off x="1432190" y="3774859"/>
              <a:ext cx="6421468" cy="0"/>
            </a:xfrm>
            <a:prstGeom prst="line">
              <a:avLst/>
            </a:prstGeom>
            <a:noFill/>
            <a:ln w="9525" cap="flat" cmpd="sng" algn="ctr">
              <a:solidFill>
                <a:schemeClr val="bg2">
                  <a:lumMod val="75000"/>
                </a:schemeClr>
              </a:solidFill>
              <a:prstDash val="solid"/>
            </a:ln>
            <a:effectLst/>
          </p:spPr>
        </p:cxnSp>
        <p:cxnSp>
          <p:nvCxnSpPr>
            <p:cNvPr id="207" name="Straight Connector 206">
              <a:extLst>
                <a:ext uri="{FF2B5EF4-FFF2-40B4-BE49-F238E27FC236}">
                  <a16:creationId xmlns:a16="http://schemas.microsoft.com/office/drawing/2014/main" id="{EF66B760-48C5-BD48-80AA-092B4C75B696}"/>
                </a:ext>
              </a:extLst>
            </p:cNvPr>
            <p:cNvCxnSpPr/>
            <p:nvPr/>
          </p:nvCxnSpPr>
          <p:spPr>
            <a:xfrm>
              <a:off x="1764506" y="3827990"/>
              <a:ext cx="6421468" cy="0"/>
            </a:xfrm>
            <a:prstGeom prst="line">
              <a:avLst/>
            </a:prstGeom>
            <a:noFill/>
            <a:ln w="9525" cap="flat" cmpd="sng" algn="ctr">
              <a:solidFill>
                <a:schemeClr val="tx2"/>
              </a:solidFill>
              <a:prstDash val="solid"/>
            </a:ln>
            <a:effectLst/>
          </p:spPr>
        </p:cxnSp>
      </p:grpSp>
      <p:sp>
        <p:nvSpPr>
          <p:cNvPr id="208" name="Rectangle 207">
            <a:extLst>
              <a:ext uri="{FF2B5EF4-FFF2-40B4-BE49-F238E27FC236}">
                <a16:creationId xmlns:a16="http://schemas.microsoft.com/office/drawing/2014/main" id="{C71858EB-F6C8-9E43-8094-9EB010BE31C8}"/>
              </a:ext>
            </a:extLst>
          </p:cNvPr>
          <p:cNvSpPr/>
          <p:nvPr/>
        </p:nvSpPr>
        <p:spPr>
          <a:xfrm>
            <a:off x="5647252" y="2478156"/>
            <a:ext cx="903767" cy="390960"/>
          </a:xfrm>
          <a:prstGeom prst="rect">
            <a:avLst/>
          </a:prstGeom>
          <a:solidFill>
            <a:srgbClr val="FFFFFF">
              <a:alpha val="79608"/>
            </a:srgbClr>
          </a:solidFill>
        </p:spPr>
        <p:txBody>
          <a:bodyPr wrap="square" lIns="0" tIns="0" rIns="0" bIns="0">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CASB </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Network Security Policy</a:t>
            </a:r>
          </a:p>
        </p:txBody>
      </p:sp>
      <p:sp>
        <p:nvSpPr>
          <p:cNvPr id="209" name="Rectangle 208">
            <a:extLst>
              <a:ext uri="{FF2B5EF4-FFF2-40B4-BE49-F238E27FC236}">
                <a16:creationId xmlns:a16="http://schemas.microsoft.com/office/drawing/2014/main" id="{76C5C160-7EAD-B34D-946C-6A8E32B334A4}"/>
              </a:ext>
            </a:extLst>
          </p:cNvPr>
          <p:cNvSpPr/>
          <p:nvPr/>
        </p:nvSpPr>
        <p:spPr>
          <a:xfrm>
            <a:off x="4513873" y="2478156"/>
            <a:ext cx="815256" cy="507617"/>
          </a:xfrm>
          <a:prstGeom prst="rect">
            <a:avLst/>
          </a:prstGeom>
          <a:solidFill>
            <a:srgbClr val="FFFFFF">
              <a:alpha val="79608"/>
            </a:srgbClr>
          </a:solidFill>
        </p:spPr>
        <p:txBody>
          <a:bodyPr wrap="square" lIns="0" tIns="0" rIns="0" bIns="0">
            <a:noAutofit/>
          </a:bodyPr>
          <a:lstStyle/>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NGFW</a:t>
            </a:r>
          </a:p>
          <a:p>
            <a:pPr marL="0" marR="0" lvl="0" indent="0" algn="l" defTabSz="457200" rtl="0" eaLnBrk="1" fontAlgn="base" latinLnBrk="0" hangingPunct="1">
              <a:lnSpc>
                <a:spcPct val="100000"/>
              </a:lnSpc>
              <a:spcBef>
                <a:spcPct val="0"/>
              </a:spcBef>
              <a:spcAft>
                <a:spcPts val="200"/>
              </a:spcAft>
              <a:buClrTx/>
              <a:buSzTx/>
              <a:buFontTx/>
              <a:buNone/>
              <a:tabLst/>
              <a:defRPr/>
            </a:pPr>
            <a: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t>Security Services VPN</a:t>
            </a:r>
            <a:br>
              <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rPr>
            </a:br>
            <a:endParaRPr kumimoji="0" lang="en-US" sz="9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panose="020B0503020201020303" pitchFamily="34" charset="0"/>
            </a:endParaRPr>
          </a:p>
        </p:txBody>
      </p:sp>
      <p:grpSp>
        <p:nvGrpSpPr>
          <p:cNvPr id="210" name="Group 209">
            <a:extLst>
              <a:ext uri="{FF2B5EF4-FFF2-40B4-BE49-F238E27FC236}">
                <a16:creationId xmlns:a16="http://schemas.microsoft.com/office/drawing/2014/main" id="{EDCE4F3E-DC36-0E48-A379-ECD09A383171}"/>
              </a:ext>
            </a:extLst>
          </p:cNvPr>
          <p:cNvGrpSpPr/>
          <p:nvPr/>
        </p:nvGrpSpPr>
        <p:grpSpPr>
          <a:xfrm>
            <a:off x="845372" y="4290915"/>
            <a:ext cx="7453255" cy="365760"/>
            <a:chOff x="689581" y="4100832"/>
            <a:chExt cx="7453255" cy="365760"/>
          </a:xfrm>
        </p:grpSpPr>
        <p:sp>
          <p:nvSpPr>
            <p:cNvPr id="211" name="Security that works...">
              <a:extLst>
                <a:ext uri="{FF2B5EF4-FFF2-40B4-BE49-F238E27FC236}">
                  <a16:creationId xmlns:a16="http://schemas.microsoft.com/office/drawing/2014/main" id="{DA0ABB64-20AA-9E45-A2D8-D4C5C68DD239}"/>
                </a:ext>
              </a:extLst>
            </p:cNvPr>
            <p:cNvSpPr txBox="1">
              <a:spLocks/>
            </p:cNvSpPr>
            <p:nvPr/>
          </p:nvSpPr>
          <p:spPr bwMode="auto">
            <a:xfrm>
              <a:off x="3399173" y="4100832"/>
              <a:ext cx="2085018" cy="3657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Over 400 </a:t>
              </a:r>
              <a:b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b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threat researchers </a:t>
              </a:r>
            </a:p>
          </p:txBody>
        </p:sp>
        <p:sp>
          <p:nvSpPr>
            <p:cNvPr id="212" name="Better efficacy and...">
              <a:extLst>
                <a:ext uri="{FF2B5EF4-FFF2-40B4-BE49-F238E27FC236}">
                  <a16:creationId xmlns:a16="http://schemas.microsoft.com/office/drawing/2014/main" id="{C41A907F-97F6-7E42-9FFE-423CBB19C851}"/>
                </a:ext>
              </a:extLst>
            </p:cNvPr>
            <p:cNvSpPr txBox="1">
              <a:spLocks/>
            </p:cNvSpPr>
            <p:nvPr/>
          </p:nvSpPr>
          <p:spPr bwMode="auto">
            <a:xfrm>
              <a:off x="6359934" y="4100832"/>
              <a:ext cx="1782902" cy="3657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Unparalleled </a:t>
              </a:r>
              <a:b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b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platform breadth</a:t>
              </a:r>
            </a:p>
          </p:txBody>
        </p:sp>
        <p:sp>
          <p:nvSpPr>
            <p:cNvPr id="213" name="See once,...">
              <a:extLst>
                <a:ext uri="{FF2B5EF4-FFF2-40B4-BE49-F238E27FC236}">
                  <a16:creationId xmlns:a16="http://schemas.microsoft.com/office/drawing/2014/main" id="{564507E3-E1D3-7043-BC64-8A983AD9FF22}"/>
                </a:ext>
              </a:extLst>
            </p:cNvPr>
            <p:cNvSpPr txBox="1">
              <a:spLocks/>
            </p:cNvSpPr>
            <p:nvPr/>
          </p:nvSpPr>
          <p:spPr bwMode="auto">
            <a:xfrm>
              <a:off x="689581" y="4100832"/>
              <a:ext cx="2020883" cy="36576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ctr" defTabSz="684213" rtl="0" eaLnBrk="1" fontAlgn="base" latinLnBrk="0" hangingPunct="1">
                <a:lnSpc>
                  <a:spcPct val="9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Over $6B in M&amp;A </a:t>
              </a:r>
              <a:b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br>
              <a:r>
                <a:rPr kumimoji="0" lang="en-US" sz="1200" b="0" i="0" u="none" strike="noStrike" kern="1200" cap="none" spc="0" normalizeH="0" baseline="0" noProof="0">
                  <a:ln>
                    <a:noFill/>
                  </a:ln>
                  <a:solidFill>
                    <a:srgbClr val="0D274D"/>
                  </a:solidFill>
                  <a:effectLst/>
                  <a:uLnTx/>
                  <a:uFillTx/>
                  <a:latin typeface="CiscoSansTT" panose="020B0503020201020303" pitchFamily="34" charset="0"/>
                  <a:ea typeface="ＭＳ Ｐゴシック" charset="0"/>
                  <a:cs typeface="CiscoSansTT Thin" charset="0"/>
                </a:rPr>
                <a:t>over the past 6 years</a:t>
              </a:r>
            </a:p>
          </p:txBody>
        </p:sp>
      </p:grpSp>
      <p:grpSp>
        <p:nvGrpSpPr>
          <p:cNvPr id="214" name="Group 213">
            <a:extLst>
              <a:ext uri="{FF2B5EF4-FFF2-40B4-BE49-F238E27FC236}">
                <a16:creationId xmlns:a16="http://schemas.microsoft.com/office/drawing/2014/main" id="{F92C0C3A-56AE-DA4E-A82B-3A4D8C20311F}"/>
              </a:ext>
            </a:extLst>
          </p:cNvPr>
          <p:cNvGrpSpPr/>
          <p:nvPr/>
        </p:nvGrpSpPr>
        <p:grpSpPr>
          <a:xfrm>
            <a:off x="2866255" y="3930977"/>
            <a:ext cx="3462437" cy="999564"/>
            <a:chOff x="2795192" y="3771066"/>
            <a:chExt cx="3462437" cy="999564"/>
          </a:xfrm>
        </p:grpSpPr>
        <p:pic>
          <p:nvPicPr>
            <p:cNvPr id="215" name="Graphic 214">
              <a:extLst>
                <a:ext uri="{FF2B5EF4-FFF2-40B4-BE49-F238E27FC236}">
                  <a16:creationId xmlns:a16="http://schemas.microsoft.com/office/drawing/2014/main" id="{5D499104-69D1-3841-AFF0-AEFA3C61F09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95192" y="3771066"/>
              <a:ext cx="999564" cy="999564"/>
            </a:xfrm>
            <a:prstGeom prst="rect">
              <a:avLst/>
            </a:prstGeom>
          </p:spPr>
        </p:pic>
        <p:pic>
          <p:nvPicPr>
            <p:cNvPr id="216" name="Graphic 215">
              <a:extLst>
                <a:ext uri="{FF2B5EF4-FFF2-40B4-BE49-F238E27FC236}">
                  <a16:creationId xmlns:a16="http://schemas.microsoft.com/office/drawing/2014/main" id="{7A077D6D-0253-E24E-BBA5-32B6A60710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58065" y="3771066"/>
              <a:ext cx="999564" cy="999564"/>
            </a:xfrm>
            <a:prstGeom prst="rect">
              <a:avLst/>
            </a:prstGeom>
          </p:spPr>
        </p:pic>
      </p:grpSp>
      <p:pic>
        <p:nvPicPr>
          <p:cNvPr id="75" name="Picture 74">
            <a:extLst>
              <a:ext uri="{FF2B5EF4-FFF2-40B4-BE49-F238E27FC236}">
                <a16:creationId xmlns:a16="http://schemas.microsoft.com/office/drawing/2014/main" id="{9EF1C3AD-DF44-564E-B59A-CD94764F8CE1}"/>
              </a:ext>
            </a:extLst>
          </p:cNvPr>
          <p:cNvPicPr>
            <a:picLocks noChangeAspect="1"/>
          </p:cNvPicPr>
          <p:nvPr/>
        </p:nvPicPr>
        <p:blipFill rotWithShape="1">
          <a:blip r:embed="rId5"/>
          <a:srcRect t="38428" b="40714"/>
          <a:stretch/>
        </p:blipFill>
        <p:spPr>
          <a:xfrm>
            <a:off x="7387515" y="2568118"/>
            <a:ext cx="1532950" cy="247076"/>
          </a:xfrm>
          <a:prstGeom prst="rect">
            <a:avLst/>
          </a:prstGeom>
        </p:spPr>
      </p:pic>
    </p:spTree>
    <p:extLst>
      <p:ext uri="{BB962C8B-B14F-4D97-AF65-F5344CB8AC3E}">
        <p14:creationId xmlns:p14="http://schemas.microsoft.com/office/powerpoint/2010/main" val="8143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068"/>
        <p:cNvGrpSpPr/>
        <p:nvPr/>
      </p:nvGrpSpPr>
      <p:grpSpPr>
        <a:xfrm>
          <a:off x="0" y="0"/>
          <a:ext cx="0" cy="0"/>
          <a:chOff x="0" y="0"/>
          <a:chExt cx="0" cy="0"/>
        </a:xfrm>
      </p:grpSpPr>
      <p:sp>
        <p:nvSpPr>
          <p:cNvPr id="101" name="Rounded Rectangle 795">
            <a:extLst>
              <a:ext uri="{FF2B5EF4-FFF2-40B4-BE49-F238E27FC236}">
                <a16:creationId xmlns:a16="http://schemas.microsoft.com/office/drawing/2014/main" id="{726CB810-D78E-594E-BC6D-2E310E347795}"/>
              </a:ext>
            </a:extLst>
          </p:cNvPr>
          <p:cNvSpPr/>
          <p:nvPr/>
        </p:nvSpPr>
        <p:spPr>
          <a:xfrm>
            <a:off x="991705" y="1464508"/>
            <a:ext cx="7791549" cy="2919234"/>
          </a:xfrm>
          <a:prstGeom prst="roundRect">
            <a:avLst>
              <a:gd name="adj" fmla="val 8879"/>
            </a:avLst>
          </a:prstGeom>
          <a:solidFill>
            <a:schemeClr val="bg1"/>
          </a:solidFill>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02" name="Google Shape;1102;p83"/>
          <p:cNvSpPr txBox="1"/>
          <p:nvPr/>
        </p:nvSpPr>
        <p:spPr>
          <a:xfrm>
            <a:off x="1563709" y="2310573"/>
            <a:ext cx="1351521" cy="1115690"/>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600"/>
              </a:spcAft>
              <a:buClr>
                <a:srgbClr val="FFFFFF"/>
              </a:buClr>
              <a:buSzPts val="1050"/>
              <a:buFont typeface="Arial"/>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Firewall and IPS</a:t>
            </a:r>
          </a:p>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Network Access </a:t>
            </a:r>
            <a:b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b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Control</a:t>
            </a:r>
          </a:p>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Traffic Analytics</a:t>
            </a:r>
          </a:p>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lang="en-US" sz="1050" kern="0">
                <a:solidFill>
                  <a:srgbClr val="0D274D"/>
                </a:solidFill>
                <a:latin typeface="CiscoSansTT" panose="020B0503020201020303" pitchFamily="34" charset="0"/>
                <a:cs typeface="CiscoSansTT" panose="020B0503020201020303" pitchFamily="34" charset="0"/>
                <a:sym typeface="Arial"/>
              </a:rPr>
              <a:t>Secure Web Gateway</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p:txBody>
      </p:sp>
      <p:sp>
        <p:nvSpPr>
          <p:cNvPr id="1115" name="Google Shape;1115;p83"/>
          <p:cNvSpPr/>
          <p:nvPr/>
        </p:nvSpPr>
        <p:spPr>
          <a:xfrm>
            <a:off x="1502700" y="4014931"/>
            <a:ext cx="7138374" cy="290750"/>
          </a:xfrm>
          <a:prstGeom prst="roundRect">
            <a:avLst>
              <a:gd name="adj" fmla="val 50000"/>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Tx/>
              <a:buNone/>
              <a:tabLst/>
              <a:defRPr/>
            </a:pPr>
            <a:r>
              <a:rPr kumimoji="0" lang="en-US" sz="1050" b="1" i="1" u="none" strike="noStrike" kern="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sym typeface="Arial"/>
              </a:rPr>
              <a:t> </a:t>
            </a:r>
            <a:r>
              <a:rPr kumimoji="0" lang="en-US" sz="1050" b="1" i="0" u="none" strike="noStrike" kern="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sym typeface="Arial"/>
              </a:rPr>
              <a:t>Services: </a:t>
            </a:r>
            <a:r>
              <a:rPr kumimoji="0" lang="en-US" sz="1050" b="0" i="0" u="none" strike="noStrike" kern="0" cap="none" spc="0" normalizeH="0" baseline="0" noProof="0" err="1">
                <a:ln>
                  <a:noFill/>
                </a:ln>
                <a:solidFill>
                  <a:srgbClr val="FFFFFF"/>
                </a:solidFill>
                <a:effectLst/>
                <a:uLnTx/>
                <a:uFillTx/>
                <a:latin typeface="CiscoSansTT" panose="020B0503020201020303" pitchFamily="34" charset="0"/>
                <a:ea typeface="+mn-ea"/>
                <a:cs typeface="CiscoSansTT" panose="020B0503020201020303" pitchFamily="34" charset="0"/>
                <a:sym typeface="Arial"/>
              </a:rPr>
              <a:t>Talos</a:t>
            </a:r>
            <a:r>
              <a:rPr kumimoji="0" lang="en-US" sz="1050" b="0" i="0" u="none" strike="noStrike" kern="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sym typeface="Arial"/>
              </a:rPr>
              <a:t> Incident Response |  Managed Detection and Response | Segmentation</a:t>
            </a:r>
            <a:endParaRPr kumimoji="0" lang="en-US" sz="14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grpSp>
        <p:nvGrpSpPr>
          <p:cNvPr id="1226" name="Google Shape;1226;p83"/>
          <p:cNvGrpSpPr/>
          <p:nvPr/>
        </p:nvGrpSpPr>
        <p:grpSpPr>
          <a:xfrm>
            <a:off x="2303803" y="4170797"/>
            <a:ext cx="0" cy="0"/>
            <a:chOff x="2303803" y="4170797"/>
            <a:chExt cx="0" cy="0"/>
          </a:xfrm>
        </p:grpSpPr>
        <p:cxnSp>
          <p:nvCxnSpPr>
            <p:cNvPr id="1227" name="Google Shape;1227;p83"/>
            <p:cNvCxnSpPr/>
            <p:nvPr/>
          </p:nvCxnSpPr>
          <p:spPr>
            <a:xfrm>
              <a:off x="737067" y="1671463"/>
              <a:ext cx="0" cy="0"/>
            </a:xfrm>
            <a:prstGeom prst="straightConnector1">
              <a:avLst/>
            </a:prstGeom>
            <a:noFill/>
            <a:ln>
              <a:noFill/>
            </a:ln>
          </p:spPr>
        </p:cxnSp>
        <p:cxnSp>
          <p:nvCxnSpPr>
            <p:cNvPr id="1228" name="Google Shape;1228;p83"/>
            <p:cNvCxnSpPr/>
            <p:nvPr/>
          </p:nvCxnSpPr>
          <p:spPr>
            <a:xfrm>
              <a:off x="737067" y="1671463"/>
              <a:ext cx="0" cy="0"/>
            </a:xfrm>
            <a:prstGeom prst="straightConnector1">
              <a:avLst/>
            </a:prstGeom>
            <a:noFill/>
            <a:ln>
              <a:noFill/>
            </a:ln>
          </p:spPr>
        </p:cxnSp>
      </p:grpSp>
      <p:grpSp>
        <p:nvGrpSpPr>
          <p:cNvPr id="7" name="Group 6">
            <a:extLst>
              <a:ext uri="{FF2B5EF4-FFF2-40B4-BE49-F238E27FC236}">
                <a16:creationId xmlns:a16="http://schemas.microsoft.com/office/drawing/2014/main" id="{BBEC4BDE-051A-4442-A9D6-01A957232DC8}"/>
              </a:ext>
            </a:extLst>
          </p:cNvPr>
          <p:cNvGrpSpPr/>
          <p:nvPr/>
        </p:nvGrpSpPr>
        <p:grpSpPr>
          <a:xfrm>
            <a:off x="1551127" y="1745532"/>
            <a:ext cx="1442402" cy="365760"/>
            <a:chOff x="1438182" y="1751735"/>
            <a:chExt cx="1442402" cy="365760"/>
          </a:xfrm>
        </p:grpSpPr>
        <p:sp>
          <p:nvSpPr>
            <p:cNvPr id="1129" name="Google Shape;1129;p83"/>
            <p:cNvSpPr/>
            <p:nvPr/>
          </p:nvSpPr>
          <p:spPr>
            <a:xfrm>
              <a:off x="1880097" y="1784091"/>
              <a:ext cx="1000487" cy="305734"/>
            </a:xfrm>
            <a:prstGeom prst="rect">
              <a:avLst/>
            </a:prstGeom>
            <a:noFill/>
            <a:ln>
              <a:noFill/>
            </a:ln>
          </p:spPr>
          <p:txBody>
            <a:bodyPr spcFirstLastPara="1" wrap="square" lIns="17125" tIns="17125" rIns="17125" bIns="17125" anchor="ctr" anchorCtr="0">
              <a:noAutofit/>
            </a:bodyPr>
            <a:lstStyle/>
            <a:p>
              <a:pPr marL="0" marR="0" lvl="0" indent="0" algn="l" defTabSz="914400" rtl="0" eaLnBrk="1" fontAlgn="auto" latinLnBrk="0" hangingPunct="1">
                <a:lnSpc>
                  <a:spcPct val="100000"/>
                </a:lnSpc>
                <a:spcBef>
                  <a:spcPts val="0"/>
                </a:spcBef>
                <a:spcAft>
                  <a:spcPts val="0"/>
                </a:spcAft>
                <a:buClr>
                  <a:srgbClr val="003C56"/>
                </a:buClr>
                <a:buSzPts val="1800"/>
                <a:buFont typeface="Arial"/>
                <a:buNone/>
                <a:tabLst/>
                <a:defRPr/>
              </a:pPr>
              <a:r>
                <a:rPr kumimoji="0" lang="en-US" sz="1600" b="0" i="0" u="none" strike="noStrike" kern="0" cap="none" spc="0" normalizeH="0" baseline="0" noProof="0">
                  <a:ln>
                    <a:noFill/>
                  </a:ln>
                  <a:solidFill>
                    <a:srgbClr val="003C56"/>
                  </a:solidFill>
                  <a:effectLst/>
                  <a:uLnTx/>
                  <a:uFillTx/>
                  <a:latin typeface="CiscoSansTT" panose="020B0503020201020303" pitchFamily="34" charset="0"/>
                  <a:ea typeface="+mn-ea"/>
                  <a:cs typeface="CiscoSansTT" panose="020B0503020201020303" pitchFamily="34" charset="0"/>
                  <a:sym typeface="Arial"/>
                </a:rPr>
                <a:t>Network</a:t>
              </a:r>
              <a:endParaRPr kumimoji="0" sz="12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grpSp>
          <p:nvGrpSpPr>
            <p:cNvPr id="208" name="Group 207">
              <a:extLst>
                <a:ext uri="{FF2B5EF4-FFF2-40B4-BE49-F238E27FC236}">
                  <a16:creationId xmlns:a16="http://schemas.microsoft.com/office/drawing/2014/main" id="{473E5CF4-172C-2A45-BE1D-64E741F906D3}"/>
                </a:ext>
              </a:extLst>
            </p:cNvPr>
            <p:cNvGrpSpPr>
              <a:grpSpLocks noChangeAspect="1"/>
            </p:cNvGrpSpPr>
            <p:nvPr/>
          </p:nvGrpSpPr>
          <p:grpSpPr>
            <a:xfrm>
              <a:off x="1438182" y="1751735"/>
              <a:ext cx="365760" cy="365760"/>
              <a:chOff x="5044725" y="1619949"/>
              <a:chExt cx="397509" cy="397509"/>
            </a:xfrm>
          </p:grpSpPr>
          <p:sp>
            <p:nvSpPr>
              <p:cNvPr id="209" name="Oval 208">
                <a:extLst>
                  <a:ext uri="{FF2B5EF4-FFF2-40B4-BE49-F238E27FC236}">
                    <a16:creationId xmlns:a16="http://schemas.microsoft.com/office/drawing/2014/main" id="{E266A26C-E467-BA4D-9D0C-09AF7BC5E000}"/>
                  </a:ext>
                </a:extLst>
              </p:cNvPr>
              <p:cNvSpPr/>
              <p:nvPr/>
            </p:nvSpPr>
            <p:spPr>
              <a:xfrm>
                <a:off x="5044725" y="1619949"/>
                <a:ext cx="397509" cy="397509"/>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pic>
            <p:nvPicPr>
              <p:cNvPr id="210" name="Graphic 209">
                <a:extLst>
                  <a:ext uri="{FF2B5EF4-FFF2-40B4-BE49-F238E27FC236}">
                    <a16:creationId xmlns:a16="http://schemas.microsoft.com/office/drawing/2014/main" id="{11653407-3AF5-C349-826F-AF882A25EF7E}"/>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09580" y="1684804"/>
                <a:ext cx="267798" cy="267798"/>
              </a:xfrm>
              <a:prstGeom prst="rect">
                <a:avLst/>
              </a:prstGeom>
            </p:spPr>
          </p:pic>
        </p:grpSp>
      </p:grpSp>
      <p:grpSp>
        <p:nvGrpSpPr>
          <p:cNvPr id="8" name="Group 7">
            <a:extLst>
              <a:ext uri="{FF2B5EF4-FFF2-40B4-BE49-F238E27FC236}">
                <a16:creationId xmlns:a16="http://schemas.microsoft.com/office/drawing/2014/main" id="{86FFE341-58DA-D544-A36B-C4730428DE30}"/>
              </a:ext>
            </a:extLst>
          </p:cNvPr>
          <p:cNvGrpSpPr/>
          <p:nvPr/>
        </p:nvGrpSpPr>
        <p:grpSpPr>
          <a:xfrm>
            <a:off x="3355502" y="1749891"/>
            <a:ext cx="1555123" cy="365760"/>
            <a:chOff x="3371897" y="1762856"/>
            <a:chExt cx="1555123" cy="365760"/>
          </a:xfrm>
        </p:grpSpPr>
        <p:sp>
          <p:nvSpPr>
            <p:cNvPr id="233" name="Google Shape;1129;p83">
              <a:extLst>
                <a:ext uri="{FF2B5EF4-FFF2-40B4-BE49-F238E27FC236}">
                  <a16:creationId xmlns:a16="http://schemas.microsoft.com/office/drawing/2014/main" id="{A0F14E28-A7A3-ED4A-87B2-19B102764284}"/>
                </a:ext>
              </a:extLst>
            </p:cNvPr>
            <p:cNvSpPr/>
            <p:nvPr/>
          </p:nvSpPr>
          <p:spPr>
            <a:xfrm>
              <a:off x="3843949" y="1790397"/>
              <a:ext cx="1083071" cy="305734"/>
            </a:xfrm>
            <a:prstGeom prst="rect">
              <a:avLst/>
            </a:prstGeom>
            <a:noFill/>
            <a:ln>
              <a:noFill/>
            </a:ln>
          </p:spPr>
          <p:txBody>
            <a:bodyPr spcFirstLastPara="1" wrap="square" lIns="17125" tIns="17125" rIns="17125" bIns="17125" anchor="ctr" anchorCtr="0">
              <a:noAutofit/>
            </a:bodyPr>
            <a:lstStyle/>
            <a:p>
              <a:pPr marL="0" marR="0" lvl="0" indent="0" algn="l" defTabSz="914400" rtl="0" eaLnBrk="1" fontAlgn="auto" latinLnBrk="0" hangingPunct="1">
                <a:lnSpc>
                  <a:spcPct val="100000"/>
                </a:lnSpc>
                <a:spcBef>
                  <a:spcPts val="0"/>
                </a:spcBef>
                <a:spcAft>
                  <a:spcPts val="0"/>
                </a:spcAft>
                <a:buClr>
                  <a:srgbClr val="003C56"/>
                </a:buClr>
                <a:buSzPts val="1800"/>
                <a:buFont typeface="Arial"/>
                <a:buNone/>
                <a:tabLst/>
                <a:defRPr/>
              </a:pPr>
              <a:r>
                <a:rPr kumimoji="0" lang="en-US" sz="1600" b="0" i="0" u="none" strike="noStrike" kern="0" cap="none" spc="0" normalizeH="0" baseline="0" noProof="0">
                  <a:ln>
                    <a:noFill/>
                  </a:ln>
                  <a:solidFill>
                    <a:srgbClr val="003C56"/>
                  </a:solidFill>
                  <a:effectLst/>
                  <a:uLnTx/>
                  <a:uFillTx/>
                  <a:latin typeface="CiscoSansTT" panose="020B0503020201020303" pitchFamily="34" charset="0"/>
                  <a:ea typeface="+mn-ea"/>
                  <a:cs typeface="CiscoSansTT" panose="020B0503020201020303" pitchFamily="34" charset="0"/>
                  <a:sym typeface="Arial"/>
                </a:rPr>
                <a:t>User /</a:t>
              </a:r>
            </a:p>
            <a:p>
              <a:pPr marL="0" marR="0" lvl="0" indent="0" algn="l" defTabSz="914400" rtl="0" eaLnBrk="1" fontAlgn="auto" latinLnBrk="0" hangingPunct="1">
                <a:lnSpc>
                  <a:spcPct val="100000"/>
                </a:lnSpc>
                <a:spcBef>
                  <a:spcPts val="0"/>
                </a:spcBef>
                <a:spcAft>
                  <a:spcPts val="0"/>
                </a:spcAft>
                <a:buClr>
                  <a:srgbClr val="003C56"/>
                </a:buClr>
                <a:buSzPts val="1800"/>
                <a:buFont typeface="Arial"/>
                <a:buNone/>
                <a:tabLst/>
                <a:defRPr/>
              </a:pPr>
              <a:r>
                <a:rPr kumimoji="0" lang="en-US" sz="1600" b="0" i="0" u="none" strike="noStrike" kern="0" cap="none" spc="0" normalizeH="0" baseline="0" noProof="0">
                  <a:ln>
                    <a:noFill/>
                  </a:ln>
                  <a:solidFill>
                    <a:srgbClr val="003C56"/>
                  </a:solidFill>
                  <a:effectLst/>
                  <a:uLnTx/>
                  <a:uFillTx/>
                  <a:latin typeface="CiscoSansTT" panose="020B0503020201020303" pitchFamily="34" charset="0"/>
                  <a:ea typeface="+mn-ea"/>
                  <a:cs typeface="CiscoSansTT" panose="020B0503020201020303" pitchFamily="34" charset="0"/>
                  <a:sym typeface="Arial"/>
                </a:rPr>
                <a:t>Endpoint</a:t>
              </a:r>
              <a:endParaRPr kumimoji="0" sz="12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grpSp>
          <p:nvGrpSpPr>
            <p:cNvPr id="234" name="Group 233">
              <a:extLst>
                <a:ext uri="{FF2B5EF4-FFF2-40B4-BE49-F238E27FC236}">
                  <a16:creationId xmlns:a16="http://schemas.microsoft.com/office/drawing/2014/main" id="{012D9707-5171-9B43-A623-C7258AE6A110}"/>
                </a:ext>
              </a:extLst>
            </p:cNvPr>
            <p:cNvGrpSpPr>
              <a:grpSpLocks noChangeAspect="1"/>
            </p:cNvGrpSpPr>
            <p:nvPr/>
          </p:nvGrpSpPr>
          <p:grpSpPr>
            <a:xfrm>
              <a:off x="3371897" y="1762856"/>
              <a:ext cx="365760" cy="365760"/>
              <a:chOff x="7464103" y="1603988"/>
              <a:chExt cx="397509" cy="397509"/>
            </a:xfrm>
          </p:grpSpPr>
          <p:sp>
            <p:nvSpPr>
              <p:cNvPr id="235" name="Oval 234">
                <a:extLst>
                  <a:ext uri="{FF2B5EF4-FFF2-40B4-BE49-F238E27FC236}">
                    <a16:creationId xmlns:a16="http://schemas.microsoft.com/office/drawing/2014/main" id="{F91DE305-32F2-C74F-8EA6-6598DFFB5C0F}"/>
                  </a:ext>
                </a:extLst>
              </p:cNvPr>
              <p:cNvSpPr/>
              <p:nvPr/>
            </p:nvSpPr>
            <p:spPr>
              <a:xfrm>
                <a:off x="7464103" y="1603988"/>
                <a:ext cx="397509" cy="397509"/>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pic>
            <p:nvPicPr>
              <p:cNvPr id="236" name="Graphic 235">
                <a:extLst>
                  <a:ext uri="{FF2B5EF4-FFF2-40B4-BE49-F238E27FC236}">
                    <a16:creationId xmlns:a16="http://schemas.microsoft.com/office/drawing/2014/main" id="{1E6B43F9-2A40-004D-B70F-E7094B11C990}"/>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516103" y="1655988"/>
                <a:ext cx="293509" cy="293509"/>
              </a:xfrm>
              <a:prstGeom prst="rect">
                <a:avLst/>
              </a:prstGeom>
            </p:spPr>
          </p:pic>
        </p:grpSp>
      </p:grpSp>
      <p:grpSp>
        <p:nvGrpSpPr>
          <p:cNvPr id="9" name="Group 8">
            <a:extLst>
              <a:ext uri="{FF2B5EF4-FFF2-40B4-BE49-F238E27FC236}">
                <a16:creationId xmlns:a16="http://schemas.microsoft.com/office/drawing/2014/main" id="{A64F546E-ADE5-6143-9393-CCA4D4F64B58}"/>
              </a:ext>
            </a:extLst>
          </p:cNvPr>
          <p:cNvGrpSpPr/>
          <p:nvPr/>
        </p:nvGrpSpPr>
        <p:grpSpPr>
          <a:xfrm>
            <a:off x="5252306" y="1748995"/>
            <a:ext cx="1580569" cy="365760"/>
            <a:chOff x="5292998" y="1748904"/>
            <a:chExt cx="1580569" cy="365760"/>
          </a:xfrm>
        </p:grpSpPr>
        <p:sp>
          <p:nvSpPr>
            <p:cNvPr id="238" name="Google Shape;1129;p83">
              <a:extLst>
                <a:ext uri="{FF2B5EF4-FFF2-40B4-BE49-F238E27FC236}">
                  <a16:creationId xmlns:a16="http://schemas.microsoft.com/office/drawing/2014/main" id="{E3277864-54D7-3742-A4F4-F354072EA1F3}"/>
                </a:ext>
              </a:extLst>
            </p:cNvPr>
            <p:cNvSpPr/>
            <p:nvPr/>
          </p:nvSpPr>
          <p:spPr>
            <a:xfrm>
              <a:off x="5770983" y="1769395"/>
              <a:ext cx="1102584" cy="305734"/>
            </a:xfrm>
            <a:prstGeom prst="rect">
              <a:avLst/>
            </a:prstGeom>
            <a:noFill/>
            <a:ln>
              <a:noFill/>
            </a:ln>
          </p:spPr>
          <p:txBody>
            <a:bodyPr spcFirstLastPara="1" wrap="square" lIns="17125" tIns="17125" rIns="17125" bIns="17125" anchor="ctr" anchorCtr="0">
              <a:noAutofit/>
            </a:bodyPr>
            <a:lstStyle/>
            <a:p>
              <a:pPr marL="0" marR="0" lvl="0" indent="0" algn="l" defTabSz="914400" rtl="0" eaLnBrk="1" fontAlgn="auto" latinLnBrk="0" hangingPunct="1">
                <a:lnSpc>
                  <a:spcPct val="100000"/>
                </a:lnSpc>
                <a:spcBef>
                  <a:spcPts val="0"/>
                </a:spcBef>
                <a:spcAft>
                  <a:spcPts val="0"/>
                </a:spcAft>
                <a:buClr>
                  <a:srgbClr val="003C56"/>
                </a:buClr>
                <a:buSzPts val="1800"/>
                <a:buFont typeface="Arial"/>
                <a:buNone/>
                <a:tabLst/>
                <a:defRPr/>
              </a:pPr>
              <a:r>
                <a:rPr kumimoji="0" lang="en-US" sz="1600" b="0" i="0" u="none" strike="noStrike" kern="0" cap="none" spc="0" normalizeH="0" baseline="0" noProof="0">
                  <a:ln>
                    <a:noFill/>
                  </a:ln>
                  <a:solidFill>
                    <a:srgbClr val="003C56"/>
                  </a:solidFill>
                  <a:effectLst/>
                  <a:uLnTx/>
                  <a:uFillTx/>
                  <a:latin typeface="CiscoSansTT" panose="020B0503020201020303" pitchFamily="34" charset="0"/>
                  <a:ea typeface="+mn-ea"/>
                  <a:cs typeface="CiscoSansTT" panose="020B0503020201020303" pitchFamily="34" charset="0"/>
                  <a:sym typeface="Arial"/>
                </a:rPr>
                <a:t>Cloud Edge</a:t>
              </a:r>
              <a:endParaRPr kumimoji="0" sz="12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grpSp>
          <p:nvGrpSpPr>
            <p:cNvPr id="242" name="Group 241">
              <a:extLst>
                <a:ext uri="{FF2B5EF4-FFF2-40B4-BE49-F238E27FC236}">
                  <a16:creationId xmlns:a16="http://schemas.microsoft.com/office/drawing/2014/main" id="{07F023A3-570E-7343-ADA5-8E05D4D011C1}"/>
                </a:ext>
              </a:extLst>
            </p:cNvPr>
            <p:cNvGrpSpPr>
              <a:grpSpLocks noChangeAspect="1"/>
            </p:cNvGrpSpPr>
            <p:nvPr/>
          </p:nvGrpSpPr>
          <p:grpSpPr>
            <a:xfrm>
              <a:off x="5292998" y="1748904"/>
              <a:ext cx="365760" cy="365760"/>
              <a:chOff x="5034496" y="2763728"/>
              <a:chExt cx="397509" cy="397509"/>
            </a:xfrm>
          </p:grpSpPr>
          <p:sp>
            <p:nvSpPr>
              <p:cNvPr id="243" name="Oval 242">
                <a:extLst>
                  <a:ext uri="{FF2B5EF4-FFF2-40B4-BE49-F238E27FC236}">
                    <a16:creationId xmlns:a16="http://schemas.microsoft.com/office/drawing/2014/main" id="{6745B6AE-7BB8-FA4B-8460-1645FFA4C84C}"/>
                  </a:ext>
                </a:extLst>
              </p:cNvPr>
              <p:cNvSpPr/>
              <p:nvPr/>
            </p:nvSpPr>
            <p:spPr>
              <a:xfrm>
                <a:off x="5034496" y="2763728"/>
                <a:ext cx="397509" cy="397509"/>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pic>
            <p:nvPicPr>
              <p:cNvPr id="244" name="Graphic 243">
                <a:extLst>
                  <a:ext uri="{FF2B5EF4-FFF2-40B4-BE49-F238E27FC236}">
                    <a16:creationId xmlns:a16="http://schemas.microsoft.com/office/drawing/2014/main" id="{FD5ED6E0-BA4F-8C43-AAE0-065B4FB117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089123" y="2818355"/>
                <a:ext cx="288255" cy="288255"/>
              </a:xfrm>
              <a:prstGeom prst="rect">
                <a:avLst/>
              </a:prstGeom>
            </p:spPr>
          </p:pic>
        </p:grpSp>
      </p:grpSp>
      <p:grpSp>
        <p:nvGrpSpPr>
          <p:cNvPr id="10" name="Group 9">
            <a:extLst>
              <a:ext uri="{FF2B5EF4-FFF2-40B4-BE49-F238E27FC236}">
                <a16:creationId xmlns:a16="http://schemas.microsoft.com/office/drawing/2014/main" id="{D54AC25C-58DA-F549-A386-EB6B7E2E58BA}"/>
              </a:ext>
            </a:extLst>
          </p:cNvPr>
          <p:cNvGrpSpPr/>
          <p:nvPr/>
        </p:nvGrpSpPr>
        <p:grpSpPr>
          <a:xfrm>
            <a:off x="7041106" y="1745532"/>
            <a:ext cx="1588129" cy="365760"/>
            <a:chOff x="7197183" y="1739343"/>
            <a:chExt cx="1588129" cy="365760"/>
          </a:xfrm>
        </p:grpSpPr>
        <p:sp>
          <p:nvSpPr>
            <p:cNvPr id="246" name="Google Shape;1129;p83">
              <a:extLst>
                <a:ext uri="{FF2B5EF4-FFF2-40B4-BE49-F238E27FC236}">
                  <a16:creationId xmlns:a16="http://schemas.microsoft.com/office/drawing/2014/main" id="{4F29F5AC-0A19-B846-9F18-2405DF37638D}"/>
                </a:ext>
              </a:extLst>
            </p:cNvPr>
            <p:cNvSpPr/>
            <p:nvPr/>
          </p:nvSpPr>
          <p:spPr>
            <a:xfrm>
              <a:off x="7641051" y="1777726"/>
              <a:ext cx="1144261" cy="305734"/>
            </a:xfrm>
            <a:prstGeom prst="rect">
              <a:avLst/>
            </a:prstGeom>
            <a:noFill/>
            <a:ln>
              <a:noFill/>
            </a:ln>
          </p:spPr>
          <p:txBody>
            <a:bodyPr spcFirstLastPara="1" wrap="square" lIns="17125" tIns="17125" rIns="17125" bIns="17125" anchor="ctr" anchorCtr="0">
              <a:noAutofit/>
            </a:bodyPr>
            <a:lstStyle/>
            <a:p>
              <a:pPr marL="0" marR="0" lvl="0" indent="0" algn="l" defTabSz="914400" rtl="0" eaLnBrk="1" fontAlgn="auto" latinLnBrk="0" hangingPunct="1">
                <a:lnSpc>
                  <a:spcPct val="100000"/>
                </a:lnSpc>
                <a:spcBef>
                  <a:spcPts val="0"/>
                </a:spcBef>
                <a:spcAft>
                  <a:spcPts val="0"/>
                </a:spcAft>
                <a:buClr>
                  <a:srgbClr val="003C56"/>
                </a:buClr>
                <a:buSzPts val="1800"/>
                <a:buFont typeface="Arial"/>
                <a:buNone/>
                <a:tabLst/>
                <a:defRPr/>
              </a:pPr>
              <a:r>
                <a:rPr kumimoji="0" lang="en-US" sz="1600" b="0" i="0" u="none" strike="noStrike" kern="0" cap="none" spc="0" normalizeH="0" baseline="0" noProof="0">
                  <a:ln>
                    <a:noFill/>
                  </a:ln>
                  <a:solidFill>
                    <a:srgbClr val="003C56"/>
                  </a:solidFill>
                  <a:effectLst/>
                  <a:uLnTx/>
                  <a:uFillTx/>
                  <a:latin typeface="CiscoSansTT" panose="020B0503020201020303" pitchFamily="34" charset="0"/>
                  <a:ea typeface="+mn-ea"/>
                  <a:cs typeface="CiscoSansTT" panose="020B0503020201020303" pitchFamily="34" charset="0"/>
                  <a:sym typeface="Arial"/>
                </a:rPr>
                <a:t>Application</a:t>
              </a:r>
              <a:endParaRPr kumimoji="0" sz="12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grpSp>
          <p:nvGrpSpPr>
            <p:cNvPr id="222" name="Group 221">
              <a:extLst>
                <a:ext uri="{FF2B5EF4-FFF2-40B4-BE49-F238E27FC236}">
                  <a16:creationId xmlns:a16="http://schemas.microsoft.com/office/drawing/2014/main" id="{F8ACBECD-C0A1-8640-8064-EAB1A3BDACC2}"/>
                </a:ext>
              </a:extLst>
            </p:cNvPr>
            <p:cNvGrpSpPr>
              <a:grpSpLocks noChangeAspect="1"/>
            </p:cNvGrpSpPr>
            <p:nvPr/>
          </p:nvGrpSpPr>
          <p:grpSpPr>
            <a:xfrm>
              <a:off x="7197183" y="1739343"/>
              <a:ext cx="365760" cy="365760"/>
              <a:chOff x="6005835" y="2763728"/>
              <a:chExt cx="397509" cy="397509"/>
            </a:xfrm>
          </p:grpSpPr>
          <p:sp>
            <p:nvSpPr>
              <p:cNvPr id="223" name="Oval 222">
                <a:extLst>
                  <a:ext uri="{FF2B5EF4-FFF2-40B4-BE49-F238E27FC236}">
                    <a16:creationId xmlns:a16="http://schemas.microsoft.com/office/drawing/2014/main" id="{C3F560AB-3913-AB47-8A12-76EA801B5EF9}"/>
                  </a:ext>
                </a:extLst>
              </p:cNvPr>
              <p:cNvSpPr/>
              <p:nvPr/>
            </p:nvSpPr>
            <p:spPr>
              <a:xfrm>
                <a:off x="6005835" y="2763728"/>
                <a:ext cx="397509" cy="397509"/>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D274D"/>
                  </a:solidFill>
                  <a:effectLst/>
                  <a:uLnTx/>
                  <a:uFillTx/>
                  <a:latin typeface="CiscoSansTT ExtraLight"/>
                  <a:ea typeface="+mn-ea"/>
                  <a:cs typeface="+mn-cs"/>
                </a:endParaRPr>
              </a:p>
            </p:txBody>
          </p:sp>
          <p:pic>
            <p:nvPicPr>
              <p:cNvPr id="224" name="Graphic 223">
                <a:extLst>
                  <a:ext uri="{FF2B5EF4-FFF2-40B4-BE49-F238E27FC236}">
                    <a16:creationId xmlns:a16="http://schemas.microsoft.com/office/drawing/2014/main" id="{1DC9E6DF-2B5F-F444-A7E3-4FE8BCA6614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104784" y="2881758"/>
                <a:ext cx="199610" cy="161449"/>
              </a:xfrm>
              <a:prstGeom prst="rect">
                <a:avLst/>
              </a:prstGeom>
            </p:spPr>
          </p:pic>
        </p:grpSp>
      </p:grpSp>
      <p:sp>
        <p:nvSpPr>
          <p:cNvPr id="277" name="Rounded Rectangle 795">
            <a:extLst>
              <a:ext uri="{FF2B5EF4-FFF2-40B4-BE49-F238E27FC236}">
                <a16:creationId xmlns:a16="http://schemas.microsoft.com/office/drawing/2014/main" id="{F8A8972E-3AFB-6541-A246-60384D494290}"/>
              </a:ext>
            </a:extLst>
          </p:cNvPr>
          <p:cNvSpPr/>
          <p:nvPr/>
        </p:nvSpPr>
        <p:spPr>
          <a:xfrm>
            <a:off x="443783" y="1656300"/>
            <a:ext cx="957379" cy="2457293"/>
          </a:xfrm>
          <a:prstGeom prst="roundRect">
            <a:avLst>
              <a:gd name="adj" fmla="val 50000"/>
            </a:avLst>
          </a:prstGeom>
          <a:solidFill>
            <a:schemeClr val="bg1"/>
          </a:solidFill>
          <a:ln w="19050">
            <a:solidFill>
              <a:schemeClr val="tx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278" name="Rectangle 277">
            <a:extLst>
              <a:ext uri="{FF2B5EF4-FFF2-40B4-BE49-F238E27FC236}">
                <a16:creationId xmlns:a16="http://schemas.microsoft.com/office/drawing/2014/main" id="{1A85DE5D-78B9-1344-BA6C-9CEB5E839134}"/>
              </a:ext>
            </a:extLst>
          </p:cNvPr>
          <p:cNvSpPr/>
          <p:nvPr/>
        </p:nvSpPr>
        <p:spPr>
          <a:xfrm>
            <a:off x="440474" y="2995376"/>
            <a:ext cx="963996" cy="430887"/>
          </a:xfrm>
          <a:prstGeom prst="rect">
            <a:avLst/>
          </a:prstGeom>
        </p:spPr>
        <p:txBody>
          <a:bodyPr wrap="square" anchor="ctr">
            <a:spAutoFit/>
          </a:bodyPr>
          <a:lstStyle/>
          <a:p>
            <a:pPr marL="0" marR="0" lvl="0" indent="0" algn="ctr" defTabSz="609570" rtl="0" eaLnBrk="1" fontAlgn="auto" latinLnBrk="0" hangingPunct="1">
              <a:lnSpc>
                <a:spcPct val="100000"/>
              </a:lnSpc>
              <a:spcBef>
                <a:spcPts val="0"/>
              </a:spcBef>
              <a:spcAft>
                <a:spcPts val="1200"/>
              </a:spcAft>
              <a:buClrTx/>
              <a:buSzTx/>
              <a:buFontTx/>
              <a:buNone/>
              <a:tabLst/>
              <a:defRPr/>
            </a:pPr>
            <a:r>
              <a:rPr kumimoji="0" lang="en-US" sz="1100" b="0" i="0" u="none" strike="noStrike" kern="1200" cap="none" spc="0" normalizeH="0" baseline="0" noProof="0">
                <a:ln>
                  <a:noFill/>
                </a:ln>
                <a:solidFill>
                  <a:srgbClr val="0D274D"/>
                </a:solidFill>
                <a:effectLst/>
                <a:uLnTx/>
                <a:uFillTx/>
                <a:latin typeface="CiscoSansTT ExtraLight"/>
                <a:ea typeface="+mn-ea"/>
                <a:cs typeface="+mn-cs"/>
              </a:rPr>
              <a:t>threat intelligence</a:t>
            </a:r>
          </a:p>
        </p:txBody>
      </p:sp>
      <p:grpSp>
        <p:nvGrpSpPr>
          <p:cNvPr id="280" name="Group 58">
            <a:extLst>
              <a:ext uri="{FF2B5EF4-FFF2-40B4-BE49-F238E27FC236}">
                <a16:creationId xmlns:a16="http://schemas.microsoft.com/office/drawing/2014/main" id="{F08B5BD1-3CD0-8E4C-9424-A9630A094BFA}"/>
              </a:ext>
            </a:extLst>
          </p:cNvPr>
          <p:cNvGrpSpPr>
            <a:grpSpLocks noChangeAspect="1"/>
          </p:cNvGrpSpPr>
          <p:nvPr/>
        </p:nvGrpSpPr>
        <p:grpSpPr bwMode="auto">
          <a:xfrm>
            <a:off x="517250" y="2764506"/>
            <a:ext cx="783657" cy="196583"/>
            <a:chOff x="0" y="2898"/>
            <a:chExt cx="3153" cy="736"/>
          </a:xfrm>
          <a:solidFill>
            <a:schemeClr val="tx2"/>
          </a:solidFill>
          <a:effectLst/>
        </p:grpSpPr>
        <p:sp>
          <p:nvSpPr>
            <p:cNvPr id="281" name="Freeform 59">
              <a:extLst>
                <a:ext uri="{FF2B5EF4-FFF2-40B4-BE49-F238E27FC236}">
                  <a16:creationId xmlns:a16="http://schemas.microsoft.com/office/drawing/2014/main" id="{C1370915-74CB-2E49-93C5-2D7983068966}"/>
                </a:ext>
              </a:extLst>
            </p:cNvPr>
            <p:cNvSpPr>
              <a:spLocks/>
            </p:cNvSpPr>
            <p:nvPr/>
          </p:nvSpPr>
          <p:spPr bwMode="auto">
            <a:xfrm>
              <a:off x="2569" y="2904"/>
              <a:ext cx="584" cy="728"/>
            </a:xfrm>
            <a:custGeom>
              <a:avLst/>
              <a:gdLst>
                <a:gd name="T0" fmla="*/ 1282 w 1291"/>
                <a:gd name="T1" fmla="*/ 3 h 1605"/>
                <a:gd name="T2" fmla="*/ 1156 w 1291"/>
                <a:gd name="T3" fmla="*/ 171 h 1605"/>
                <a:gd name="T4" fmla="*/ 504 w 1291"/>
                <a:gd name="T5" fmla="*/ 171 h 1605"/>
                <a:gd name="T6" fmla="*/ 351 w 1291"/>
                <a:gd name="T7" fmla="*/ 302 h 1605"/>
                <a:gd name="T8" fmla="*/ 331 w 1291"/>
                <a:gd name="T9" fmla="*/ 589 h 1605"/>
                <a:gd name="T10" fmla="*/ 431 w 1291"/>
                <a:gd name="T11" fmla="*/ 689 h 1605"/>
                <a:gd name="T12" fmla="*/ 1006 w 1291"/>
                <a:gd name="T13" fmla="*/ 691 h 1605"/>
                <a:gd name="T14" fmla="*/ 1289 w 1291"/>
                <a:gd name="T15" fmla="*/ 966 h 1605"/>
                <a:gd name="T16" fmla="*/ 1291 w 1291"/>
                <a:gd name="T17" fmla="*/ 1312 h 1605"/>
                <a:gd name="T18" fmla="*/ 992 w 1291"/>
                <a:gd name="T19" fmla="*/ 1605 h 1605"/>
                <a:gd name="T20" fmla="*/ 0 w 1291"/>
                <a:gd name="T21" fmla="*/ 1605 h 1605"/>
                <a:gd name="T22" fmla="*/ 203 w 1291"/>
                <a:gd name="T23" fmla="*/ 1391 h 1605"/>
                <a:gd name="T24" fmla="*/ 970 w 1291"/>
                <a:gd name="T25" fmla="*/ 1390 h 1605"/>
                <a:gd name="T26" fmla="*/ 1086 w 1291"/>
                <a:gd name="T27" fmla="*/ 1262 h 1605"/>
                <a:gd name="T28" fmla="*/ 1084 w 1291"/>
                <a:gd name="T29" fmla="*/ 984 h 1605"/>
                <a:gd name="T30" fmla="*/ 975 w 1291"/>
                <a:gd name="T31" fmla="*/ 884 h 1605"/>
                <a:gd name="T32" fmla="*/ 412 w 1291"/>
                <a:gd name="T33" fmla="*/ 884 h 1605"/>
                <a:gd name="T34" fmla="*/ 133 w 1291"/>
                <a:gd name="T35" fmla="*/ 599 h 1605"/>
                <a:gd name="T36" fmla="*/ 152 w 1291"/>
                <a:gd name="T37" fmla="*/ 251 h 1605"/>
                <a:gd name="T38" fmla="*/ 470 w 1291"/>
                <a:gd name="T39" fmla="*/ 0 h 1605"/>
                <a:gd name="T40" fmla="*/ 1282 w 1291"/>
                <a:gd name="T41" fmla="*/ 3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91" h="1605">
                  <a:moveTo>
                    <a:pt x="1282" y="3"/>
                  </a:moveTo>
                  <a:cubicBezTo>
                    <a:pt x="1282" y="3"/>
                    <a:pt x="1282" y="112"/>
                    <a:pt x="1156" y="171"/>
                  </a:cubicBezTo>
                  <a:cubicBezTo>
                    <a:pt x="1156" y="171"/>
                    <a:pt x="638" y="171"/>
                    <a:pt x="504" y="171"/>
                  </a:cubicBezTo>
                  <a:cubicBezTo>
                    <a:pt x="352" y="171"/>
                    <a:pt x="351" y="302"/>
                    <a:pt x="351" y="302"/>
                  </a:cubicBezTo>
                  <a:cubicBezTo>
                    <a:pt x="331" y="589"/>
                    <a:pt x="331" y="589"/>
                    <a:pt x="331" y="589"/>
                  </a:cubicBezTo>
                  <a:cubicBezTo>
                    <a:pt x="331" y="589"/>
                    <a:pt x="336" y="689"/>
                    <a:pt x="431" y="689"/>
                  </a:cubicBezTo>
                  <a:cubicBezTo>
                    <a:pt x="431" y="689"/>
                    <a:pt x="930" y="691"/>
                    <a:pt x="1006" y="691"/>
                  </a:cubicBezTo>
                  <a:cubicBezTo>
                    <a:pt x="1083" y="691"/>
                    <a:pt x="1289" y="747"/>
                    <a:pt x="1289" y="966"/>
                  </a:cubicBezTo>
                  <a:cubicBezTo>
                    <a:pt x="1289" y="1185"/>
                    <a:pt x="1291" y="1312"/>
                    <a:pt x="1291" y="1312"/>
                  </a:cubicBezTo>
                  <a:cubicBezTo>
                    <a:pt x="1291" y="1420"/>
                    <a:pt x="1197" y="1602"/>
                    <a:pt x="992" y="1605"/>
                  </a:cubicBezTo>
                  <a:cubicBezTo>
                    <a:pt x="0" y="1605"/>
                    <a:pt x="0" y="1605"/>
                    <a:pt x="0" y="1605"/>
                  </a:cubicBezTo>
                  <a:cubicBezTo>
                    <a:pt x="0" y="1605"/>
                    <a:pt x="37" y="1472"/>
                    <a:pt x="203" y="1391"/>
                  </a:cubicBezTo>
                  <a:cubicBezTo>
                    <a:pt x="970" y="1390"/>
                    <a:pt x="970" y="1390"/>
                    <a:pt x="970" y="1390"/>
                  </a:cubicBezTo>
                  <a:cubicBezTo>
                    <a:pt x="970" y="1390"/>
                    <a:pt x="1078" y="1378"/>
                    <a:pt x="1086" y="1262"/>
                  </a:cubicBezTo>
                  <a:cubicBezTo>
                    <a:pt x="1087" y="1255"/>
                    <a:pt x="1084" y="984"/>
                    <a:pt x="1084" y="984"/>
                  </a:cubicBezTo>
                  <a:cubicBezTo>
                    <a:pt x="1084" y="984"/>
                    <a:pt x="1079" y="884"/>
                    <a:pt x="975" y="884"/>
                  </a:cubicBezTo>
                  <a:cubicBezTo>
                    <a:pt x="883" y="884"/>
                    <a:pt x="412" y="884"/>
                    <a:pt x="412" y="884"/>
                  </a:cubicBezTo>
                  <a:cubicBezTo>
                    <a:pt x="124" y="865"/>
                    <a:pt x="133" y="599"/>
                    <a:pt x="133" y="599"/>
                  </a:cubicBezTo>
                  <a:cubicBezTo>
                    <a:pt x="152" y="251"/>
                    <a:pt x="152" y="251"/>
                    <a:pt x="152" y="251"/>
                  </a:cubicBezTo>
                  <a:cubicBezTo>
                    <a:pt x="152" y="251"/>
                    <a:pt x="185" y="5"/>
                    <a:pt x="470" y="0"/>
                  </a:cubicBezTo>
                  <a:lnTo>
                    <a:pt x="128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2" name="Freeform 60">
              <a:extLst>
                <a:ext uri="{FF2B5EF4-FFF2-40B4-BE49-F238E27FC236}">
                  <a16:creationId xmlns:a16="http://schemas.microsoft.com/office/drawing/2014/main" id="{3F50DB74-98A9-E84E-9DAE-00A214187105}"/>
                </a:ext>
              </a:extLst>
            </p:cNvPr>
            <p:cNvSpPr>
              <a:spLocks/>
            </p:cNvSpPr>
            <p:nvPr/>
          </p:nvSpPr>
          <p:spPr bwMode="auto">
            <a:xfrm>
              <a:off x="1984" y="3036"/>
              <a:ext cx="583" cy="596"/>
            </a:xfrm>
            <a:custGeom>
              <a:avLst/>
              <a:gdLst>
                <a:gd name="T0" fmla="*/ 858 w 1288"/>
                <a:gd name="T1" fmla="*/ 1044 h 1315"/>
                <a:gd name="T2" fmla="*/ 993 w 1288"/>
                <a:gd name="T3" fmla="*/ 918 h 1315"/>
                <a:gd name="T4" fmla="*/ 993 w 1288"/>
                <a:gd name="T5" fmla="*/ 117 h 1315"/>
                <a:gd name="T6" fmla="*/ 1102 w 1288"/>
                <a:gd name="T7" fmla="*/ 0 h 1315"/>
                <a:gd name="T8" fmla="*/ 1288 w 1288"/>
                <a:gd name="T9" fmla="*/ 513 h 1315"/>
                <a:gd name="T10" fmla="*/ 486 w 1288"/>
                <a:gd name="T11" fmla="*/ 1315 h 1315"/>
                <a:gd name="T12" fmla="*/ 0 w 1288"/>
                <a:gd name="T13" fmla="*/ 1154 h 1315"/>
                <a:gd name="T14" fmla="*/ 103 w 1288"/>
                <a:gd name="T15" fmla="*/ 1043 h 1315"/>
                <a:gd name="T16" fmla="*/ 858 w 1288"/>
                <a:gd name="T17" fmla="*/ 1044 h 1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8" h="1315">
                  <a:moveTo>
                    <a:pt x="858" y="1044"/>
                  </a:moveTo>
                  <a:cubicBezTo>
                    <a:pt x="994" y="1039"/>
                    <a:pt x="993" y="918"/>
                    <a:pt x="993" y="918"/>
                  </a:cubicBezTo>
                  <a:cubicBezTo>
                    <a:pt x="993" y="117"/>
                    <a:pt x="993" y="117"/>
                    <a:pt x="993" y="117"/>
                  </a:cubicBezTo>
                  <a:cubicBezTo>
                    <a:pt x="1102" y="0"/>
                    <a:pt x="1102" y="0"/>
                    <a:pt x="1102" y="0"/>
                  </a:cubicBezTo>
                  <a:cubicBezTo>
                    <a:pt x="1102" y="0"/>
                    <a:pt x="1288" y="203"/>
                    <a:pt x="1288" y="513"/>
                  </a:cubicBezTo>
                  <a:cubicBezTo>
                    <a:pt x="1288" y="1046"/>
                    <a:pt x="843" y="1315"/>
                    <a:pt x="486" y="1315"/>
                  </a:cubicBezTo>
                  <a:cubicBezTo>
                    <a:pt x="186" y="1315"/>
                    <a:pt x="0" y="1154"/>
                    <a:pt x="0" y="1154"/>
                  </a:cubicBezTo>
                  <a:cubicBezTo>
                    <a:pt x="103" y="1043"/>
                    <a:pt x="103" y="1043"/>
                    <a:pt x="103" y="1043"/>
                  </a:cubicBezTo>
                  <a:lnTo>
                    <a:pt x="858" y="10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3" name="Freeform 61">
              <a:extLst>
                <a:ext uri="{FF2B5EF4-FFF2-40B4-BE49-F238E27FC236}">
                  <a16:creationId xmlns:a16="http://schemas.microsoft.com/office/drawing/2014/main" id="{2FDB2A95-FC5A-3B49-AC00-7E6AA87F6AB3}"/>
                </a:ext>
              </a:extLst>
            </p:cNvPr>
            <p:cNvSpPr>
              <a:spLocks/>
            </p:cNvSpPr>
            <p:nvPr/>
          </p:nvSpPr>
          <p:spPr bwMode="auto">
            <a:xfrm>
              <a:off x="2404" y="2994"/>
              <a:ext cx="58" cy="58"/>
            </a:xfrm>
            <a:custGeom>
              <a:avLst/>
              <a:gdLst>
                <a:gd name="T0" fmla="*/ 128 w 128"/>
                <a:gd name="T1" fmla="*/ 46 h 129"/>
                <a:gd name="T2" fmla="*/ 79 w 128"/>
                <a:gd name="T3" fmla="*/ 0 h 129"/>
                <a:gd name="T4" fmla="*/ 0 w 128"/>
                <a:gd name="T5" fmla="*/ 82 h 129"/>
                <a:gd name="T6" fmla="*/ 26 w 128"/>
                <a:gd name="T7" fmla="*/ 101 h 129"/>
                <a:gd name="T8" fmla="*/ 49 w 128"/>
                <a:gd name="T9" fmla="*/ 129 h 129"/>
                <a:gd name="T10" fmla="*/ 128 w 128"/>
                <a:gd name="T11" fmla="*/ 46 h 129"/>
              </a:gdLst>
              <a:ahLst/>
              <a:cxnLst>
                <a:cxn ang="0">
                  <a:pos x="T0" y="T1"/>
                </a:cxn>
                <a:cxn ang="0">
                  <a:pos x="T2" y="T3"/>
                </a:cxn>
                <a:cxn ang="0">
                  <a:pos x="T4" y="T5"/>
                </a:cxn>
                <a:cxn ang="0">
                  <a:pos x="T6" y="T7"/>
                </a:cxn>
                <a:cxn ang="0">
                  <a:pos x="T8" y="T9"/>
                </a:cxn>
                <a:cxn ang="0">
                  <a:pos x="T10" y="T11"/>
                </a:cxn>
              </a:cxnLst>
              <a:rect l="0" t="0" r="r" b="b"/>
              <a:pathLst>
                <a:path w="128" h="129">
                  <a:moveTo>
                    <a:pt x="128" y="46"/>
                  </a:moveTo>
                  <a:cubicBezTo>
                    <a:pt x="116" y="28"/>
                    <a:pt x="79" y="0"/>
                    <a:pt x="79" y="0"/>
                  </a:cubicBezTo>
                  <a:cubicBezTo>
                    <a:pt x="0" y="82"/>
                    <a:pt x="0" y="82"/>
                    <a:pt x="0" y="82"/>
                  </a:cubicBezTo>
                  <a:cubicBezTo>
                    <a:pt x="0" y="82"/>
                    <a:pt x="18" y="92"/>
                    <a:pt x="26" y="101"/>
                  </a:cubicBezTo>
                  <a:cubicBezTo>
                    <a:pt x="34" y="109"/>
                    <a:pt x="49" y="129"/>
                    <a:pt x="49" y="129"/>
                  </a:cubicBezTo>
                  <a:lnTo>
                    <a:pt x="128" y="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4" name="Freeform 62">
              <a:extLst>
                <a:ext uri="{FF2B5EF4-FFF2-40B4-BE49-F238E27FC236}">
                  <a16:creationId xmlns:a16="http://schemas.microsoft.com/office/drawing/2014/main" id="{7ADE7E84-0F4F-CB4E-916E-F50D40EF8D89}"/>
                </a:ext>
              </a:extLst>
            </p:cNvPr>
            <p:cNvSpPr>
              <a:spLocks/>
            </p:cNvSpPr>
            <p:nvPr/>
          </p:nvSpPr>
          <p:spPr bwMode="auto">
            <a:xfrm>
              <a:off x="1842" y="2904"/>
              <a:ext cx="576" cy="590"/>
            </a:xfrm>
            <a:custGeom>
              <a:avLst/>
              <a:gdLst>
                <a:gd name="T0" fmla="*/ 1166 w 1272"/>
                <a:gd name="T1" fmla="*/ 265 h 1301"/>
                <a:gd name="T2" fmla="*/ 1167 w 1272"/>
                <a:gd name="T3" fmla="*/ 262 h 1301"/>
                <a:gd name="T4" fmla="*/ 1272 w 1272"/>
                <a:gd name="T5" fmla="*/ 154 h 1301"/>
                <a:gd name="T6" fmla="*/ 800 w 1272"/>
                <a:gd name="T7" fmla="*/ 0 h 1301"/>
                <a:gd name="T8" fmla="*/ 0 w 1272"/>
                <a:gd name="T9" fmla="*/ 806 h 1301"/>
                <a:gd name="T10" fmla="*/ 175 w 1272"/>
                <a:gd name="T11" fmla="*/ 1301 h 1301"/>
                <a:gd name="T12" fmla="*/ 285 w 1272"/>
                <a:gd name="T13" fmla="*/ 1183 h 1301"/>
                <a:gd name="T14" fmla="*/ 284 w 1272"/>
                <a:gd name="T15" fmla="*/ 392 h 1301"/>
                <a:gd name="T16" fmla="*/ 411 w 1272"/>
                <a:gd name="T17" fmla="*/ 265 h 1301"/>
                <a:gd name="T18" fmla="*/ 1166 w 1272"/>
                <a:gd name="T19" fmla="*/ 265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2" h="1301">
                  <a:moveTo>
                    <a:pt x="1166" y="265"/>
                  </a:moveTo>
                  <a:cubicBezTo>
                    <a:pt x="1167" y="262"/>
                    <a:pt x="1167" y="262"/>
                    <a:pt x="1167" y="262"/>
                  </a:cubicBezTo>
                  <a:cubicBezTo>
                    <a:pt x="1272" y="154"/>
                    <a:pt x="1272" y="154"/>
                    <a:pt x="1272" y="154"/>
                  </a:cubicBezTo>
                  <a:cubicBezTo>
                    <a:pt x="1272" y="154"/>
                    <a:pt x="1079" y="0"/>
                    <a:pt x="800" y="0"/>
                  </a:cubicBezTo>
                  <a:cubicBezTo>
                    <a:pt x="463" y="0"/>
                    <a:pt x="0" y="242"/>
                    <a:pt x="0" y="806"/>
                  </a:cubicBezTo>
                  <a:cubicBezTo>
                    <a:pt x="0" y="1105"/>
                    <a:pt x="175" y="1301"/>
                    <a:pt x="175" y="1301"/>
                  </a:cubicBezTo>
                  <a:cubicBezTo>
                    <a:pt x="285" y="1183"/>
                    <a:pt x="285" y="1183"/>
                    <a:pt x="285" y="1183"/>
                  </a:cubicBezTo>
                  <a:cubicBezTo>
                    <a:pt x="284" y="392"/>
                    <a:pt x="284" y="392"/>
                    <a:pt x="284" y="392"/>
                  </a:cubicBezTo>
                  <a:cubicBezTo>
                    <a:pt x="299" y="263"/>
                    <a:pt x="411" y="265"/>
                    <a:pt x="411" y="265"/>
                  </a:cubicBezTo>
                  <a:cubicBezTo>
                    <a:pt x="1166" y="265"/>
                    <a:pt x="1166" y="265"/>
                    <a:pt x="1166" y="2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5" name="Freeform 63">
              <a:extLst>
                <a:ext uri="{FF2B5EF4-FFF2-40B4-BE49-F238E27FC236}">
                  <a16:creationId xmlns:a16="http://schemas.microsoft.com/office/drawing/2014/main" id="{9FED052C-A4F3-4A4B-A508-72473273804D}"/>
                </a:ext>
              </a:extLst>
            </p:cNvPr>
            <p:cNvSpPr>
              <a:spLocks/>
            </p:cNvSpPr>
            <p:nvPr/>
          </p:nvSpPr>
          <p:spPr bwMode="auto">
            <a:xfrm>
              <a:off x="1941" y="3479"/>
              <a:ext cx="56" cy="59"/>
            </a:xfrm>
            <a:custGeom>
              <a:avLst/>
              <a:gdLst>
                <a:gd name="T0" fmla="*/ 80 w 125"/>
                <a:gd name="T1" fmla="*/ 0 h 131"/>
                <a:gd name="T2" fmla="*/ 125 w 125"/>
                <a:gd name="T3" fmla="*/ 51 h 131"/>
                <a:gd name="T4" fmla="*/ 48 w 125"/>
                <a:gd name="T5" fmla="*/ 131 h 131"/>
                <a:gd name="T6" fmla="*/ 0 w 125"/>
                <a:gd name="T7" fmla="*/ 84 h 131"/>
                <a:gd name="T8" fmla="*/ 80 w 125"/>
                <a:gd name="T9" fmla="*/ 0 h 131"/>
              </a:gdLst>
              <a:ahLst/>
              <a:cxnLst>
                <a:cxn ang="0">
                  <a:pos x="T0" y="T1"/>
                </a:cxn>
                <a:cxn ang="0">
                  <a:pos x="T2" y="T3"/>
                </a:cxn>
                <a:cxn ang="0">
                  <a:pos x="T4" y="T5"/>
                </a:cxn>
                <a:cxn ang="0">
                  <a:pos x="T6" y="T7"/>
                </a:cxn>
                <a:cxn ang="0">
                  <a:pos x="T8" y="T9"/>
                </a:cxn>
              </a:cxnLst>
              <a:rect l="0" t="0" r="r" b="b"/>
              <a:pathLst>
                <a:path w="125" h="131">
                  <a:moveTo>
                    <a:pt x="80" y="0"/>
                  </a:moveTo>
                  <a:cubicBezTo>
                    <a:pt x="80" y="0"/>
                    <a:pt x="84" y="23"/>
                    <a:pt x="125" y="51"/>
                  </a:cubicBezTo>
                  <a:cubicBezTo>
                    <a:pt x="48" y="131"/>
                    <a:pt x="48" y="131"/>
                    <a:pt x="48" y="131"/>
                  </a:cubicBezTo>
                  <a:cubicBezTo>
                    <a:pt x="48" y="131"/>
                    <a:pt x="5" y="93"/>
                    <a:pt x="0" y="84"/>
                  </a:cubicBezTo>
                  <a:lnTo>
                    <a:pt x="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6" name="Freeform 64">
              <a:extLst>
                <a:ext uri="{FF2B5EF4-FFF2-40B4-BE49-F238E27FC236}">
                  <a16:creationId xmlns:a16="http://schemas.microsoft.com/office/drawing/2014/main" id="{9668CEC5-80F9-F343-BE0A-4CE4E0C6D9CC}"/>
                </a:ext>
              </a:extLst>
            </p:cNvPr>
            <p:cNvSpPr>
              <a:spLocks/>
            </p:cNvSpPr>
            <p:nvPr/>
          </p:nvSpPr>
          <p:spPr bwMode="auto">
            <a:xfrm>
              <a:off x="1356" y="2907"/>
              <a:ext cx="555" cy="724"/>
            </a:xfrm>
            <a:custGeom>
              <a:avLst/>
              <a:gdLst>
                <a:gd name="T0" fmla="*/ 0 w 1229"/>
                <a:gd name="T1" fmla="*/ 0 h 1598"/>
                <a:gd name="T2" fmla="*/ 0 w 1229"/>
                <a:gd name="T3" fmla="*/ 1374 h 1598"/>
                <a:gd name="T4" fmla="*/ 198 w 1229"/>
                <a:gd name="T5" fmla="*/ 1598 h 1598"/>
                <a:gd name="T6" fmla="*/ 1229 w 1229"/>
                <a:gd name="T7" fmla="*/ 1598 h 1598"/>
                <a:gd name="T8" fmla="*/ 1022 w 1229"/>
                <a:gd name="T9" fmla="*/ 1375 h 1598"/>
                <a:gd name="T10" fmla="*/ 341 w 1229"/>
                <a:gd name="T11" fmla="*/ 1374 h 1598"/>
                <a:gd name="T12" fmla="*/ 233 w 1229"/>
                <a:gd name="T13" fmla="*/ 1136 h 1598"/>
                <a:gd name="T14" fmla="*/ 233 w 1229"/>
                <a:gd name="T15" fmla="*/ 226 h 1598"/>
                <a:gd name="T16" fmla="*/ 0 w 1229"/>
                <a:gd name="T17" fmla="*/ 0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9" h="1598">
                  <a:moveTo>
                    <a:pt x="0" y="0"/>
                  </a:moveTo>
                  <a:cubicBezTo>
                    <a:pt x="0" y="0"/>
                    <a:pt x="0" y="1149"/>
                    <a:pt x="0" y="1374"/>
                  </a:cubicBezTo>
                  <a:cubicBezTo>
                    <a:pt x="0" y="1598"/>
                    <a:pt x="198" y="1598"/>
                    <a:pt x="198" y="1598"/>
                  </a:cubicBezTo>
                  <a:cubicBezTo>
                    <a:pt x="198" y="1598"/>
                    <a:pt x="1229" y="1598"/>
                    <a:pt x="1229" y="1598"/>
                  </a:cubicBezTo>
                  <a:cubicBezTo>
                    <a:pt x="1229" y="1598"/>
                    <a:pt x="1215" y="1375"/>
                    <a:pt x="1022" y="1375"/>
                  </a:cubicBezTo>
                  <a:cubicBezTo>
                    <a:pt x="822" y="1375"/>
                    <a:pt x="341" y="1374"/>
                    <a:pt x="341" y="1374"/>
                  </a:cubicBezTo>
                  <a:cubicBezTo>
                    <a:pt x="222" y="1374"/>
                    <a:pt x="233" y="1238"/>
                    <a:pt x="233" y="1136"/>
                  </a:cubicBezTo>
                  <a:cubicBezTo>
                    <a:pt x="233" y="1036"/>
                    <a:pt x="233" y="409"/>
                    <a:pt x="233" y="226"/>
                  </a:cubicBezTo>
                  <a:cubicBezTo>
                    <a:pt x="233" y="16"/>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7" name="Freeform 65">
              <a:extLst>
                <a:ext uri="{FF2B5EF4-FFF2-40B4-BE49-F238E27FC236}">
                  <a16:creationId xmlns:a16="http://schemas.microsoft.com/office/drawing/2014/main" id="{EE9B2C99-ED19-114F-BBB5-95D6FC811E99}"/>
                </a:ext>
              </a:extLst>
            </p:cNvPr>
            <p:cNvSpPr>
              <a:spLocks/>
            </p:cNvSpPr>
            <p:nvPr/>
          </p:nvSpPr>
          <p:spPr bwMode="auto">
            <a:xfrm>
              <a:off x="0" y="2903"/>
              <a:ext cx="681" cy="728"/>
            </a:xfrm>
            <a:custGeom>
              <a:avLst/>
              <a:gdLst>
                <a:gd name="T0" fmla="*/ 898 w 1506"/>
                <a:gd name="T1" fmla="*/ 213 h 1607"/>
                <a:gd name="T2" fmla="*/ 866 w 1506"/>
                <a:gd name="T3" fmla="*/ 286 h 1607"/>
                <a:gd name="T4" fmla="*/ 866 w 1506"/>
                <a:gd name="T5" fmla="*/ 1607 h 1607"/>
                <a:gd name="T6" fmla="*/ 635 w 1506"/>
                <a:gd name="T7" fmla="*/ 1380 h 1607"/>
                <a:gd name="T8" fmla="*/ 635 w 1506"/>
                <a:gd name="T9" fmla="*/ 287 h 1607"/>
                <a:gd name="T10" fmla="*/ 608 w 1506"/>
                <a:gd name="T11" fmla="*/ 216 h 1607"/>
                <a:gd name="T12" fmla="*/ 536 w 1506"/>
                <a:gd name="T13" fmla="*/ 188 h 1607"/>
                <a:gd name="T14" fmla="*/ 253 w 1506"/>
                <a:gd name="T15" fmla="*/ 188 h 1607"/>
                <a:gd name="T16" fmla="*/ 0 w 1506"/>
                <a:gd name="T17" fmla="*/ 0 h 1607"/>
                <a:gd name="T18" fmla="*/ 1506 w 1506"/>
                <a:gd name="T19" fmla="*/ 0 h 1607"/>
                <a:gd name="T20" fmla="*/ 1253 w 1506"/>
                <a:gd name="T21" fmla="*/ 190 h 1607"/>
                <a:gd name="T22" fmla="*/ 965 w 1506"/>
                <a:gd name="T23" fmla="*/ 188 h 1607"/>
                <a:gd name="T24" fmla="*/ 898 w 1506"/>
                <a:gd name="T25" fmla="*/ 213 h 1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06" h="1607">
                  <a:moveTo>
                    <a:pt x="898" y="213"/>
                  </a:moveTo>
                  <a:cubicBezTo>
                    <a:pt x="868" y="241"/>
                    <a:pt x="866" y="286"/>
                    <a:pt x="866" y="286"/>
                  </a:cubicBezTo>
                  <a:cubicBezTo>
                    <a:pt x="866" y="1607"/>
                    <a:pt x="866" y="1607"/>
                    <a:pt x="866" y="1607"/>
                  </a:cubicBezTo>
                  <a:cubicBezTo>
                    <a:pt x="866" y="1607"/>
                    <a:pt x="635" y="1596"/>
                    <a:pt x="635" y="1380"/>
                  </a:cubicBezTo>
                  <a:cubicBezTo>
                    <a:pt x="635" y="1206"/>
                    <a:pt x="635" y="287"/>
                    <a:pt x="635" y="287"/>
                  </a:cubicBezTo>
                  <a:cubicBezTo>
                    <a:pt x="635" y="287"/>
                    <a:pt x="639" y="255"/>
                    <a:pt x="608" y="216"/>
                  </a:cubicBezTo>
                  <a:cubicBezTo>
                    <a:pt x="582" y="182"/>
                    <a:pt x="536" y="188"/>
                    <a:pt x="536" y="188"/>
                  </a:cubicBezTo>
                  <a:cubicBezTo>
                    <a:pt x="536" y="188"/>
                    <a:pt x="365" y="188"/>
                    <a:pt x="253" y="188"/>
                  </a:cubicBezTo>
                  <a:cubicBezTo>
                    <a:pt x="26" y="188"/>
                    <a:pt x="0" y="0"/>
                    <a:pt x="0" y="0"/>
                  </a:cubicBezTo>
                  <a:cubicBezTo>
                    <a:pt x="1506" y="0"/>
                    <a:pt x="1506" y="0"/>
                    <a:pt x="1506" y="0"/>
                  </a:cubicBezTo>
                  <a:cubicBezTo>
                    <a:pt x="1506" y="0"/>
                    <a:pt x="1472" y="190"/>
                    <a:pt x="1253" y="190"/>
                  </a:cubicBezTo>
                  <a:cubicBezTo>
                    <a:pt x="965" y="188"/>
                    <a:pt x="965" y="188"/>
                    <a:pt x="965" y="188"/>
                  </a:cubicBezTo>
                  <a:cubicBezTo>
                    <a:pt x="965" y="188"/>
                    <a:pt x="927" y="185"/>
                    <a:pt x="898" y="2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sp>
          <p:nvSpPr>
            <p:cNvPr id="288" name="Freeform 66">
              <a:extLst>
                <a:ext uri="{FF2B5EF4-FFF2-40B4-BE49-F238E27FC236}">
                  <a16:creationId xmlns:a16="http://schemas.microsoft.com/office/drawing/2014/main" id="{48579A31-6990-9842-8E7E-247574380D92}"/>
                </a:ext>
              </a:extLst>
            </p:cNvPr>
            <p:cNvSpPr>
              <a:spLocks/>
            </p:cNvSpPr>
            <p:nvPr/>
          </p:nvSpPr>
          <p:spPr bwMode="auto">
            <a:xfrm>
              <a:off x="654" y="2898"/>
              <a:ext cx="617" cy="736"/>
            </a:xfrm>
            <a:custGeom>
              <a:avLst/>
              <a:gdLst>
                <a:gd name="T0" fmla="*/ 756 w 1364"/>
                <a:gd name="T1" fmla="*/ 188 h 1624"/>
                <a:gd name="T2" fmla="*/ 326 w 1364"/>
                <a:gd name="T3" fmla="*/ 188 h 1624"/>
                <a:gd name="T4" fmla="*/ 200 w 1364"/>
                <a:gd name="T5" fmla="*/ 15 h 1624"/>
                <a:gd name="T6" fmla="*/ 636 w 1364"/>
                <a:gd name="T7" fmla="*/ 15 h 1624"/>
                <a:gd name="T8" fmla="*/ 766 w 1364"/>
                <a:gd name="T9" fmla="*/ 13 h 1624"/>
                <a:gd name="T10" fmla="*/ 1362 w 1364"/>
                <a:gd name="T11" fmla="*/ 450 h 1624"/>
                <a:gd name="T12" fmla="*/ 1364 w 1364"/>
                <a:gd name="T13" fmla="*/ 1619 h 1624"/>
                <a:gd name="T14" fmla="*/ 1190 w 1364"/>
                <a:gd name="T15" fmla="*/ 1527 h 1624"/>
                <a:gd name="T16" fmla="*/ 978 w 1364"/>
                <a:gd name="T17" fmla="*/ 1617 h 1624"/>
                <a:gd name="T18" fmla="*/ 361 w 1364"/>
                <a:gd name="T19" fmla="*/ 1617 h 1624"/>
                <a:gd name="T20" fmla="*/ 35 w 1364"/>
                <a:gd name="T21" fmla="*/ 1390 h 1624"/>
                <a:gd name="T22" fmla="*/ 52 w 1364"/>
                <a:gd name="T23" fmla="*/ 1035 h 1624"/>
                <a:gd name="T24" fmla="*/ 505 w 1364"/>
                <a:gd name="T25" fmla="*/ 670 h 1624"/>
                <a:gd name="T26" fmla="*/ 1090 w 1364"/>
                <a:gd name="T27" fmla="*/ 670 h 1624"/>
                <a:gd name="T28" fmla="*/ 1090 w 1364"/>
                <a:gd name="T29" fmla="*/ 865 h 1624"/>
                <a:gd name="T30" fmla="*/ 567 w 1364"/>
                <a:gd name="T31" fmla="*/ 865 h 1624"/>
                <a:gd name="T32" fmla="*/ 450 w 1364"/>
                <a:gd name="T33" fmla="*/ 1427 h 1624"/>
                <a:gd name="T34" fmla="*/ 923 w 1364"/>
                <a:gd name="T35" fmla="*/ 1427 h 1624"/>
                <a:gd name="T36" fmla="*/ 1150 w 1364"/>
                <a:gd name="T37" fmla="*/ 1213 h 1624"/>
                <a:gd name="T38" fmla="*/ 1152 w 1364"/>
                <a:gd name="T39" fmla="*/ 865 h 1624"/>
                <a:gd name="T40" fmla="*/ 1152 w 1364"/>
                <a:gd name="T41" fmla="*/ 670 h 1624"/>
                <a:gd name="T42" fmla="*/ 1150 w 1364"/>
                <a:gd name="T43" fmla="*/ 435 h 1624"/>
                <a:gd name="T44" fmla="*/ 906 w 1364"/>
                <a:gd name="T45" fmla="*/ 187 h 1624"/>
                <a:gd name="T46" fmla="*/ 756 w 1364"/>
                <a:gd name="T47" fmla="*/ 18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64" h="1624">
                  <a:moveTo>
                    <a:pt x="756" y="188"/>
                  </a:moveTo>
                  <a:cubicBezTo>
                    <a:pt x="557" y="188"/>
                    <a:pt x="326" y="188"/>
                    <a:pt x="326" y="188"/>
                  </a:cubicBezTo>
                  <a:cubicBezTo>
                    <a:pt x="326" y="188"/>
                    <a:pt x="221" y="146"/>
                    <a:pt x="200" y="15"/>
                  </a:cubicBezTo>
                  <a:cubicBezTo>
                    <a:pt x="200" y="15"/>
                    <a:pt x="420" y="15"/>
                    <a:pt x="636" y="15"/>
                  </a:cubicBezTo>
                  <a:cubicBezTo>
                    <a:pt x="766" y="13"/>
                    <a:pt x="766" y="13"/>
                    <a:pt x="766" y="13"/>
                  </a:cubicBezTo>
                  <a:cubicBezTo>
                    <a:pt x="1271" y="0"/>
                    <a:pt x="1361" y="226"/>
                    <a:pt x="1362" y="450"/>
                  </a:cubicBezTo>
                  <a:cubicBezTo>
                    <a:pt x="1364" y="1619"/>
                    <a:pt x="1364" y="1619"/>
                    <a:pt x="1364" y="1619"/>
                  </a:cubicBezTo>
                  <a:cubicBezTo>
                    <a:pt x="1364" y="1619"/>
                    <a:pt x="1251" y="1590"/>
                    <a:pt x="1190" y="1527"/>
                  </a:cubicBezTo>
                  <a:cubicBezTo>
                    <a:pt x="1190" y="1527"/>
                    <a:pt x="1140" y="1608"/>
                    <a:pt x="978" y="1617"/>
                  </a:cubicBezTo>
                  <a:cubicBezTo>
                    <a:pt x="837" y="1624"/>
                    <a:pt x="446" y="1617"/>
                    <a:pt x="361" y="1617"/>
                  </a:cubicBezTo>
                  <a:cubicBezTo>
                    <a:pt x="227" y="1617"/>
                    <a:pt x="77" y="1549"/>
                    <a:pt x="35" y="1390"/>
                  </a:cubicBezTo>
                  <a:cubicBezTo>
                    <a:pt x="0" y="1255"/>
                    <a:pt x="20" y="1111"/>
                    <a:pt x="52" y="1035"/>
                  </a:cubicBezTo>
                  <a:cubicBezTo>
                    <a:pt x="102" y="915"/>
                    <a:pt x="250" y="670"/>
                    <a:pt x="505" y="670"/>
                  </a:cubicBezTo>
                  <a:cubicBezTo>
                    <a:pt x="665" y="670"/>
                    <a:pt x="1090" y="670"/>
                    <a:pt x="1090" y="670"/>
                  </a:cubicBezTo>
                  <a:cubicBezTo>
                    <a:pt x="1090" y="865"/>
                    <a:pt x="1090" y="865"/>
                    <a:pt x="1090" y="865"/>
                  </a:cubicBezTo>
                  <a:cubicBezTo>
                    <a:pt x="567" y="865"/>
                    <a:pt x="567" y="865"/>
                    <a:pt x="567" y="865"/>
                  </a:cubicBezTo>
                  <a:cubicBezTo>
                    <a:pt x="178" y="841"/>
                    <a:pt x="86" y="1469"/>
                    <a:pt x="450" y="1427"/>
                  </a:cubicBezTo>
                  <a:cubicBezTo>
                    <a:pt x="923" y="1427"/>
                    <a:pt x="923" y="1427"/>
                    <a:pt x="923" y="1427"/>
                  </a:cubicBezTo>
                  <a:cubicBezTo>
                    <a:pt x="1142" y="1427"/>
                    <a:pt x="1150" y="1213"/>
                    <a:pt x="1150" y="1213"/>
                  </a:cubicBezTo>
                  <a:cubicBezTo>
                    <a:pt x="1152" y="865"/>
                    <a:pt x="1152" y="865"/>
                    <a:pt x="1152" y="865"/>
                  </a:cubicBezTo>
                  <a:cubicBezTo>
                    <a:pt x="1152" y="670"/>
                    <a:pt x="1152" y="670"/>
                    <a:pt x="1152" y="670"/>
                  </a:cubicBezTo>
                  <a:cubicBezTo>
                    <a:pt x="1150" y="435"/>
                    <a:pt x="1150" y="435"/>
                    <a:pt x="1150" y="435"/>
                  </a:cubicBezTo>
                  <a:cubicBezTo>
                    <a:pt x="1150" y="230"/>
                    <a:pt x="946" y="188"/>
                    <a:pt x="906" y="187"/>
                  </a:cubicBezTo>
                  <a:cubicBezTo>
                    <a:pt x="859" y="186"/>
                    <a:pt x="756" y="188"/>
                    <a:pt x="756" y="1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ctr" defTabSz="457117"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a:ln>
                  <a:noFill/>
                </a:ln>
                <a:solidFill>
                  <a:srgbClr val="005073"/>
                </a:solidFill>
                <a:effectLst/>
                <a:uLnTx/>
                <a:uFillTx/>
                <a:latin typeface="CiscoSansTT ExtraLight"/>
                <a:ea typeface="+mn-ea"/>
                <a:cs typeface="CiscoSansTT Light"/>
              </a:endParaRPr>
            </a:p>
          </p:txBody>
        </p:sp>
      </p:grpSp>
      <p:sp>
        <p:nvSpPr>
          <p:cNvPr id="87" name="Google Shape;1102;p83">
            <a:extLst>
              <a:ext uri="{FF2B5EF4-FFF2-40B4-BE49-F238E27FC236}">
                <a16:creationId xmlns:a16="http://schemas.microsoft.com/office/drawing/2014/main" id="{10FCE431-2573-BA48-A624-876A05DC1287}"/>
              </a:ext>
            </a:extLst>
          </p:cNvPr>
          <p:cNvSpPr txBox="1"/>
          <p:nvPr/>
        </p:nvSpPr>
        <p:spPr>
          <a:xfrm>
            <a:off x="3329430" y="2333369"/>
            <a:ext cx="1581195" cy="1038746"/>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Endpoint Protection, Detection and Response</a:t>
            </a:r>
          </a:p>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Multi-Factor Authentication </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a:p>
            <a:pPr marL="0" marR="0" lvl="0" indent="0" algn="l" defTabSz="914400" rtl="0" eaLnBrk="1" fontAlgn="auto" latinLnBrk="0" hangingPunct="1">
              <a:lnSpc>
                <a:spcPct val="100000"/>
              </a:lnSpc>
              <a:spcBef>
                <a:spcPts val="0"/>
              </a:spcBef>
              <a:spcAft>
                <a:spcPts val="6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Email Security</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p:txBody>
      </p:sp>
      <p:sp>
        <p:nvSpPr>
          <p:cNvPr id="88" name="Google Shape;1102;p83">
            <a:extLst>
              <a:ext uri="{FF2B5EF4-FFF2-40B4-BE49-F238E27FC236}">
                <a16:creationId xmlns:a16="http://schemas.microsoft.com/office/drawing/2014/main" id="{46E198E7-B03F-A448-A270-A499849178F3}"/>
              </a:ext>
            </a:extLst>
          </p:cNvPr>
          <p:cNvSpPr txBox="1"/>
          <p:nvPr/>
        </p:nvSpPr>
        <p:spPr>
          <a:xfrm>
            <a:off x="5251680" y="2307721"/>
            <a:ext cx="1581195" cy="1064394"/>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4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Cloud Access Security</a:t>
            </a:r>
          </a:p>
          <a:p>
            <a:pPr marL="0" marR="0" lvl="0" indent="0" algn="l" defTabSz="914400" rtl="0" eaLnBrk="1" fontAlgn="auto" latinLnBrk="0" hangingPunct="1">
              <a:lnSpc>
                <a:spcPct val="100000"/>
              </a:lnSpc>
              <a:spcBef>
                <a:spcPts val="0"/>
              </a:spcBef>
              <a:spcAft>
                <a:spcPts val="4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DNS-Layer Security</a:t>
            </a:r>
          </a:p>
          <a:p>
            <a:pPr marL="0" marR="0" lvl="0" indent="0" algn="l" defTabSz="914400" rtl="0" eaLnBrk="1" fontAlgn="auto" latinLnBrk="0" hangingPunct="1">
              <a:lnSpc>
                <a:spcPct val="100000"/>
              </a:lnSpc>
              <a:spcBef>
                <a:spcPts val="0"/>
              </a:spcBef>
              <a:spcAft>
                <a:spcPts val="4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Secure Web Gateway</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a:p>
            <a:pPr marL="0" marR="0" lvl="0" indent="0" algn="l" defTabSz="914400" rtl="0" eaLnBrk="1" fontAlgn="auto" latinLnBrk="0" hangingPunct="1">
              <a:lnSpc>
                <a:spcPct val="100000"/>
              </a:lnSpc>
              <a:spcBef>
                <a:spcPts val="0"/>
              </a:spcBef>
              <a:spcAft>
                <a:spcPts val="4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Cloud-Delivered Firewall</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a:p>
            <a:pPr marL="0" marR="0" lvl="0" indent="0" algn="l" defTabSz="914400" rtl="0" eaLnBrk="1" fontAlgn="auto" latinLnBrk="0" hangingPunct="1">
              <a:lnSpc>
                <a:spcPct val="100000"/>
              </a:lnSpc>
              <a:spcBef>
                <a:spcPts val="0"/>
              </a:spcBef>
              <a:spcAft>
                <a:spcPts val="40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Cloud Analytics</a:t>
            </a:r>
            <a:endParaRPr kumimoji="0" lang="en-US" sz="140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endParaRPr>
          </a:p>
        </p:txBody>
      </p:sp>
      <p:sp>
        <p:nvSpPr>
          <p:cNvPr id="89" name="Google Shape;1102;p83">
            <a:extLst>
              <a:ext uri="{FF2B5EF4-FFF2-40B4-BE49-F238E27FC236}">
                <a16:creationId xmlns:a16="http://schemas.microsoft.com/office/drawing/2014/main" id="{60E550D9-04C5-FD41-A785-DBEE55E4AD20}"/>
              </a:ext>
            </a:extLst>
          </p:cNvPr>
          <p:cNvSpPr txBox="1"/>
          <p:nvPr/>
        </p:nvSpPr>
        <p:spPr>
          <a:xfrm>
            <a:off x="7104564" y="2312573"/>
            <a:ext cx="1581195" cy="161583"/>
          </a:xfrm>
          <a:prstGeom prst="rect">
            <a:avLst/>
          </a:prstGeom>
          <a:noFill/>
          <a:ln>
            <a:noFill/>
          </a:ln>
        </p:spPr>
        <p:txBody>
          <a:bodyPr spcFirstLastPara="1" wrap="square" lIns="0" tIns="0" rIns="0" bIns="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1050"/>
              <a:buFontTx/>
              <a:buNone/>
              <a:tabLst/>
              <a:defRPr/>
            </a:pPr>
            <a:r>
              <a:rPr kumimoji="0" lang="en-US" sz="1050" b="0" i="0" u="none" strike="noStrike" kern="0" cap="none" spc="0" normalizeH="0" baseline="0" noProof="0">
                <a:ln>
                  <a:noFill/>
                </a:ln>
                <a:solidFill>
                  <a:srgbClr val="0D274D"/>
                </a:solidFill>
                <a:effectLst/>
                <a:uLnTx/>
                <a:uFillTx/>
                <a:latin typeface="CiscoSansTT" panose="020B0503020201020303" pitchFamily="34" charset="0"/>
                <a:ea typeface="+mn-ea"/>
                <a:cs typeface="CiscoSansTT" panose="020B0503020201020303" pitchFamily="34" charset="0"/>
                <a:sym typeface="Arial"/>
              </a:rPr>
              <a:t>Workload Protection</a:t>
            </a:r>
          </a:p>
        </p:txBody>
      </p:sp>
      <p:grpSp>
        <p:nvGrpSpPr>
          <p:cNvPr id="90" name="Group 89">
            <a:extLst>
              <a:ext uri="{FF2B5EF4-FFF2-40B4-BE49-F238E27FC236}">
                <a16:creationId xmlns:a16="http://schemas.microsoft.com/office/drawing/2014/main" id="{5A568B8C-2B74-F743-BE28-51C82F275103}"/>
              </a:ext>
            </a:extLst>
          </p:cNvPr>
          <p:cNvGrpSpPr>
            <a:grpSpLocks/>
          </p:cNvGrpSpPr>
          <p:nvPr/>
        </p:nvGrpSpPr>
        <p:grpSpPr>
          <a:xfrm rot="16200000" flipV="1">
            <a:off x="6045427" y="2568897"/>
            <a:ext cx="1736889" cy="45719"/>
            <a:chOff x="1432190" y="3774859"/>
            <a:chExt cx="6753784" cy="53131"/>
          </a:xfrm>
        </p:grpSpPr>
        <p:cxnSp>
          <p:nvCxnSpPr>
            <p:cNvPr id="91" name="Straight Connector 90">
              <a:extLst>
                <a:ext uri="{FF2B5EF4-FFF2-40B4-BE49-F238E27FC236}">
                  <a16:creationId xmlns:a16="http://schemas.microsoft.com/office/drawing/2014/main" id="{C691275D-A5DD-B446-A269-74C17F63329D}"/>
                </a:ext>
              </a:extLst>
            </p:cNvPr>
            <p:cNvCxnSpPr/>
            <p:nvPr/>
          </p:nvCxnSpPr>
          <p:spPr>
            <a:xfrm>
              <a:off x="1432190" y="3774859"/>
              <a:ext cx="6421468" cy="0"/>
            </a:xfrm>
            <a:prstGeom prst="line">
              <a:avLst/>
            </a:prstGeom>
            <a:noFill/>
            <a:ln w="9525" cap="flat" cmpd="sng" algn="ctr">
              <a:solidFill>
                <a:schemeClr val="bg1">
                  <a:lumMod val="75000"/>
                </a:schemeClr>
              </a:solidFill>
              <a:prstDash val="solid"/>
            </a:ln>
            <a:effectLst/>
          </p:spPr>
        </p:cxnSp>
        <p:cxnSp>
          <p:nvCxnSpPr>
            <p:cNvPr id="92" name="Straight Connector 91">
              <a:extLst>
                <a:ext uri="{FF2B5EF4-FFF2-40B4-BE49-F238E27FC236}">
                  <a16:creationId xmlns:a16="http://schemas.microsoft.com/office/drawing/2014/main" id="{9675E5CC-2B60-7146-98AB-1AAF0DFCC998}"/>
                </a:ext>
              </a:extLst>
            </p:cNvPr>
            <p:cNvCxnSpPr/>
            <p:nvPr/>
          </p:nvCxnSpPr>
          <p:spPr>
            <a:xfrm>
              <a:off x="1764506" y="3827990"/>
              <a:ext cx="6421468" cy="0"/>
            </a:xfrm>
            <a:prstGeom prst="line">
              <a:avLst/>
            </a:prstGeom>
            <a:noFill/>
            <a:ln w="9525" cap="flat" cmpd="sng" algn="ctr">
              <a:solidFill>
                <a:schemeClr val="tx2"/>
              </a:solidFill>
              <a:prstDash val="solid"/>
            </a:ln>
            <a:effectLst/>
          </p:spPr>
        </p:cxnSp>
      </p:grpSp>
      <p:grpSp>
        <p:nvGrpSpPr>
          <p:cNvPr id="93" name="Group 92">
            <a:extLst>
              <a:ext uri="{FF2B5EF4-FFF2-40B4-BE49-F238E27FC236}">
                <a16:creationId xmlns:a16="http://schemas.microsoft.com/office/drawing/2014/main" id="{6FDB6E10-22C9-374B-B625-90015EA3DF7D}"/>
              </a:ext>
            </a:extLst>
          </p:cNvPr>
          <p:cNvGrpSpPr>
            <a:grpSpLocks/>
          </p:cNvGrpSpPr>
          <p:nvPr/>
        </p:nvGrpSpPr>
        <p:grpSpPr>
          <a:xfrm rot="16200000" flipV="1">
            <a:off x="4147485" y="2559035"/>
            <a:ext cx="1736889" cy="45719"/>
            <a:chOff x="1432190" y="3774859"/>
            <a:chExt cx="6753784" cy="53131"/>
          </a:xfrm>
        </p:grpSpPr>
        <p:cxnSp>
          <p:nvCxnSpPr>
            <p:cNvPr id="94" name="Straight Connector 93">
              <a:extLst>
                <a:ext uri="{FF2B5EF4-FFF2-40B4-BE49-F238E27FC236}">
                  <a16:creationId xmlns:a16="http://schemas.microsoft.com/office/drawing/2014/main" id="{E8CD68B6-81B9-1D4A-BD99-202E3B09C501}"/>
                </a:ext>
              </a:extLst>
            </p:cNvPr>
            <p:cNvCxnSpPr/>
            <p:nvPr/>
          </p:nvCxnSpPr>
          <p:spPr>
            <a:xfrm>
              <a:off x="1432190" y="3774859"/>
              <a:ext cx="6421468" cy="0"/>
            </a:xfrm>
            <a:prstGeom prst="line">
              <a:avLst/>
            </a:prstGeom>
            <a:noFill/>
            <a:ln w="9525" cap="flat" cmpd="sng" algn="ctr">
              <a:solidFill>
                <a:schemeClr val="bg1">
                  <a:lumMod val="75000"/>
                </a:schemeClr>
              </a:solidFill>
              <a:prstDash val="solid"/>
            </a:ln>
            <a:effectLst/>
          </p:spPr>
        </p:cxnSp>
        <p:cxnSp>
          <p:nvCxnSpPr>
            <p:cNvPr id="95" name="Straight Connector 94">
              <a:extLst>
                <a:ext uri="{FF2B5EF4-FFF2-40B4-BE49-F238E27FC236}">
                  <a16:creationId xmlns:a16="http://schemas.microsoft.com/office/drawing/2014/main" id="{E6A6A77B-B1F9-5947-A8BB-544F46A4D479}"/>
                </a:ext>
              </a:extLst>
            </p:cNvPr>
            <p:cNvCxnSpPr/>
            <p:nvPr/>
          </p:nvCxnSpPr>
          <p:spPr>
            <a:xfrm>
              <a:off x="1764506" y="3827990"/>
              <a:ext cx="6421468" cy="0"/>
            </a:xfrm>
            <a:prstGeom prst="line">
              <a:avLst/>
            </a:prstGeom>
            <a:noFill/>
            <a:ln w="9525" cap="flat" cmpd="sng" algn="ctr">
              <a:solidFill>
                <a:schemeClr val="tx2"/>
              </a:solidFill>
              <a:prstDash val="solid"/>
            </a:ln>
            <a:effectLst/>
          </p:spPr>
        </p:cxnSp>
      </p:grpSp>
      <p:grpSp>
        <p:nvGrpSpPr>
          <p:cNvPr id="96" name="Group 95">
            <a:extLst>
              <a:ext uri="{FF2B5EF4-FFF2-40B4-BE49-F238E27FC236}">
                <a16:creationId xmlns:a16="http://schemas.microsoft.com/office/drawing/2014/main" id="{7DCCE1E1-A0B1-F446-9A3C-D16FF2B6EFD9}"/>
              </a:ext>
            </a:extLst>
          </p:cNvPr>
          <p:cNvGrpSpPr>
            <a:grpSpLocks/>
          </p:cNvGrpSpPr>
          <p:nvPr/>
        </p:nvGrpSpPr>
        <p:grpSpPr>
          <a:xfrm rot="16200000" flipV="1">
            <a:off x="2234557" y="2557692"/>
            <a:ext cx="1736889" cy="45719"/>
            <a:chOff x="1432190" y="3774859"/>
            <a:chExt cx="6753784" cy="53131"/>
          </a:xfrm>
        </p:grpSpPr>
        <p:cxnSp>
          <p:nvCxnSpPr>
            <p:cNvPr id="97" name="Straight Connector 96">
              <a:extLst>
                <a:ext uri="{FF2B5EF4-FFF2-40B4-BE49-F238E27FC236}">
                  <a16:creationId xmlns:a16="http://schemas.microsoft.com/office/drawing/2014/main" id="{CFB57E26-A713-F845-950C-C1DF251F83C7}"/>
                </a:ext>
              </a:extLst>
            </p:cNvPr>
            <p:cNvCxnSpPr/>
            <p:nvPr/>
          </p:nvCxnSpPr>
          <p:spPr>
            <a:xfrm>
              <a:off x="1432190" y="3774859"/>
              <a:ext cx="6421468" cy="0"/>
            </a:xfrm>
            <a:prstGeom prst="line">
              <a:avLst/>
            </a:prstGeom>
            <a:noFill/>
            <a:ln w="9525" cap="flat" cmpd="sng" algn="ctr">
              <a:solidFill>
                <a:schemeClr val="bg1">
                  <a:lumMod val="75000"/>
                </a:schemeClr>
              </a:solidFill>
              <a:prstDash val="solid"/>
            </a:ln>
            <a:effectLst/>
          </p:spPr>
        </p:cxnSp>
        <p:cxnSp>
          <p:nvCxnSpPr>
            <p:cNvPr id="98" name="Straight Connector 97">
              <a:extLst>
                <a:ext uri="{FF2B5EF4-FFF2-40B4-BE49-F238E27FC236}">
                  <a16:creationId xmlns:a16="http://schemas.microsoft.com/office/drawing/2014/main" id="{47BB3E16-3388-A044-BA5B-ADF9D6CB3F7F}"/>
                </a:ext>
              </a:extLst>
            </p:cNvPr>
            <p:cNvCxnSpPr/>
            <p:nvPr/>
          </p:nvCxnSpPr>
          <p:spPr>
            <a:xfrm>
              <a:off x="1764506" y="3827990"/>
              <a:ext cx="6421468" cy="0"/>
            </a:xfrm>
            <a:prstGeom prst="line">
              <a:avLst/>
            </a:prstGeom>
            <a:noFill/>
            <a:ln w="9525" cap="flat" cmpd="sng" algn="ctr">
              <a:solidFill>
                <a:schemeClr val="tx2"/>
              </a:solidFill>
              <a:prstDash val="solid"/>
            </a:ln>
            <a:effectLst/>
          </p:spPr>
        </p:cxnSp>
      </p:grpSp>
      <p:sp>
        <p:nvSpPr>
          <p:cNvPr id="104" name="Isosceles Triangle 49">
            <a:extLst>
              <a:ext uri="{FF2B5EF4-FFF2-40B4-BE49-F238E27FC236}">
                <a16:creationId xmlns:a16="http://schemas.microsoft.com/office/drawing/2014/main" id="{CBCBA562-048C-9E40-9F06-0F067C93C33E}"/>
              </a:ext>
            </a:extLst>
          </p:cNvPr>
          <p:cNvSpPr/>
          <p:nvPr/>
        </p:nvSpPr>
        <p:spPr>
          <a:xfrm rot="20528918">
            <a:off x="878096" y="4045634"/>
            <a:ext cx="231768" cy="18399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chemeClr val="bg1"/>
          </a:solidFill>
          <a:ln w="12700" cap="rnd" cmpd="sng" algn="ctr">
            <a:solidFill>
              <a:srgbClr val="0D274D"/>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panose="020B0503020201020303" pitchFamily="34" charset="0"/>
              <a:ea typeface="ＭＳ Ｐゴシック" charset="0"/>
              <a:cs typeface="+mn-cs"/>
            </a:endParaRPr>
          </a:p>
        </p:txBody>
      </p:sp>
      <p:sp>
        <p:nvSpPr>
          <p:cNvPr id="59" name="Google Shape;1115;p83">
            <a:extLst>
              <a:ext uri="{FF2B5EF4-FFF2-40B4-BE49-F238E27FC236}">
                <a16:creationId xmlns:a16="http://schemas.microsoft.com/office/drawing/2014/main" id="{8FC4F317-4CBB-D447-BFFD-D69F08D98A86}"/>
              </a:ext>
            </a:extLst>
          </p:cNvPr>
          <p:cNvSpPr/>
          <p:nvPr/>
        </p:nvSpPr>
        <p:spPr>
          <a:xfrm>
            <a:off x="1523021" y="3685507"/>
            <a:ext cx="5309850" cy="290750"/>
          </a:xfrm>
          <a:prstGeom prst="roundRect">
            <a:avLst>
              <a:gd name="adj" fmla="val 50000"/>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050"/>
              <a:buFontTx/>
              <a:buNone/>
              <a:tabLst/>
              <a:defRPr/>
            </a:pPr>
            <a:r>
              <a:rPr kumimoji="0" lang="en-US" sz="1050" b="1" i="1" u="none" strike="noStrike" kern="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sym typeface="Arial"/>
              </a:rPr>
              <a:t> </a:t>
            </a:r>
            <a:r>
              <a:rPr kumimoji="0" lang="en-US" sz="1050" b="1" i="0" u="none" strike="noStrike" kern="0" cap="none" spc="0" normalizeH="0" baseline="0" noProof="0">
                <a:ln>
                  <a:noFill/>
                </a:ln>
                <a:solidFill>
                  <a:srgbClr val="FFFFFF"/>
                </a:solidFill>
                <a:effectLst/>
                <a:uLnTx/>
                <a:uFillTx/>
                <a:latin typeface="CiscoSansTT" panose="020B0503020201020303" pitchFamily="34" charset="0"/>
                <a:ea typeface="+mn-ea"/>
                <a:cs typeface="CiscoSansTT" panose="020B0503020201020303" pitchFamily="34" charset="0"/>
                <a:sym typeface="Arial"/>
              </a:rPr>
              <a:t>Malware Analytics</a:t>
            </a:r>
            <a:endParaRPr kumimoji="0" lang="en-US" sz="1400" b="0" i="0" u="none" strike="noStrike" kern="0" cap="none" spc="0" normalizeH="0" baseline="0" noProof="0">
              <a:ln>
                <a:noFill/>
              </a:ln>
              <a:solidFill>
                <a:srgbClr val="000000"/>
              </a:solidFill>
              <a:effectLst/>
              <a:uLnTx/>
              <a:uFillTx/>
              <a:latin typeface="CiscoSansTT" panose="020B0503020201020303" pitchFamily="34" charset="0"/>
              <a:ea typeface="+mn-ea"/>
              <a:cs typeface="CiscoSansTT" panose="020B0503020201020303" pitchFamily="34" charset="0"/>
              <a:sym typeface="Arial"/>
            </a:endParaRPr>
          </a:p>
        </p:txBody>
      </p:sp>
      <p:sp>
        <p:nvSpPr>
          <p:cNvPr id="2" name="Title 1">
            <a:extLst>
              <a:ext uri="{FF2B5EF4-FFF2-40B4-BE49-F238E27FC236}">
                <a16:creationId xmlns:a16="http://schemas.microsoft.com/office/drawing/2014/main" id="{98773129-5858-3949-80A8-2984AECF43E1}"/>
              </a:ext>
            </a:extLst>
          </p:cNvPr>
          <p:cNvSpPr>
            <a:spLocks noGrp="1"/>
          </p:cNvSpPr>
          <p:nvPr>
            <p:ph type="title"/>
          </p:nvPr>
        </p:nvSpPr>
        <p:spPr/>
        <p:txBody>
          <a:bodyPr/>
          <a:lstStyle/>
          <a:p>
            <a:r>
              <a:rPr lang="en-US"/>
              <a:t>And requires a </a:t>
            </a:r>
            <a:r>
              <a:rPr lang="en-US">
                <a:solidFill>
                  <a:schemeClr val="accent2"/>
                </a:solidFill>
                <a:latin typeface="CiscoSansTT" panose="020B0503020201020303" pitchFamily="34" charset="0"/>
                <a:cs typeface="CiscoSansTT" panose="020B0503020201020303" pitchFamily="34" charset="0"/>
              </a:rPr>
              <a:t>broad</a:t>
            </a:r>
            <a:r>
              <a:rPr lang="en-US">
                <a:solidFill>
                  <a:schemeClr val="accent2"/>
                </a:solidFill>
              </a:rPr>
              <a:t> </a:t>
            </a:r>
            <a:r>
              <a:rPr lang="en-US"/>
              <a:t>security portfolio </a:t>
            </a:r>
            <a:br>
              <a:rPr lang="en-US"/>
            </a:br>
            <a:r>
              <a:rPr lang="en-US" sz="1600"/>
              <a:t>Backed by </a:t>
            </a:r>
            <a:r>
              <a:rPr lang="en-US" sz="1600">
                <a:solidFill>
                  <a:schemeClr val="accent2"/>
                </a:solidFill>
                <a:latin typeface="CiscoSansTT" panose="020B0503020201020303" pitchFamily="34" charset="0"/>
                <a:cs typeface="CiscoSansTT" panose="020B0503020201020303" pitchFamily="34" charset="0"/>
              </a:rPr>
              <a:t>unrivaled</a:t>
            </a:r>
            <a:r>
              <a:rPr lang="en-US" sz="1600">
                <a:solidFill>
                  <a:schemeClr val="accent2"/>
                </a:solidFill>
              </a:rPr>
              <a:t> </a:t>
            </a:r>
            <a:r>
              <a:rPr lang="en-US" sz="1600"/>
              <a:t>threat intelligence</a:t>
            </a:r>
          </a:p>
        </p:txBody>
      </p:sp>
    </p:spTree>
    <p:extLst>
      <p:ext uri="{BB962C8B-B14F-4D97-AF65-F5344CB8AC3E}">
        <p14:creationId xmlns:p14="http://schemas.microsoft.com/office/powerpoint/2010/main" val="3110023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 name="Rectangle: Rounded Corners 513">
            <a:extLst>
              <a:ext uri="{FF2B5EF4-FFF2-40B4-BE49-F238E27FC236}">
                <a16:creationId xmlns:a16="http://schemas.microsoft.com/office/drawing/2014/main" id="{C68458D5-CE8E-403D-938F-630CC00BBCA9}"/>
              </a:ext>
            </a:extLst>
          </p:cNvPr>
          <p:cNvSpPr/>
          <p:nvPr/>
        </p:nvSpPr>
        <p:spPr>
          <a:xfrm>
            <a:off x="1388076" y="2013255"/>
            <a:ext cx="6455343" cy="2586005"/>
          </a:xfrm>
          <a:prstGeom prst="roundRect">
            <a:avLst>
              <a:gd name="adj" fmla="val 5380"/>
            </a:avLst>
          </a:prstGeom>
          <a:solidFill>
            <a:srgbClr val="FFFFFF"/>
          </a:solidFill>
          <a:ln w="28575" cap="rnd" cmpd="sng" algn="ctr">
            <a:solidFill>
              <a:schemeClr val="bg1">
                <a:lumMod val="75000"/>
              </a:schemeClr>
            </a:solidFill>
            <a:prstDash val="sysDot"/>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mj-lt"/>
              <a:ea typeface="+mn-ea"/>
              <a:cs typeface="+mn-cs"/>
            </a:endParaRPr>
          </a:p>
        </p:txBody>
      </p:sp>
      <p:sp>
        <p:nvSpPr>
          <p:cNvPr id="45" name="Rectangle 44">
            <a:extLst>
              <a:ext uri="{FF2B5EF4-FFF2-40B4-BE49-F238E27FC236}">
                <a16:creationId xmlns:a16="http://schemas.microsoft.com/office/drawing/2014/main" id="{962C8250-2000-5541-87F6-65EE0C145451}"/>
              </a:ext>
            </a:extLst>
          </p:cNvPr>
          <p:cNvSpPr/>
          <p:nvPr/>
        </p:nvSpPr>
        <p:spPr>
          <a:xfrm>
            <a:off x="3073940" y="4449522"/>
            <a:ext cx="2386520" cy="27812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Rectangle: Rounded Corners 515">
            <a:extLst>
              <a:ext uri="{FF2B5EF4-FFF2-40B4-BE49-F238E27FC236}">
                <a16:creationId xmlns:a16="http://schemas.microsoft.com/office/drawing/2014/main" id="{5E5CAFE9-8311-3F41-96AF-0A66E11FCE45}"/>
              </a:ext>
            </a:extLst>
          </p:cNvPr>
          <p:cNvSpPr/>
          <p:nvPr/>
        </p:nvSpPr>
        <p:spPr>
          <a:xfrm>
            <a:off x="2251516" y="1139605"/>
            <a:ext cx="4361283" cy="3093073"/>
          </a:xfrm>
          <a:prstGeom prst="roundRect">
            <a:avLst>
              <a:gd name="adj" fmla="val 3423"/>
            </a:avLst>
          </a:prstGeom>
          <a:solidFill>
            <a:schemeClr val="bg1"/>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a:p>
        </p:txBody>
      </p:sp>
      <p:sp>
        <p:nvSpPr>
          <p:cNvPr id="13" name="Rectangle 12">
            <a:extLst>
              <a:ext uri="{FF2B5EF4-FFF2-40B4-BE49-F238E27FC236}">
                <a16:creationId xmlns:a16="http://schemas.microsoft.com/office/drawing/2014/main" id="{59BE8F71-9561-6F4B-A7C2-CB17A95B392C}"/>
              </a:ext>
            </a:extLst>
          </p:cNvPr>
          <p:cNvSpPr/>
          <p:nvPr/>
        </p:nvSpPr>
        <p:spPr>
          <a:xfrm>
            <a:off x="1574594" y="4728469"/>
            <a:ext cx="4045462" cy="42244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0" name="Object 9" hidden="1">
            <a:extLst>
              <a:ext uri="{FF2B5EF4-FFF2-40B4-BE49-F238E27FC236}">
                <a16:creationId xmlns:a16="http://schemas.microsoft.com/office/drawing/2014/main" id="{DA811B38-7907-2A4B-94C2-140CBC5E03B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3418" name="think-cell Slide" r:id="rId6" imgW="7772400" imgH="10058400" progId="TCLayout.ActiveDocument.1">
                  <p:embed/>
                </p:oleObj>
              </mc:Choice>
              <mc:Fallback>
                <p:oleObj name="think-cell Slide" r:id="rId6" imgW="7772400" imgH="10058400" progId="TCLayout.ActiveDocument.1">
                  <p:embed/>
                  <p:pic>
                    <p:nvPicPr>
                      <p:cNvPr id="10" name="Object 9" hidden="1">
                        <a:extLst>
                          <a:ext uri="{FF2B5EF4-FFF2-40B4-BE49-F238E27FC236}">
                            <a16:creationId xmlns:a16="http://schemas.microsoft.com/office/drawing/2014/main" id="{DA811B38-7907-2A4B-94C2-140CBC5E03B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A043E2-5B76-2848-9C6C-3000F4C1C9B8}"/>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5073"/>
              </a:solidFill>
              <a:effectLst/>
              <a:uLnTx/>
              <a:uFillTx/>
              <a:latin typeface="CiscoSansTT Light" panose="020B0503020201020303" pitchFamily="34" charset="0"/>
              <a:ea typeface="+mn-ea"/>
              <a:cs typeface="+mn-cs"/>
              <a:sym typeface="CiscoSansTT Light" panose="020B0503020201020303" pitchFamily="34" charset="0"/>
            </a:endParaRPr>
          </a:p>
        </p:txBody>
      </p:sp>
      <p:sp>
        <p:nvSpPr>
          <p:cNvPr id="2" name="Title 1">
            <a:extLst>
              <a:ext uri="{FF2B5EF4-FFF2-40B4-BE49-F238E27FC236}">
                <a16:creationId xmlns:a16="http://schemas.microsoft.com/office/drawing/2014/main" id="{62485444-66F3-42B8-BF3C-FCAE5628BD84}"/>
              </a:ext>
            </a:extLst>
          </p:cNvPr>
          <p:cNvSpPr>
            <a:spLocks noGrp="1"/>
          </p:cNvSpPr>
          <p:nvPr>
            <p:ph type="title"/>
          </p:nvPr>
        </p:nvSpPr>
        <p:spPr/>
        <p:txBody>
          <a:bodyPr/>
          <a:lstStyle/>
          <a:p>
            <a:r>
              <a:rPr lang="en-US"/>
              <a:t>Introducing SecureX </a:t>
            </a:r>
            <a:br>
              <a:rPr lang="en-US"/>
            </a:br>
            <a:r>
              <a:rPr lang="en-US" sz="1600">
                <a:solidFill>
                  <a:srgbClr val="282828"/>
                </a:solidFill>
              </a:rPr>
              <a:t>A cloud-native, </a:t>
            </a:r>
            <a:r>
              <a:rPr lang="en-US" sz="1600">
                <a:solidFill>
                  <a:srgbClr val="74BF4B"/>
                </a:solidFill>
                <a:latin typeface="CiscoSansTT" panose="020B0503020201020303" pitchFamily="34" charset="0"/>
                <a:cs typeface="CiscoSansTT" panose="020B0503020201020303" pitchFamily="34" charset="0"/>
              </a:rPr>
              <a:t>built-in platform </a:t>
            </a:r>
            <a:r>
              <a:rPr lang="en-US" sz="1600"/>
              <a:t>experience</a:t>
            </a:r>
            <a:r>
              <a:rPr lang="en-US" sz="1600">
                <a:solidFill>
                  <a:srgbClr val="74BF4B"/>
                </a:solidFill>
              </a:rPr>
              <a:t> </a:t>
            </a:r>
            <a:r>
              <a:rPr lang="en-US" sz="1600">
                <a:solidFill>
                  <a:srgbClr val="282828"/>
                </a:solidFill>
              </a:rPr>
              <a:t>within our portfolio</a:t>
            </a:r>
            <a:endParaRPr lang="en-US" sz="1600">
              <a:solidFill>
                <a:schemeClr val="tx1"/>
              </a:solidFill>
            </a:endParaRPr>
          </a:p>
        </p:txBody>
      </p:sp>
      <p:grpSp>
        <p:nvGrpSpPr>
          <p:cNvPr id="7" name="Group 6">
            <a:extLst>
              <a:ext uri="{FF2B5EF4-FFF2-40B4-BE49-F238E27FC236}">
                <a16:creationId xmlns:a16="http://schemas.microsoft.com/office/drawing/2014/main" id="{E302708D-DC60-5741-853B-A3376FB78312}"/>
              </a:ext>
            </a:extLst>
          </p:cNvPr>
          <p:cNvGrpSpPr/>
          <p:nvPr/>
        </p:nvGrpSpPr>
        <p:grpSpPr>
          <a:xfrm>
            <a:off x="7006273" y="1193910"/>
            <a:ext cx="1645568" cy="1535730"/>
            <a:chOff x="5982130" y="1192230"/>
            <a:chExt cx="1645568" cy="1535730"/>
          </a:xfrm>
        </p:grpSpPr>
        <p:grpSp>
          <p:nvGrpSpPr>
            <p:cNvPr id="80" name="Group 79">
              <a:extLst>
                <a:ext uri="{FF2B5EF4-FFF2-40B4-BE49-F238E27FC236}">
                  <a16:creationId xmlns:a16="http://schemas.microsoft.com/office/drawing/2014/main" id="{8E46BF37-D0B0-42E0-BC6E-3207B1BDD9A4}"/>
                </a:ext>
              </a:extLst>
            </p:cNvPr>
            <p:cNvGrpSpPr/>
            <p:nvPr/>
          </p:nvGrpSpPr>
          <p:grpSpPr>
            <a:xfrm>
              <a:off x="5982130" y="1192230"/>
              <a:ext cx="1645568" cy="1535730"/>
              <a:chOff x="6179669" y="1192230"/>
              <a:chExt cx="1339038" cy="1535730"/>
            </a:xfrm>
          </p:grpSpPr>
          <p:sp>
            <p:nvSpPr>
              <p:cNvPr id="270" name="Rectangle: Rounded Corners 269">
                <a:extLst>
                  <a:ext uri="{FF2B5EF4-FFF2-40B4-BE49-F238E27FC236}">
                    <a16:creationId xmlns:a16="http://schemas.microsoft.com/office/drawing/2014/main" id="{E8F52C2E-1E4D-4521-A517-3E20552B6903}"/>
                  </a:ext>
                </a:extLst>
              </p:cNvPr>
              <p:cNvSpPr/>
              <p:nvPr/>
            </p:nvSpPr>
            <p:spPr>
              <a:xfrm>
                <a:off x="6179669" y="1280360"/>
                <a:ext cx="1339038" cy="1447600"/>
              </a:xfrm>
              <a:prstGeom prst="roundRect">
                <a:avLst>
                  <a:gd name="adj" fmla="val 5380"/>
                </a:avLst>
              </a:prstGeom>
              <a:solidFill>
                <a:srgbClr val="FFFFFF"/>
              </a:solidFill>
              <a:ln w="19050" cap="flat" cmpd="sng" algn="ctr">
                <a:solidFill>
                  <a:schemeClr val="accent3"/>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mj-lt"/>
                  <a:ea typeface="+mn-ea"/>
                  <a:cs typeface="+mn-cs"/>
                </a:endParaRPr>
              </a:p>
            </p:txBody>
          </p:sp>
          <p:sp>
            <p:nvSpPr>
              <p:cNvPr id="271" name="TextBox 270">
                <a:extLst>
                  <a:ext uri="{FF2B5EF4-FFF2-40B4-BE49-F238E27FC236}">
                    <a16:creationId xmlns:a16="http://schemas.microsoft.com/office/drawing/2014/main" id="{8AA15C7E-637F-4057-A3AA-8F3E11C0B3AC}"/>
                  </a:ext>
                </a:extLst>
              </p:cNvPr>
              <p:cNvSpPr txBox="1">
                <a:spLocks/>
              </p:cNvSpPr>
              <p:nvPr/>
            </p:nvSpPr>
            <p:spPr>
              <a:xfrm>
                <a:off x="6337497" y="1192230"/>
                <a:ext cx="1050345" cy="169277"/>
              </a:xfrm>
              <a:prstGeom prst="rect">
                <a:avLst/>
              </a:prstGeom>
              <a:solidFill>
                <a:srgbClr val="FFFFFF"/>
              </a:solidFill>
            </p:spPr>
            <p:txBody>
              <a:bodyPr wrap="square" lIns="0" tIns="0" rIns="0" bIns="0" rtlCol="0" anchor="ctr">
                <a:spAutoFit/>
              </a:bodyPr>
              <a:lstStyle/>
              <a:p>
                <a:pPr marL="0" marR="0" lvl="0" indent="0" algn="ctr" defTabSz="456974" rtl="0" eaLnBrk="1" fontAlgn="base" latinLnBrk="0" hangingPunct="1">
                  <a:lnSpc>
                    <a:spcPct val="100000"/>
                  </a:lnSpc>
                  <a:spcBef>
                    <a:spcPts val="100"/>
                  </a:spcBef>
                  <a:spcAft>
                    <a:spcPct val="0"/>
                  </a:spcAft>
                  <a:buClrTx/>
                  <a:buSzTx/>
                  <a:buFontTx/>
                  <a:buNone/>
                  <a:tabLst/>
                  <a:defRPr/>
                </a:pPr>
                <a:r>
                  <a:rPr lang="en-US" sz="1100" kern="0">
                    <a:solidFill>
                      <a:schemeClr val="accent3"/>
                    </a:solidFill>
                    <a:latin typeface="+mj-lt"/>
                    <a:ea typeface="ＭＳ Ｐゴシック" charset="0"/>
                    <a:cs typeface="CiscoSansTT" panose="020B0503020201020303" pitchFamily="34" charset="0"/>
                  </a:rPr>
                  <a:t>Your </a:t>
                </a:r>
                <a:r>
                  <a:rPr kumimoji="0" lang="en-US" sz="1100" b="0" i="0" u="none" strike="noStrike" kern="0" cap="none" spc="0" normalizeH="0" baseline="0" noProof="0">
                    <a:ln>
                      <a:noFill/>
                    </a:ln>
                    <a:solidFill>
                      <a:schemeClr val="accent3"/>
                    </a:solidFill>
                    <a:effectLst/>
                    <a:uLnTx/>
                    <a:uFillTx/>
                    <a:latin typeface="+mj-lt"/>
                    <a:ea typeface="ＭＳ Ｐゴシック" charset="0"/>
                    <a:cs typeface="CiscoSansTT" panose="020B0503020201020303" pitchFamily="34" charset="0"/>
                  </a:rPr>
                  <a:t>Infrastructure</a:t>
                </a:r>
              </a:p>
            </p:txBody>
          </p:sp>
        </p:grpSp>
        <p:grpSp>
          <p:nvGrpSpPr>
            <p:cNvPr id="6" name="Group 5">
              <a:extLst>
                <a:ext uri="{FF2B5EF4-FFF2-40B4-BE49-F238E27FC236}">
                  <a16:creationId xmlns:a16="http://schemas.microsoft.com/office/drawing/2014/main" id="{4FA9182A-1CCF-7449-892C-7FFE602E4606}"/>
                </a:ext>
              </a:extLst>
            </p:cNvPr>
            <p:cNvGrpSpPr/>
            <p:nvPr/>
          </p:nvGrpSpPr>
          <p:grpSpPr>
            <a:xfrm>
              <a:off x="6070335" y="1445509"/>
              <a:ext cx="1526066" cy="1178021"/>
              <a:chOff x="6070335" y="1445509"/>
              <a:chExt cx="1526066" cy="1178021"/>
            </a:xfrm>
          </p:grpSpPr>
          <p:grpSp>
            <p:nvGrpSpPr>
              <p:cNvPr id="291" name="Group 290">
                <a:extLst>
                  <a:ext uri="{FF2B5EF4-FFF2-40B4-BE49-F238E27FC236}">
                    <a16:creationId xmlns:a16="http://schemas.microsoft.com/office/drawing/2014/main" id="{D29E0C1D-3D2C-436F-9DCC-9A88A05DD36E}"/>
                  </a:ext>
                </a:extLst>
              </p:cNvPr>
              <p:cNvGrpSpPr/>
              <p:nvPr/>
            </p:nvGrpSpPr>
            <p:grpSpPr>
              <a:xfrm>
                <a:off x="6883367" y="2144770"/>
                <a:ext cx="620934" cy="478760"/>
                <a:chOff x="7724886" y="1656702"/>
                <a:chExt cx="629052" cy="478760"/>
              </a:xfrm>
            </p:grpSpPr>
            <p:sp>
              <p:nvSpPr>
                <p:cNvPr id="292" name="TextBox 291">
                  <a:extLst>
                    <a:ext uri="{FF2B5EF4-FFF2-40B4-BE49-F238E27FC236}">
                      <a16:creationId xmlns:a16="http://schemas.microsoft.com/office/drawing/2014/main" id="{E81A1B2A-7B5B-4207-9122-22CE94BEAFB4}"/>
                    </a:ext>
                  </a:extLst>
                </p:cNvPr>
                <p:cNvSpPr txBox="1">
                  <a:spLocks/>
                </p:cNvSpPr>
                <p:nvPr/>
              </p:nvSpPr>
              <p:spPr>
                <a:xfrm>
                  <a:off x="7724886" y="1986990"/>
                  <a:ext cx="629052" cy="148472"/>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SIEM/SOAR</a:t>
                  </a:r>
                </a:p>
              </p:txBody>
            </p:sp>
            <p:sp>
              <p:nvSpPr>
                <p:cNvPr id="293" name="Oval 292">
                  <a:extLst>
                    <a:ext uri="{FF2B5EF4-FFF2-40B4-BE49-F238E27FC236}">
                      <a16:creationId xmlns:a16="http://schemas.microsoft.com/office/drawing/2014/main" id="{13859C7F-D73C-49EB-8457-4ED55830FD93}"/>
                    </a:ext>
                  </a:extLst>
                </p:cNvPr>
                <p:cNvSpPr/>
                <p:nvPr/>
              </p:nvSpPr>
              <p:spPr>
                <a:xfrm>
                  <a:off x="7877832" y="1656702"/>
                  <a:ext cx="323161"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grpSp>
              <p:nvGrpSpPr>
                <p:cNvPr id="294" name="Group 293">
                  <a:extLst>
                    <a:ext uri="{FF2B5EF4-FFF2-40B4-BE49-F238E27FC236}">
                      <a16:creationId xmlns:a16="http://schemas.microsoft.com/office/drawing/2014/main" id="{81F0D3D7-687F-4A53-91FF-989DA17296A5}"/>
                    </a:ext>
                  </a:extLst>
                </p:cNvPr>
                <p:cNvGrpSpPr/>
                <p:nvPr/>
              </p:nvGrpSpPr>
              <p:grpSpPr>
                <a:xfrm>
                  <a:off x="7942758" y="1741723"/>
                  <a:ext cx="193308" cy="152979"/>
                  <a:chOff x="3596371" y="2865625"/>
                  <a:chExt cx="713422" cy="564832"/>
                </a:xfrm>
              </p:grpSpPr>
              <p:sp>
                <p:nvSpPr>
                  <p:cNvPr id="295" name="Graphic 139">
                    <a:extLst>
                      <a:ext uri="{FF2B5EF4-FFF2-40B4-BE49-F238E27FC236}">
                        <a16:creationId xmlns:a16="http://schemas.microsoft.com/office/drawing/2014/main" id="{A8CEC80B-FD91-4582-8E81-F3F839C471E9}"/>
                      </a:ext>
                    </a:extLst>
                  </p:cNvPr>
                  <p:cNvSpPr/>
                  <p:nvPr/>
                </p:nvSpPr>
                <p:spPr>
                  <a:xfrm>
                    <a:off x="3596371" y="2865625"/>
                    <a:ext cx="713422" cy="564832"/>
                  </a:xfrm>
                  <a:custGeom>
                    <a:avLst/>
                    <a:gdLst>
                      <a:gd name="connsiteX0" fmla="*/ 630555 w 713422"/>
                      <a:gd name="connsiteY0" fmla="*/ 564833 h 564832"/>
                      <a:gd name="connsiteX1" fmla="*/ 81915 w 713422"/>
                      <a:gd name="connsiteY1" fmla="*/ 564833 h 564832"/>
                      <a:gd name="connsiteX2" fmla="*/ 0 w 713422"/>
                      <a:gd name="connsiteY2" fmla="*/ 482918 h 564832"/>
                      <a:gd name="connsiteX3" fmla="*/ 0 w 713422"/>
                      <a:gd name="connsiteY3" fmla="*/ 81915 h 564832"/>
                      <a:gd name="connsiteX4" fmla="*/ 81915 w 713422"/>
                      <a:gd name="connsiteY4" fmla="*/ 0 h 564832"/>
                      <a:gd name="connsiteX5" fmla="*/ 631508 w 713422"/>
                      <a:gd name="connsiteY5" fmla="*/ 0 h 564832"/>
                      <a:gd name="connsiteX6" fmla="*/ 713423 w 713422"/>
                      <a:gd name="connsiteY6" fmla="*/ 81915 h 564832"/>
                      <a:gd name="connsiteX7" fmla="*/ 713423 w 713422"/>
                      <a:gd name="connsiteY7" fmla="*/ 482918 h 564832"/>
                      <a:gd name="connsiteX8" fmla="*/ 630555 w 713422"/>
                      <a:gd name="connsiteY8" fmla="*/ 564833 h 56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3422" h="564832">
                        <a:moveTo>
                          <a:pt x="630555" y="564833"/>
                        </a:moveTo>
                        <a:lnTo>
                          <a:pt x="81915" y="564833"/>
                        </a:lnTo>
                        <a:cubicBezTo>
                          <a:pt x="37148" y="564833"/>
                          <a:pt x="0" y="528638"/>
                          <a:pt x="0" y="482918"/>
                        </a:cubicBezTo>
                        <a:lnTo>
                          <a:pt x="0" y="81915"/>
                        </a:lnTo>
                        <a:cubicBezTo>
                          <a:pt x="0" y="36195"/>
                          <a:pt x="36195" y="0"/>
                          <a:pt x="81915" y="0"/>
                        </a:cubicBezTo>
                        <a:lnTo>
                          <a:pt x="631508" y="0"/>
                        </a:lnTo>
                        <a:cubicBezTo>
                          <a:pt x="676275" y="0"/>
                          <a:pt x="713423" y="36195"/>
                          <a:pt x="713423" y="81915"/>
                        </a:cubicBezTo>
                        <a:lnTo>
                          <a:pt x="713423" y="482918"/>
                        </a:lnTo>
                        <a:cubicBezTo>
                          <a:pt x="712470" y="527685"/>
                          <a:pt x="676275" y="564833"/>
                          <a:pt x="630555" y="564833"/>
                        </a:cubicBezTo>
                        <a:close/>
                      </a:path>
                    </a:pathLst>
                  </a:custGeom>
                  <a:solidFill>
                    <a:srgbClr val="1E4471"/>
                  </a:solidFill>
                  <a:ln w="9525" cap="flat">
                    <a:noFill/>
                    <a:prstDash val="solid"/>
                    <a:miter/>
                  </a:ln>
                </p:spPr>
                <p:txBody>
                  <a:bodyPr rtlCol="0" anchor="ct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FFFFFF"/>
                      </a:solidFill>
                      <a:effectLst/>
                      <a:uLnTx/>
                      <a:uFillTx/>
                      <a:latin typeface="+mj-lt"/>
                      <a:ea typeface="ＭＳ Ｐゴシック" charset="0"/>
                      <a:cs typeface="+mn-cs"/>
                    </a:endParaRPr>
                  </a:p>
                </p:txBody>
              </p:sp>
              <p:pic>
                <p:nvPicPr>
                  <p:cNvPr id="296" name="Graphic 87">
                    <a:extLst>
                      <a:ext uri="{FF2B5EF4-FFF2-40B4-BE49-F238E27FC236}">
                        <a16:creationId xmlns:a16="http://schemas.microsoft.com/office/drawing/2014/main" id="{8B07CFF8-0642-4952-A7F2-261EA02B8FF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20989" y="2915950"/>
                    <a:ext cx="464186" cy="464183"/>
                  </a:xfrm>
                  <a:prstGeom prst="rect">
                    <a:avLst/>
                  </a:prstGeom>
                </p:spPr>
              </p:pic>
            </p:grpSp>
          </p:grpSp>
          <p:grpSp>
            <p:nvGrpSpPr>
              <p:cNvPr id="302" name="Group 301">
                <a:extLst>
                  <a:ext uri="{FF2B5EF4-FFF2-40B4-BE49-F238E27FC236}">
                    <a16:creationId xmlns:a16="http://schemas.microsoft.com/office/drawing/2014/main" id="{D2B3FE63-6BAC-425C-B767-8BC49BCEFB94}"/>
                  </a:ext>
                </a:extLst>
              </p:cNvPr>
              <p:cNvGrpSpPr/>
              <p:nvPr/>
            </p:nvGrpSpPr>
            <p:grpSpPr>
              <a:xfrm>
                <a:off x="6180902" y="2144770"/>
                <a:ext cx="545975" cy="478760"/>
                <a:chOff x="6977045" y="1656702"/>
                <a:chExt cx="553113" cy="478760"/>
              </a:xfrm>
            </p:grpSpPr>
            <p:sp>
              <p:nvSpPr>
                <p:cNvPr id="303" name="TextBox 302">
                  <a:extLst>
                    <a:ext uri="{FF2B5EF4-FFF2-40B4-BE49-F238E27FC236}">
                      <a16:creationId xmlns:a16="http://schemas.microsoft.com/office/drawing/2014/main" id="{FEC14766-816C-421F-B04F-44DE7AA7302D}"/>
                    </a:ext>
                  </a:extLst>
                </p:cNvPr>
                <p:cNvSpPr txBox="1">
                  <a:spLocks/>
                </p:cNvSpPr>
                <p:nvPr/>
              </p:nvSpPr>
              <p:spPr>
                <a:xfrm>
                  <a:off x="6977045" y="1986990"/>
                  <a:ext cx="553113" cy="148472"/>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Identity</a:t>
                  </a:r>
                </a:p>
              </p:txBody>
            </p:sp>
            <p:sp>
              <p:nvSpPr>
                <p:cNvPr id="304" name="Oval 303">
                  <a:extLst>
                    <a:ext uri="{FF2B5EF4-FFF2-40B4-BE49-F238E27FC236}">
                      <a16:creationId xmlns:a16="http://schemas.microsoft.com/office/drawing/2014/main" id="{F7A34444-88C6-488C-AD13-CC2EEB36D750}"/>
                    </a:ext>
                  </a:extLst>
                </p:cNvPr>
                <p:cNvSpPr/>
                <p:nvPr/>
              </p:nvSpPr>
              <p:spPr>
                <a:xfrm>
                  <a:off x="7092022" y="1656702"/>
                  <a:ext cx="323161"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pic>
              <p:nvPicPr>
                <p:cNvPr id="305" name="Graphic 304">
                  <a:extLst>
                    <a:ext uri="{FF2B5EF4-FFF2-40B4-BE49-F238E27FC236}">
                      <a16:creationId xmlns:a16="http://schemas.microsoft.com/office/drawing/2014/main" id="{4889FB1A-9813-469C-AC59-5130B675513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163986" y="1707213"/>
                  <a:ext cx="179233" cy="221999"/>
                </a:xfrm>
                <a:prstGeom prst="rect">
                  <a:avLst/>
                </a:prstGeom>
              </p:spPr>
            </p:pic>
          </p:grpSp>
          <p:grpSp>
            <p:nvGrpSpPr>
              <p:cNvPr id="463" name="Group 462">
                <a:extLst>
                  <a:ext uri="{FF2B5EF4-FFF2-40B4-BE49-F238E27FC236}">
                    <a16:creationId xmlns:a16="http://schemas.microsoft.com/office/drawing/2014/main" id="{D4CF490D-3F5B-43D8-92BB-3DD015B3D72A}"/>
                  </a:ext>
                </a:extLst>
              </p:cNvPr>
              <p:cNvGrpSpPr/>
              <p:nvPr/>
            </p:nvGrpSpPr>
            <p:grpSpPr>
              <a:xfrm>
                <a:off x="6070335" y="1445509"/>
                <a:ext cx="767108" cy="490514"/>
                <a:chOff x="5827362" y="3888293"/>
                <a:chExt cx="767108" cy="490514"/>
              </a:xfrm>
            </p:grpSpPr>
            <p:sp>
              <p:nvSpPr>
                <p:cNvPr id="464" name="Oval 463">
                  <a:extLst>
                    <a:ext uri="{FF2B5EF4-FFF2-40B4-BE49-F238E27FC236}">
                      <a16:creationId xmlns:a16="http://schemas.microsoft.com/office/drawing/2014/main" id="{C2CFE8DA-D573-409D-A50A-199095FA7D67}"/>
                    </a:ext>
                  </a:extLst>
                </p:cNvPr>
                <p:cNvSpPr/>
                <p:nvPr/>
              </p:nvSpPr>
              <p:spPr>
                <a:xfrm>
                  <a:off x="6051422" y="3888293"/>
                  <a:ext cx="318991"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grpSp>
              <p:nvGrpSpPr>
                <p:cNvPr id="465" name="Group 464">
                  <a:extLst>
                    <a:ext uri="{FF2B5EF4-FFF2-40B4-BE49-F238E27FC236}">
                      <a16:creationId xmlns:a16="http://schemas.microsoft.com/office/drawing/2014/main" id="{CCDE55EE-42A9-499C-94B4-B9C404CA91E9}"/>
                    </a:ext>
                  </a:extLst>
                </p:cNvPr>
                <p:cNvGrpSpPr/>
                <p:nvPr/>
              </p:nvGrpSpPr>
              <p:grpSpPr>
                <a:xfrm>
                  <a:off x="5827362" y="3936833"/>
                  <a:ext cx="767108" cy="441974"/>
                  <a:chOff x="5329905" y="1706559"/>
                  <a:chExt cx="777137" cy="441974"/>
                </a:xfrm>
              </p:grpSpPr>
              <p:sp>
                <p:nvSpPr>
                  <p:cNvPr id="466" name="TextBox 465">
                    <a:extLst>
                      <a:ext uri="{FF2B5EF4-FFF2-40B4-BE49-F238E27FC236}">
                        <a16:creationId xmlns:a16="http://schemas.microsoft.com/office/drawing/2014/main" id="{45DF1A46-5561-4D72-8260-57565ACE779B}"/>
                      </a:ext>
                    </a:extLst>
                  </p:cNvPr>
                  <p:cNvSpPr txBox="1">
                    <a:spLocks/>
                  </p:cNvSpPr>
                  <p:nvPr/>
                </p:nvSpPr>
                <p:spPr>
                  <a:xfrm>
                    <a:off x="5329905" y="1986990"/>
                    <a:ext cx="777137" cy="161543"/>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a:cs typeface="+mn-cs"/>
                      </a:rPr>
                      <a:t>3</a:t>
                    </a:r>
                    <a:r>
                      <a:rPr kumimoji="0" lang="en-US" sz="800" b="0" i="0" u="none" strike="noStrike" kern="0" cap="none" spc="0" normalizeH="0" baseline="30000" noProof="0">
                        <a:ln>
                          <a:noFill/>
                        </a:ln>
                        <a:solidFill>
                          <a:srgbClr val="0D274D"/>
                        </a:solidFill>
                        <a:effectLst/>
                        <a:uLnTx/>
                        <a:uFillTx/>
                        <a:latin typeface="+mj-lt"/>
                        <a:ea typeface="ＭＳ Ｐゴシック"/>
                        <a:cs typeface="+mn-cs"/>
                      </a:rPr>
                      <a:t>rd </a:t>
                    </a:r>
                    <a:r>
                      <a:rPr kumimoji="0" lang="en-US" sz="800" b="0" i="0" u="none" strike="noStrike" kern="0" cap="none" spc="0" normalizeH="0" baseline="0" noProof="0">
                        <a:ln>
                          <a:noFill/>
                        </a:ln>
                        <a:solidFill>
                          <a:srgbClr val="0D274D"/>
                        </a:solidFill>
                        <a:effectLst/>
                        <a:uLnTx/>
                        <a:uFillTx/>
                        <a:latin typeface="+mj-lt"/>
                        <a:ea typeface="ＭＳ Ｐゴシック"/>
                        <a:cs typeface="+mn-cs"/>
                      </a:rPr>
                      <a:t>Party/ITSM</a:t>
                    </a:r>
                    <a:endParaRPr kumimoji="0" lang="en-US" sz="800" b="0" i="0" u="none" strike="noStrike" kern="0" cap="none" spc="0" normalizeH="0" baseline="0" noProof="0">
                      <a:ln>
                        <a:noFill/>
                      </a:ln>
                      <a:solidFill>
                        <a:srgbClr val="0D274D"/>
                      </a:solidFill>
                      <a:effectLst/>
                      <a:uLnTx/>
                      <a:uFillTx/>
                      <a:latin typeface="+mj-lt"/>
                      <a:ea typeface="ＭＳ Ｐゴシック" charset="0"/>
                      <a:cs typeface="+mn-cs"/>
                    </a:endParaRPr>
                  </a:p>
                </p:txBody>
              </p:sp>
              <p:pic>
                <p:nvPicPr>
                  <p:cNvPr id="467" name="Graphic 466">
                    <a:extLst>
                      <a:ext uri="{FF2B5EF4-FFF2-40B4-BE49-F238E27FC236}">
                        <a16:creationId xmlns:a16="http://schemas.microsoft.com/office/drawing/2014/main" id="{677F3725-30FB-42DA-9E0B-A75A9D465AA2}"/>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605454" y="1706559"/>
                    <a:ext cx="226040" cy="225943"/>
                  </a:xfrm>
                  <a:prstGeom prst="rect">
                    <a:avLst/>
                  </a:prstGeom>
                </p:spPr>
              </p:pic>
            </p:grpSp>
          </p:grpSp>
          <p:grpSp>
            <p:nvGrpSpPr>
              <p:cNvPr id="472" name="Group 471">
                <a:extLst>
                  <a:ext uri="{FF2B5EF4-FFF2-40B4-BE49-F238E27FC236}">
                    <a16:creationId xmlns:a16="http://schemas.microsoft.com/office/drawing/2014/main" id="{57FB1275-7682-4B83-B186-3A6512B43AC1}"/>
                  </a:ext>
                </a:extLst>
              </p:cNvPr>
              <p:cNvGrpSpPr/>
              <p:nvPr/>
            </p:nvGrpSpPr>
            <p:grpSpPr>
              <a:xfrm>
                <a:off x="6791267" y="1445509"/>
                <a:ext cx="805134" cy="491831"/>
                <a:chOff x="6078126" y="1656702"/>
                <a:chExt cx="815660" cy="491831"/>
              </a:xfrm>
            </p:grpSpPr>
            <p:sp>
              <p:nvSpPr>
                <p:cNvPr id="473" name="TextBox 472">
                  <a:extLst>
                    <a:ext uri="{FF2B5EF4-FFF2-40B4-BE49-F238E27FC236}">
                      <a16:creationId xmlns:a16="http://schemas.microsoft.com/office/drawing/2014/main" id="{CA6242CA-19B1-4373-87B1-52D48A13E107}"/>
                    </a:ext>
                  </a:extLst>
                </p:cNvPr>
                <p:cNvSpPr txBox="1">
                  <a:spLocks/>
                </p:cNvSpPr>
                <p:nvPr/>
              </p:nvSpPr>
              <p:spPr>
                <a:xfrm>
                  <a:off x="6078126" y="1986990"/>
                  <a:ext cx="815660" cy="161543"/>
                </a:xfrm>
                <a:prstGeom prst="roundRect">
                  <a:avLst/>
                </a:prstGeom>
                <a:noFill/>
              </p:spPr>
              <p:txBody>
                <a:bodyPr wrap="square" lIns="0" tIns="0" rIns="0" bIns="0" rtlCol="0" anchor="t">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Intelligence</a:t>
                  </a:r>
                </a:p>
              </p:txBody>
            </p:sp>
            <p:sp>
              <p:nvSpPr>
                <p:cNvPr id="474" name="Oval 473">
                  <a:extLst>
                    <a:ext uri="{FF2B5EF4-FFF2-40B4-BE49-F238E27FC236}">
                      <a16:creationId xmlns:a16="http://schemas.microsoft.com/office/drawing/2014/main" id="{9F94D846-26AF-4C2F-8B47-64996B52306C}"/>
                    </a:ext>
                  </a:extLst>
                </p:cNvPr>
                <p:cNvSpPr/>
                <p:nvPr/>
              </p:nvSpPr>
              <p:spPr>
                <a:xfrm>
                  <a:off x="6324376" y="1656702"/>
                  <a:ext cx="323161"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grpSp>
              <p:nvGrpSpPr>
                <p:cNvPr id="475" name="Group 474">
                  <a:extLst>
                    <a:ext uri="{FF2B5EF4-FFF2-40B4-BE49-F238E27FC236}">
                      <a16:creationId xmlns:a16="http://schemas.microsoft.com/office/drawing/2014/main" id="{EEC7DBE9-6673-46AF-9269-9AF879FB3C2D}"/>
                    </a:ext>
                  </a:extLst>
                </p:cNvPr>
                <p:cNvGrpSpPr/>
                <p:nvPr/>
              </p:nvGrpSpPr>
              <p:grpSpPr>
                <a:xfrm>
                  <a:off x="6358983" y="1678203"/>
                  <a:ext cx="329243" cy="281157"/>
                  <a:chOff x="1771229" y="1366520"/>
                  <a:chExt cx="451076" cy="385360"/>
                </a:xfrm>
              </p:grpSpPr>
              <p:pic>
                <p:nvPicPr>
                  <p:cNvPr id="476" name="Graphic 475">
                    <a:extLst>
                      <a:ext uri="{FF2B5EF4-FFF2-40B4-BE49-F238E27FC236}">
                        <a16:creationId xmlns:a16="http://schemas.microsoft.com/office/drawing/2014/main" id="{A5845E70-28B7-449A-8176-2C1B65910BCA}"/>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836945" y="1366520"/>
                    <a:ext cx="385360" cy="385360"/>
                  </a:xfrm>
                  <a:prstGeom prst="rect">
                    <a:avLst/>
                  </a:prstGeom>
                </p:spPr>
              </p:pic>
              <p:grpSp>
                <p:nvGrpSpPr>
                  <p:cNvPr id="477" name="Group 476">
                    <a:extLst>
                      <a:ext uri="{FF2B5EF4-FFF2-40B4-BE49-F238E27FC236}">
                        <a16:creationId xmlns:a16="http://schemas.microsoft.com/office/drawing/2014/main" id="{2353FE88-D34F-4688-AF62-3C811337F93B}"/>
                      </a:ext>
                    </a:extLst>
                  </p:cNvPr>
                  <p:cNvGrpSpPr/>
                  <p:nvPr/>
                </p:nvGrpSpPr>
                <p:grpSpPr>
                  <a:xfrm>
                    <a:off x="1771229" y="1427913"/>
                    <a:ext cx="295453" cy="279085"/>
                    <a:chOff x="6463468" y="4216059"/>
                    <a:chExt cx="1096954" cy="1036290"/>
                  </a:xfrm>
                </p:grpSpPr>
                <p:sp>
                  <p:nvSpPr>
                    <p:cNvPr id="498" name="Freeform: Shape 497">
                      <a:extLst>
                        <a:ext uri="{FF2B5EF4-FFF2-40B4-BE49-F238E27FC236}">
                          <a16:creationId xmlns:a16="http://schemas.microsoft.com/office/drawing/2014/main" id="{F1FB6C89-8558-46CC-A29F-2B8619362F79}"/>
                        </a:ext>
                      </a:extLst>
                    </p:cNvPr>
                    <p:cNvSpPr/>
                    <p:nvPr/>
                  </p:nvSpPr>
                  <p:spPr>
                    <a:xfrm>
                      <a:off x="6833745" y="4216059"/>
                      <a:ext cx="356256" cy="14307"/>
                    </a:xfrm>
                    <a:custGeom>
                      <a:avLst/>
                      <a:gdLst>
                        <a:gd name="connsiteX0" fmla="*/ 356256 w 356256"/>
                        <a:gd name="connsiteY0" fmla="*/ 0 h 14307"/>
                        <a:gd name="connsiteX1" fmla="*/ 0 w 356256"/>
                        <a:gd name="connsiteY1" fmla="*/ 0 h 14307"/>
                      </a:gdLst>
                      <a:ahLst/>
                      <a:cxnLst>
                        <a:cxn ang="0">
                          <a:pos x="connsiteX0" y="connsiteY0"/>
                        </a:cxn>
                        <a:cxn ang="0">
                          <a:pos x="connsiteX1" y="connsiteY1"/>
                        </a:cxn>
                      </a:cxnLst>
                      <a:rect l="l" t="t" r="r" b="b"/>
                      <a:pathLst>
                        <a:path w="356256" h="14307">
                          <a:moveTo>
                            <a:pt x="356256"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9" name="Freeform: Shape 498">
                      <a:extLst>
                        <a:ext uri="{FF2B5EF4-FFF2-40B4-BE49-F238E27FC236}">
                          <a16:creationId xmlns:a16="http://schemas.microsoft.com/office/drawing/2014/main" id="{D69DC865-D34E-48C9-A204-8CFC6E33AC62}"/>
                        </a:ext>
                      </a:extLst>
                    </p:cNvPr>
                    <p:cNvSpPr/>
                    <p:nvPr/>
                  </p:nvSpPr>
                  <p:spPr>
                    <a:xfrm>
                      <a:off x="6699112" y="4284306"/>
                      <a:ext cx="625666" cy="14307"/>
                    </a:xfrm>
                    <a:custGeom>
                      <a:avLst/>
                      <a:gdLst>
                        <a:gd name="connsiteX0" fmla="*/ 625666 w 625666"/>
                        <a:gd name="connsiteY0" fmla="*/ 0 h 14307"/>
                        <a:gd name="connsiteX1" fmla="*/ 0 w 625666"/>
                        <a:gd name="connsiteY1" fmla="*/ 0 h 14307"/>
                      </a:gdLst>
                      <a:ahLst/>
                      <a:cxnLst>
                        <a:cxn ang="0">
                          <a:pos x="connsiteX0" y="connsiteY0"/>
                        </a:cxn>
                        <a:cxn ang="0">
                          <a:pos x="connsiteX1" y="connsiteY1"/>
                        </a:cxn>
                      </a:cxnLst>
                      <a:rect l="l" t="t" r="r" b="b"/>
                      <a:pathLst>
                        <a:path w="625666" h="14307">
                          <a:moveTo>
                            <a:pt x="625666"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0" name="Freeform: Shape 499">
                      <a:extLst>
                        <a:ext uri="{FF2B5EF4-FFF2-40B4-BE49-F238E27FC236}">
                          <a16:creationId xmlns:a16="http://schemas.microsoft.com/office/drawing/2014/main" id="{4BAE4166-1C1F-484B-9F4B-5BF55CD138F8}"/>
                        </a:ext>
                      </a:extLst>
                    </p:cNvPr>
                    <p:cNvSpPr/>
                    <p:nvPr/>
                  </p:nvSpPr>
                  <p:spPr>
                    <a:xfrm>
                      <a:off x="6618704" y="4352409"/>
                      <a:ext cx="786482" cy="14307"/>
                    </a:xfrm>
                    <a:custGeom>
                      <a:avLst/>
                      <a:gdLst>
                        <a:gd name="connsiteX0" fmla="*/ 786482 w 786482"/>
                        <a:gd name="connsiteY0" fmla="*/ 0 h 14307"/>
                        <a:gd name="connsiteX1" fmla="*/ 0 w 786482"/>
                        <a:gd name="connsiteY1" fmla="*/ 0 h 14307"/>
                      </a:gdLst>
                      <a:ahLst/>
                      <a:cxnLst>
                        <a:cxn ang="0">
                          <a:pos x="connsiteX0" y="connsiteY0"/>
                        </a:cxn>
                        <a:cxn ang="0">
                          <a:pos x="connsiteX1" y="connsiteY1"/>
                        </a:cxn>
                      </a:cxnLst>
                      <a:rect l="l" t="t" r="r" b="b"/>
                      <a:pathLst>
                        <a:path w="786482" h="14307">
                          <a:moveTo>
                            <a:pt x="786482"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1" name="Freeform: Shape 500">
                      <a:extLst>
                        <a:ext uri="{FF2B5EF4-FFF2-40B4-BE49-F238E27FC236}">
                          <a16:creationId xmlns:a16="http://schemas.microsoft.com/office/drawing/2014/main" id="{BF34C934-C3E6-413B-866B-29C7C968AF2D}"/>
                        </a:ext>
                      </a:extLst>
                    </p:cNvPr>
                    <p:cNvSpPr/>
                    <p:nvPr/>
                  </p:nvSpPr>
                  <p:spPr>
                    <a:xfrm>
                      <a:off x="6562189" y="4420513"/>
                      <a:ext cx="899511" cy="14307"/>
                    </a:xfrm>
                    <a:custGeom>
                      <a:avLst/>
                      <a:gdLst>
                        <a:gd name="connsiteX0" fmla="*/ 899511 w 899511"/>
                        <a:gd name="connsiteY0" fmla="*/ 0 h 14307"/>
                        <a:gd name="connsiteX1" fmla="*/ 0 w 899511"/>
                        <a:gd name="connsiteY1" fmla="*/ 0 h 14307"/>
                      </a:gdLst>
                      <a:ahLst/>
                      <a:cxnLst>
                        <a:cxn ang="0">
                          <a:pos x="connsiteX0" y="connsiteY0"/>
                        </a:cxn>
                        <a:cxn ang="0">
                          <a:pos x="connsiteX1" y="connsiteY1"/>
                        </a:cxn>
                      </a:cxnLst>
                      <a:rect l="l" t="t" r="r" b="b"/>
                      <a:pathLst>
                        <a:path w="899511" h="14307">
                          <a:moveTo>
                            <a:pt x="899511"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2" name="Freeform: Shape 501">
                      <a:extLst>
                        <a:ext uri="{FF2B5EF4-FFF2-40B4-BE49-F238E27FC236}">
                          <a16:creationId xmlns:a16="http://schemas.microsoft.com/office/drawing/2014/main" id="{79C80E31-6241-4E52-B5AA-C8A1DCB776E5}"/>
                        </a:ext>
                      </a:extLst>
                    </p:cNvPr>
                    <p:cNvSpPr/>
                    <p:nvPr/>
                  </p:nvSpPr>
                  <p:spPr>
                    <a:xfrm>
                      <a:off x="6521413" y="4488616"/>
                      <a:ext cx="981063" cy="14307"/>
                    </a:xfrm>
                    <a:custGeom>
                      <a:avLst/>
                      <a:gdLst>
                        <a:gd name="connsiteX0" fmla="*/ 981064 w 981063"/>
                        <a:gd name="connsiteY0" fmla="*/ 0 h 14307"/>
                        <a:gd name="connsiteX1" fmla="*/ 0 w 981063"/>
                        <a:gd name="connsiteY1" fmla="*/ 0 h 14307"/>
                      </a:gdLst>
                      <a:ahLst/>
                      <a:cxnLst>
                        <a:cxn ang="0">
                          <a:pos x="connsiteX0" y="connsiteY0"/>
                        </a:cxn>
                        <a:cxn ang="0">
                          <a:pos x="connsiteX1" y="connsiteY1"/>
                        </a:cxn>
                      </a:cxnLst>
                      <a:rect l="l" t="t" r="r" b="b"/>
                      <a:pathLst>
                        <a:path w="981063" h="14307">
                          <a:moveTo>
                            <a:pt x="981064"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3" name="Freeform: Shape 502">
                      <a:extLst>
                        <a:ext uri="{FF2B5EF4-FFF2-40B4-BE49-F238E27FC236}">
                          <a16:creationId xmlns:a16="http://schemas.microsoft.com/office/drawing/2014/main" id="{A1E13EF1-A8A8-4C86-BE49-E69D41327BDF}"/>
                        </a:ext>
                      </a:extLst>
                    </p:cNvPr>
                    <p:cNvSpPr/>
                    <p:nvPr/>
                  </p:nvSpPr>
                  <p:spPr>
                    <a:xfrm>
                      <a:off x="6492655" y="4556720"/>
                      <a:ext cx="1038436" cy="14307"/>
                    </a:xfrm>
                    <a:custGeom>
                      <a:avLst/>
                      <a:gdLst>
                        <a:gd name="connsiteX0" fmla="*/ 1038437 w 1038436"/>
                        <a:gd name="connsiteY0" fmla="*/ 0 h 14307"/>
                        <a:gd name="connsiteX1" fmla="*/ 0 w 1038436"/>
                        <a:gd name="connsiteY1" fmla="*/ 0 h 14307"/>
                      </a:gdLst>
                      <a:ahLst/>
                      <a:cxnLst>
                        <a:cxn ang="0">
                          <a:pos x="connsiteX0" y="connsiteY0"/>
                        </a:cxn>
                        <a:cxn ang="0">
                          <a:pos x="connsiteX1" y="connsiteY1"/>
                        </a:cxn>
                      </a:cxnLst>
                      <a:rect l="l" t="t" r="r" b="b"/>
                      <a:pathLst>
                        <a:path w="1038436" h="14307">
                          <a:moveTo>
                            <a:pt x="1038437"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4" name="Freeform: Shape 503">
                      <a:extLst>
                        <a:ext uri="{FF2B5EF4-FFF2-40B4-BE49-F238E27FC236}">
                          <a16:creationId xmlns:a16="http://schemas.microsoft.com/office/drawing/2014/main" id="{32242E58-9209-46EA-9BEE-927456510CAB}"/>
                        </a:ext>
                      </a:extLst>
                    </p:cNvPr>
                    <p:cNvSpPr/>
                    <p:nvPr/>
                  </p:nvSpPr>
                  <p:spPr>
                    <a:xfrm>
                      <a:off x="6474055" y="4624967"/>
                      <a:ext cx="1075779" cy="14307"/>
                    </a:xfrm>
                    <a:custGeom>
                      <a:avLst/>
                      <a:gdLst>
                        <a:gd name="connsiteX0" fmla="*/ 1075779 w 1075779"/>
                        <a:gd name="connsiteY0" fmla="*/ 0 h 14307"/>
                        <a:gd name="connsiteX1" fmla="*/ 0 w 1075779"/>
                        <a:gd name="connsiteY1" fmla="*/ 0 h 14307"/>
                      </a:gdLst>
                      <a:ahLst/>
                      <a:cxnLst>
                        <a:cxn ang="0">
                          <a:pos x="connsiteX0" y="connsiteY0"/>
                        </a:cxn>
                        <a:cxn ang="0">
                          <a:pos x="connsiteX1" y="connsiteY1"/>
                        </a:cxn>
                      </a:cxnLst>
                      <a:rect l="l" t="t" r="r" b="b"/>
                      <a:pathLst>
                        <a:path w="1075779" h="14307">
                          <a:moveTo>
                            <a:pt x="1075779"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5" name="Freeform: Shape 504">
                      <a:extLst>
                        <a:ext uri="{FF2B5EF4-FFF2-40B4-BE49-F238E27FC236}">
                          <a16:creationId xmlns:a16="http://schemas.microsoft.com/office/drawing/2014/main" id="{909693A9-C11B-47C4-A7AC-17955106C1D5}"/>
                        </a:ext>
                      </a:extLst>
                    </p:cNvPr>
                    <p:cNvSpPr/>
                    <p:nvPr/>
                  </p:nvSpPr>
                  <p:spPr>
                    <a:xfrm>
                      <a:off x="6464469" y="4693070"/>
                      <a:ext cx="1094951" cy="14307"/>
                    </a:xfrm>
                    <a:custGeom>
                      <a:avLst/>
                      <a:gdLst>
                        <a:gd name="connsiteX0" fmla="*/ 1094951 w 1094951"/>
                        <a:gd name="connsiteY0" fmla="*/ 0 h 14307"/>
                        <a:gd name="connsiteX1" fmla="*/ 0 w 1094951"/>
                        <a:gd name="connsiteY1" fmla="*/ 0 h 14307"/>
                      </a:gdLst>
                      <a:ahLst/>
                      <a:cxnLst>
                        <a:cxn ang="0">
                          <a:pos x="connsiteX0" y="connsiteY0"/>
                        </a:cxn>
                        <a:cxn ang="0">
                          <a:pos x="connsiteX1" y="connsiteY1"/>
                        </a:cxn>
                      </a:cxnLst>
                      <a:rect l="l" t="t" r="r" b="b"/>
                      <a:pathLst>
                        <a:path w="1094951" h="14307">
                          <a:moveTo>
                            <a:pt x="1094951"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6" name="Freeform: Shape 505">
                      <a:extLst>
                        <a:ext uri="{FF2B5EF4-FFF2-40B4-BE49-F238E27FC236}">
                          <a16:creationId xmlns:a16="http://schemas.microsoft.com/office/drawing/2014/main" id="{F087AB0D-B4E1-4DCB-9EC1-30291CCC4BA4}"/>
                        </a:ext>
                      </a:extLst>
                    </p:cNvPr>
                    <p:cNvSpPr/>
                    <p:nvPr/>
                  </p:nvSpPr>
                  <p:spPr>
                    <a:xfrm>
                      <a:off x="6463468" y="4761174"/>
                      <a:ext cx="1096954" cy="14307"/>
                    </a:xfrm>
                    <a:custGeom>
                      <a:avLst/>
                      <a:gdLst>
                        <a:gd name="connsiteX0" fmla="*/ 1096955 w 1096954"/>
                        <a:gd name="connsiteY0" fmla="*/ 0 h 14307"/>
                        <a:gd name="connsiteX1" fmla="*/ 0 w 1096954"/>
                        <a:gd name="connsiteY1" fmla="*/ 0 h 14307"/>
                      </a:gdLst>
                      <a:ahLst/>
                      <a:cxnLst>
                        <a:cxn ang="0">
                          <a:pos x="connsiteX0" y="connsiteY0"/>
                        </a:cxn>
                        <a:cxn ang="0">
                          <a:pos x="connsiteX1" y="connsiteY1"/>
                        </a:cxn>
                      </a:cxnLst>
                      <a:rect l="l" t="t" r="r" b="b"/>
                      <a:pathLst>
                        <a:path w="1096954" h="14307">
                          <a:moveTo>
                            <a:pt x="1096955"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7" name="Freeform: Shape 506">
                      <a:extLst>
                        <a:ext uri="{FF2B5EF4-FFF2-40B4-BE49-F238E27FC236}">
                          <a16:creationId xmlns:a16="http://schemas.microsoft.com/office/drawing/2014/main" id="{74F04E69-8864-4DC4-9299-DE392D6BAB77}"/>
                        </a:ext>
                      </a:extLst>
                    </p:cNvPr>
                    <p:cNvSpPr/>
                    <p:nvPr/>
                  </p:nvSpPr>
                  <p:spPr>
                    <a:xfrm>
                      <a:off x="6470907" y="4829278"/>
                      <a:ext cx="1082074" cy="14307"/>
                    </a:xfrm>
                    <a:custGeom>
                      <a:avLst/>
                      <a:gdLst>
                        <a:gd name="connsiteX0" fmla="*/ 1082075 w 1082074"/>
                        <a:gd name="connsiteY0" fmla="*/ 0 h 14307"/>
                        <a:gd name="connsiteX1" fmla="*/ 0 w 1082074"/>
                        <a:gd name="connsiteY1" fmla="*/ 0 h 14307"/>
                      </a:gdLst>
                      <a:ahLst/>
                      <a:cxnLst>
                        <a:cxn ang="0">
                          <a:pos x="connsiteX0" y="connsiteY0"/>
                        </a:cxn>
                        <a:cxn ang="0">
                          <a:pos x="connsiteX1" y="connsiteY1"/>
                        </a:cxn>
                      </a:cxnLst>
                      <a:rect l="l" t="t" r="r" b="b"/>
                      <a:pathLst>
                        <a:path w="1082074" h="14307">
                          <a:moveTo>
                            <a:pt x="1082075"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8" name="Freeform: Shape 507">
                      <a:extLst>
                        <a:ext uri="{FF2B5EF4-FFF2-40B4-BE49-F238E27FC236}">
                          <a16:creationId xmlns:a16="http://schemas.microsoft.com/office/drawing/2014/main" id="{DBD4CD10-F3CC-406E-AF85-3017C044CEEA}"/>
                        </a:ext>
                      </a:extLst>
                    </p:cNvPr>
                    <p:cNvSpPr/>
                    <p:nvPr/>
                  </p:nvSpPr>
                  <p:spPr>
                    <a:xfrm>
                      <a:off x="6487075" y="4897381"/>
                      <a:ext cx="1049596" cy="14307"/>
                    </a:xfrm>
                    <a:custGeom>
                      <a:avLst/>
                      <a:gdLst>
                        <a:gd name="connsiteX0" fmla="*/ 1049597 w 1049596"/>
                        <a:gd name="connsiteY0" fmla="*/ 0 h 14307"/>
                        <a:gd name="connsiteX1" fmla="*/ 0 w 1049596"/>
                        <a:gd name="connsiteY1" fmla="*/ 0 h 14307"/>
                      </a:gdLst>
                      <a:ahLst/>
                      <a:cxnLst>
                        <a:cxn ang="0">
                          <a:pos x="connsiteX0" y="connsiteY0"/>
                        </a:cxn>
                        <a:cxn ang="0">
                          <a:pos x="connsiteX1" y="connsiteY1"/>
                        </a:cxn>
                      </a:cxnLst>
                      <a:rect l="l" t="t" r="r" b="b"/>
                      <a:pathLst>
                        <a:path w="1049596" h="14307">
                          <a:moveTo>
                            <a:pt x="1049597"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09" name="Freeform: Shape 508">
                      <a:extLst>
                        <a:ext uri="{FF2B5EF4-FFF2-40B4-BE49-F238E27FC236}">
                          <a16:creationId xmlns:a16="http://schemas.microsoft.com/office/drawing/2014/main" id="{16F64720-F02A-4E38-9FD4-8F9EA4CFF8E7}"/>
                        </a:ext>
                      </a:extLst>
                    </p:cNvPr>
                    <p:cNvSpPr/>
                    <p:nvPr/>
                  </p:nvSpPr>
                  <p:spPr>
                    <a:xfrm>
                      <a:off x="6513401" y="4965628"/>
                      <a:ext cx="997088" cy="14307"/>
                    </a:xfrm>
                    <a:custGeom>
                      <a:avLst/>
                      <a:gdLst>
                        <a:gd name="connsiteX0" fmla="*/ 997088 w 997088"/>
                        <a:gd name="connsiteY0" fmla="*/ 0 h 14307"/>
                        <a:gd name="connsiteX1" fmla="*/ 0 w 997088"/>
                        <a:gd name="connsiteY1" fmla="*/ 0 h 14307"/>
                      </a:gdLst>
                      <a:ahLst/>
                      <a:cxnLst>
                        <a:cxn ang="0">
                          <a:pos x="connsiteX0" y="connsiteY0"/>
                        </a:cxn>
                        <a:cxn ang="0">
                          <a:pos x="connsiteX1" y="connsiteY1"/>
                        </a:cxn>
                      </a:cxnLst>
                      <a:rect l="l" t="t" r="r" b="b"/>
                      <a:pathLst>
                        <a:path w="997088" h="14307">
                          <a:moveTo>
                            <a:pt x="997088"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10" name="Freeform: Shape 509">
                      <a:extLst>
                        <a:ext uri="{FF2B5EF4-FFF2-40B4-BE49-F238E27FC236}">
                          <a16:creationId xmlns:a16="http://schemas.microsoft.com/office/drawing/2014/main" id="{B879F59E-DE5C-43DF-831C-47900DBCA2A0}"/>
                        </a:ext>
                      </a:extLst>
                    </p:cNvPr>
                    <p:cNvSpPr/>
                    <p:nvPr/>
                  </p:nvSpPr>
                  <p:spPr>
                    <a:xfrm>
                      <a:off x="6550886" y="5033731"/>
                      <a:ext cx="921974" cy="14307"/>
                    </a:xfrm>
                    <a:custGeom>
                      <a:avLst/>
                      <a:gdLst>
                        <a:gd name="connsiteX0" fmla="*/ 921974 w 921974"/>
                        <a:gd name="connsiteY0" fmla="*/ 0 h 14307"/>
                        <a:gd name="connsiteX1" fmla="*/ 0 w 921974"/>
                        <a:gd name="connsiteY1" fmla="*/ 0 h 14307"/>
                      </a:gdLst>
                      <a:ahLst/>
                      <a:cxnLst>
                        <a:cxn ang="0">
                          <a:pos x="connsiteX0" y="connsiteY0"/>
                        </a:cxn>
                        <a:cxn ang="0">
                          <a:pos x="connsiteX1" y="connsiteY1"/>
                        </a:cxn>
                      </a:cxnLst>
                      <a:rect l="l" t="t" r="r" b="b"/>
                      <a:pathLst>
                        <a:path w="921974" h="14307">
                          <a:moveTo>
                            <a:pt x="921974"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11" name="Freeform: Shape 510">
                      <a:extLst>
                        <a:ext uri="{FF2B5EF4-FFF2-40B4-BE49-F238E27FC236}">
                          <a16:creationId xmlns:a16="http://schemas.microsoft.com/office/drawing/2014/main" id="{B942CEC0-5876-462A-B444-895369579D3E}"/>
                        </a:ext>
                      </a:extLst>
                    </p:cNvPr>
                    <p:cNvSpPr/>
                    <p:nvPr/>
                  </p:nvSpPr>
                  <p:spPr>
                    <a:xfrm>
                      <a:off x="6602966" y="5101835"/>
                      <a:ext cx="817958" cy="14307"/>
                    </a:xfrm>
                    <a:custGeom>
                      <a:avLst/>
                      <a:gdLst>
                        <a:gd name="connsiteX0" fmla="*/ 817959 w 817958"/>
                        <a:gd name="connsiteY0" fmla="*/ 0 h 14307"/>
                        <a:gd name="connsiteX1" fmla="*/ 0 w 817958"/>
                        <a:gd name="connsiteY1" fmla="*/ 0 h 14307"/>
                      </a:gdLst>
                      <a:ahLst/>
                      <a:cxnLst>
                        <a:cxn ang="0">
                          <a:pos x="connsiteX0" y="connsiteY0"/>
                        </a:cxn>
                        <a:cxn ang="0">
                          <a:pos x="connsiteX1" y="connsiteY1"/>
                        </a:cxn>
                      </a:cxnLst>
                      <a:rect l="l" t="t" r="r" b="b"/>
                      <a:pathLst>
                        <a:path w="817958" h="14307">
                          <a:moveTo>
                            <a:pt x="817959"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12" name="Freeform: Shape 511">
                      <a:extLst>
                        <a:ext uri="{FF2B5EF4-FFF2-40B4-BE49-F238E27FC236}">
                          <a16:creationId xmlns:a16="http://schemas.microsoft.com/office/drawing/2014/main" id="{EC93CF1E-0E5C-47EA-9629-11D3948665E1}"/>
                        </a:ext>
                      </a:extLst>
                    </p:cNvPr>
                    <p:cNvSpPr/>
                    <p:nvPr/>
                  </p:nvSpPr>
                  <p:spPr>
                    <a:xfrm>
                      <a:off x="6676077" y="5169939"/>
                      <a:ext cx="671736" cy="14307"/>
                    </a:xfrm>
                    <a:custGeom>
                      <a:avLst/>
                      <a:gdLst>
                        <a:gd name="connsiteX0" fmla="*/ 671736 w 671736"/>
                        <a:gd name="connsiteY0" fmla="*/ 0 h 14307"/>
                        <a:gd name="connsiteX1" fmla="*/ 0 w 671736"/>
                        <a:gd name="connsiteY1" fmla="*/ 0 h 14307"/>
                      </a:gdLst>
                      <a:ahLst/>
                      <a:cxnLst>
                        <a:cxn ang="0">
                          <a:pos x="connsiteX0" y="connsiteY0"/>
                        </a:cxn>
                        <a:cxn ang="0">
                          <a:pos x="connsiteX1" y="connsiteY1"/>
                        </a:cxn>
                      </a:cxnLst>
                      <a:rect l="l" t="t" r="r" b="b"/>
                      <a:pathLst>
                        <a:path w="671736" h="14307">
                          <a:moveTo>
                            <a:pt x="671736"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513" name="Freeform: Shape 512">
                      <a:extLst>
                        <a:ext uri="{FF2B5EF4-FFF2-40B4-BE49-F238E27FC236}">
                          <a16:creationId xmlns:a16="http://schemas.microsoft.com/office/drawing/2014/main" id="{999A5882-0874-4DD7-B5DA-E77887148BE1}"/>
                        </a:ext>
                      </a:extLst>
                    </p:cNvPr>
                    <p:cNvSpPr/>
                    <p:nvPr/>
                  </p:nvSpPr>
                  <p:spPr>
                    <a:xfrm>
                      <a:off x="6790393" y="5238042"/>
                      <a:ext cx="442959" cy="14307"/>
                    </a:xfrm>
                    <a:custGeom>
                      <a:avLst/>
                      <a:gdLst>
                        <a:gd name="connsiteX0" fmla="*/ 442960 w 442959"/>
                        <a:gd name="connsiteY0" fmla="*/ 0 h 14307"/>
                        <a:gd name="connsiteX1" fmla="*/ 0 w 442959"/>
                        <a:gd name="connsiteY1" fmla="*/ 0 h 14307"/>
                      </a:gdLst>
                      <a:ahLst/>
                      <a:cxnLst>
                        <a:cxn ang="0">
                          <a:pos x="connsiteX0" y="connsiteY0"/>
                        </a:cxn>
                        <a:cxn ang="0">
                          <a:pos x="connsiteX1" y="connsiteY1"/>
                        </a:cxn>
                      </a:cxnLst>
                      <a:rect l="l" t="t" r="r" b="b"/>
                      <a:pathLst>
                        <a:path w="442959" h="14307">
                          <a:moveTo>
                            <a:pt x="442960" y="0"/>
                          </a:moveTo>
                          <a:lnTo>
                            <a:pt x="0" y="0"/>
                          </a:lnTo>
                        </a:path>
                      </a:pathLst>
                    </a:custGeom>
                    <a:ln w="3175" cap="flat">
                      <a:solidFill>
                        <a:srgbClr val="00BCEB"/>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grpSp>
              <p:grpSp>
                <p:nvGrpSpPr>
                  <p:cNvPr id="478" name="Group 477">
                    <a:extLst>
                      <a:ext uri="{FF2B5EF4-FFF2-40B4-BE49-F238E27FC236}">
                        <a16:creationId xmlns:a16="http://schemas.microsoft.com/office/drawing/2014/main" id="{B74911CE-7E6F-48EA-890E-7C8ADFBDD03F}"/>
                      </a:ext>
                    </a:extLst>
                  </p:cNvPr>
                  <p:cNvGrpSpPr/>
                  <p:nvPr/>
                </p:nvGrpSpPr>
                <p:grpSpPr>
                  <a:xfrm rot="18301112">
                    <a:off x="1835987" y="1491729"/>
                    <a:ext cx="182934" cy="158838"/>
                    <a:chOff x="4479926" y="2862263"/>
                    <a:chExt cx="1314450" cy="1141412"/>
                  </a:xfrm>
                </p:grpSpPr>
                <p:sp>
                  <p:nvSpPr>
                    <p:cNvPr id="479" name="Oval 209">
                      <a:extLst>
                        <a:ext uri="{FF2B5EF4-FFF2-40B4-BE49-F238E27FC236}">
                          <a16:creationId xmlns:a16="http://schemas.microsoft.com/office/drawing/2014/main" id="{42795547-A33A-4994-BE87-92BE6F3F5D54}"/>
                        </a:ext>
                      </a:extLst>
                    </p:cNvPr>
                    <p:cNvSpPr>
                      <a:spLocks noChangeArrowheads="1"/>
                    </p:cNvSpPr>
                    <p:nvPr/>
                  </p:nvSpPr>
                  <p:spPr bwMode="auto">
                    <a:xfrm>
                      <a:off x="4702176" y="3646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0" name="Oval 210">
                      <a:extLst>
                        <a:ext uri="{FF2B5EF4-FFF2-40B4-BE49-F238E27FC236}">
                          <a16:creationId xmlns:a16="http://schemas.microsoft.com/office/drawing/2014/main" id="{CDF9C0F5-DDD1-48AB-AD35-C04D5455D372}"/>
                        </a:ext>
                      </a:extLst>
                    </p:cNvPr>
                    <p:cNvSpPr>
                      <a:spLocks noChangeArrowheads="1"/>
                    </p:cNvSpPr>
                    <p:nvPr/>
                  </p:nvSpPr>
                  <p:spPr bwMode="auto">
                    <a:xfrm>
                      <a:off x="5186363" y="3646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1" name="Oval 211">
                      <a:extLst>
                        <a:ext uri="{FF2B5EF4-FFF2-40B4-BE49-F238E27FC236}">
                          <a16:creationId xmlns:a16="http://schemas.microsoft.com/office/drawing/2014/main" id="{7A831023-D0E8-4901-A281-21609EEC953A}"/>
                        </a:ext>
                      </a:extLst>
                    </p:cNvPr>
                    <p:cNvSpPr>
                      <a:spLocks noChangeArrowheads="1"/>
                    </p:cNvSpPr>
                    <p:nvPr/>
                  </p:nvSpPr>
                  <p:spPr bwMode="auto">
                    <a:xfrm>
                      <a:off x="5186363" y="339883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2" name="Oval 212">
                      <a:extLst>
                        <a:ext uri="{FF2B5EF4-FFF2-40B4-BE49-F238E27FC236}">
                          <a16:creationId xmlns:a16="http://schemas.microsoft.com/office/drawing/2014/main" id="{2439683A-4899-4DF4-87D7-600AA167CF6E}"/>
                        </a:ext>
                      </a:extLst>
                    </p:cNvPr>
                    <p:cNvSpPr>
                      <a:spLocks noChangeArrowheads="1"/>
                    </p:cNvSpPr>
                    <p:nvPr/>
                  </p:nvSpPr>
                  <p:spPr bwMode="auto">
                    <a:xfrm>
                      <a:off x="5426076" y="3138488"/>
                      <a:ext cx="73025"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3" name="Oval 213">
                      <a:extLst>
                        <a:ext uri="{FF2B5EF4-FFF2-40B4-BE49-F238E27FC236}">
                          <a16:creationId xmlns:a16="http://schemas.microsoft.com/office/drawing/2014/main" id="{4B5BCB21-FD20-4FA4-B30F-ED2983FF7635}"/>
                        </a:ext>
                      </a:extLst>
                    </p:cNvPr>
                    <p:cNvSpPr>
                      <a:spLocks noChangeArrowheads="1"/>
                    </p:cNvSpPr>
                    <p:nvPr/>
                  </p:nvSpPr>
                  <p:spPr bwMode="auto">
                    <a:xfrm>
                      <a:off x="5426076" y="289083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4" name="Oval 214">
                      <a:extLst>
                        <a:ext uri="{FF2B5EF4-FFF2-40B4-BE49-F238E27FC236}">
                          <a16:creationId xmlns:a16="http://schemas.microsoft.com/office/drawing/2014/main" id="{A5292833-9967-4C45-91DC-D18F2230928D}"/>
                        </a:ext>
                      </a:extLst>
                    </p:cNvPr>
                    <p:cNvSpPr>
                      <a:spLocks noChangeArrowheads="1"/>
                    </p:cNvSpPr>
                    <p:nvPr/>
                  </p:nvSpPr>
                  <p:spPr bwMode="auto">
                    <a:xfrm>
                      <a:off x="5691188" y="3144838"/>
                      <a:ext cx="74613" cy="79375"/>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5" name="Oval 208">
                      <a:extLst>
                        <a:ext uri="{FF2B5EF4-FFF2-40B4-BE49-F238E27FC236}">
                          <a16:creationId xmlns:a16="http://schemas.microsoft.com/office/drawing/2014/main" id="{C4E43DA8-D1CB-43BD-AAE3-A955CDFF7B13}"/>
                        </a:ext>
                      </a:extLst>
                    </p:cNvPr>
                    <p:cNvSpPr>
                      <a:spLocks noChangeArrowheads="1"/>
                    </p:cNvSpPr>
                    <p:nvPr/>
                  </p:nvSpPr>
                  <p:spPr bwMode="auto">
                    <a:xfrm>
                      <a:off x="4479926" y="3646488"/>
                      <a:ext cx="74613" cy="77788"/>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6" name="Oval 215">
                      <a:extLst>
                        <a:ext uri="{FF2B5EF4-FFF2-40B4-BE49-F238E27FC236}">
                          <a16:creationId xmlns:a16="http://schemas.microsoft.com/office/drawing/2014/main" id="{6D36FA6E-D4DA-435F-844A-B31850360E6A}"/>
                        </a:ext>
                      </a:extLst>
                    </p:cNvPr>
                    <p:cNvSpPr>
                      <a:spLocks noChangeArrowheads="1"/>
                    </p:cNvSpPr>
                    <p:nvPr/>
                  </p:nvSpPr>
                  <p:spPr bwMode="auto">
                    <a:xfrm>
                      <a:off x="4479926" y="3900488"/>
                      <a:ext cx="74613"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7" name="Oval 216">
                      <a:extLst>
                        <a:ext uri="{FF2B5EF4-FFF2-40B4-BE49-F238E27FC236}">
                          <a16:creationId xmlns:a16="http://schemas.microsoft.com/office/drawing/2014/main" id="{13815FED-9033-4546-B95D-66F931C815FD}"/>
                        </a:ext>
                      </a:extLst>
                    </p:cNvPr>
                    <p:cNvSpPr>
                      <a:spLocks noChangeArrowheads="1"/>
                    </p:cNvSpPr>
                    <p:nvPr/>
                  </p:nvSpPr>
                  <p:spPr bwMode="auto">
                    <a:xfrm>
                      <a:off x="5186363" y="390048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8" name="Oval 217">
                      <a:extLst>
                        <a:ext uri="{FF2B5EF4-FFF2-40B4-BE49-F238E27FC236}">
                          <a16:creationId xmlns:a16="http://schemas.microsoft.com/office/drawing/2014/main" id="{95AAE956-6C2B-4B9D-AB62-8E0762C0C564}"/>
                        </a:ext>
                      </a:extLst>
                    </p:cNvPr>
                    <p:cNvSpPr>
                      <a:spLocks noChangeArrowheads="1"/>
                    </p:cNvSpPr>
                    <p:nvPr/>
                  </p:nvSpPr>
                  <p:spPr bwMode="auto">
                    <a:xfrm>
                      <a:off x="5426076" y="3900488"/>
                      <a:ext cx="73025" cy="74613"/>
                    </a:xfrm>
                    <a:prstGeom prst="ellipse">
                      <a:avLst/>
                    </a:pr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89" name="Freeform 218">
                      <a:extLst>
                        <a:ext uri="{FF2B5EF4-FFF2-40B4-BE49-F238E27FC236}">
                          <a16:creationId xmlns:a16="http://schemas.microsoft.com/office/drawing/2014/main" id="{64E52EC8-F957-4E8D-A9D7-BFAFF9D38291}"/>
                        </a:ext>
                      </a:extLst>
                    </p:cNvPr>
                    <p:cNvSpPr>
                      <a:spLocks noEditPoints="1"/>
                    </p:cNvSpPr>
                    <p:nvPr/>
                  </p:nvSpPr>
                  <p:spPr bwMode="auto">
                    <a:xfrm>
                      <a:off x="5662613"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0" name="Freeform 219">
                      <a:extLst>
                        <a:ext uri="{FF2B5EF4-FFF2-40B4-BE49-F238E27FC236}">
                          <a16:creationId xmlns:a16="http://schemas.microsoft.com/office/drawing/2014/main" id="{98628AA5-400E-419A-85D2-08B912F1AFC2}"/>
                        </a:ext>
                      </a:extLst>
                    </p:cNvPr>
                    <p:cNvSpPr>
                      <a:spLocks noEditPoints="1"/>
                    </p:cNvSpPr>
                    <p:nvPr/>
                  </p:nvSpPr>
                  <p:spPr bwMode="auto">
                    <a:xfrm>
                      <a:off x="5395913" y="3619500"/>
                      <a:ext cx="133350"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1" name="Freeform 220">
                      <a:extLst>
                        <a:ext uri="{FF2B5EF4-FFF2-40B4-BE49-F238E27FC236}">
                          <a16:creationId xmlns:a16="http://schemas.microsoft.com/office/drawing/2014/main" id="{6A7897A6-3805-41DB-9052-2D804BB5559D}"/>
                        </a:ext>
                      </a:extLst>
                    </p:cNvPr>
                    <p:cNvSpPr>
                      <a:spLocks noEditPoints="1"/>
                    </p:cNvSpPr>
                    <p:nvPr/>
                  </p:nvSpPr>
                  <p:spPr bwMode="auto">
                    <a:xfrm>
                      <a:off x="5395913" y="3368675"/>
                      <a:ext cx="133350" cy="134938"/>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4 h 36"/>
                        <a:gd name="T12" fmla="*/ 4 w 36"/>
                        <a:gd name="T13" fmla="*/ 18 h 36"/>
                        <a:gd name="T14" fmla="*/ 18 w 36"/>
                        <a:gd name="T15" fmla="*/ 33 h 36"/>
                        <a:gd name="T16" fmla="*/ 33 w 36"/>
                        <a:gd name="T17" fmla="*/ 18 h 36"/>
                        <a:gd name="T18" fmla="*/ 18 w 36"/>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4"/>
                          </a:moveTo>
                          <a:cubicBezTo>
                            <a:pt x="10" y="4"/>
                            <a:pt x="4" y="10"/>
                            <a:pt x="4" y="18"/>
                          </a:cubicBezTo>
                          <a:cubicBezTo>
                            <a:pt x="4" y="26"/>
                            <a:pt x="10" y="33"/>
                            <a:pt x="18" y="33"/>
                          </a:cubicBezTo>
                          <a:cubicBezTo>
                            <a:pt x="26" y="33"/>
                            <a:pt x="33" y="26"/>
                            <a:pt x="33" y="18"/>
                          </a:cubicBezTo>
                          <a:cubicBezTo>
                            <a:pt x="33" y="10"/>
                            <a:pt x="26" y="4"/>
                            <a:pt x="18" y="4"/>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2" name="Freeform 221">
                      <a:extLst>
                        <a:ext uri="{FF2B5EF4-FFF2-40B4-BE49-F238E27FC236}">
                          <a16:creationId xmlns:a16="http://schemas.microsoft.com/office/drawing/2014/main" id="{7075F1B9-E9B4-4416-957B-669E32EBC013}"/>
                        </a:ext>
                      </a:extLst>
                    </p:cNvPr>
                    <p:cNvSpPr>
                      <a:spLocks noEditPoints="1"/>
                    </p:cNvSpPr>
                    <p:nvPr/>
                  </p:nvSpPr>
                  <p:spPr bwMode="auto">
                    <a:xfrm>
                      <a:off x="5662613"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3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3" y="10"/>
                            <a:pt x="3" y="18"/>
                          </a:cubicBezTo>
                          <a:cubicBezTo>
                            <a:pt x="3"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3" name="Freeform 222">
                      <a:extLst>
                        <a:ext uri="{FF2B5EF4-FFF2-40B4-BE49-F238E27FC236}">
                          <a16:creationId xmlns:a16="http://schemas.microsoft.com/office/drawing/2014/main" id="{A5720A22-6E86-4026-89AE-CCE4F84177C1}"/>
                        </a:ext>
                      </a:extLst>
                    </p:cNvPr>
                    <p:cNvSpPr>
                      <a:spLocks noEditPoints="1"/>
                    </p:cNvSpPr>
                    <p:nvPr/>
                  </p:nvSpPr>
                  <p:spPr bwMode="auto">
                    <a:xfrm>
                      <a:off x="4913313" y="3619500"/>
                      <a:ext cx="131763" cy="130175"/>
                    </a:xfrm>
                    <a:custGeom>
                      <a:avLst/>
                      <a:gdLst>
                        <a:gd name="T0" fmla="*/ 18 w 36"/>
                        <a:gd name="T1" fmla="*/ 35 h 35"/>
                        <a:gd name="T2" fmla="*/ 0 w 36"/>
                        <a:gd name="T3" fmla="*/ 18 h 35"/>
                        <a:gd name="T4" fmla="*/ 18 w 36"/>
                        <a:gd name="T5" fmla="*/ 0 h 35"/>
                        <a:gd name="T6" fmla="*/ 36 w 36"/>
                        <a:gd name="T7" fmla="*/ 18 h 35"/>
                        <a:gd name="T8" fmla="*/ 18 w 36"/>
                        <a:gd name="T9" fmla="*/ 35 h 35"/>
                        <a:gd name="T10" fmla="*/ 18 w 36"/>
                        <a:gd name="T11" fmla="*/ 3 h 35"/>
                        <a:gd name="T12" fmla="*/ 4 w 36"/>
                        <a:gd name="T13" fmla="*/ 18 h 35"/>
                        <a:gd name="T14" fmla="*/ 18 w 36"/>
                        <a:gd name="T15" fmla="*/ 32 h 35"/>
                        <a:gd name="T16" fmla="*/ 33 w 36"/>
                        <a:gd name="T17" fmla="*/ 18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8"/>
                          </a:cubicBezTo>
                          <a:cubicBezTo>
                            <a:pt x="0" y="8"/>
                            <a:pt x="8" y="0"/>
                            <a:pt x="18" y="0"/>
                          </a:cubicBezTo>
                          <a:cubicBezTo>
                            <a:pt x="28" y="0"/>
                            <a:pt x="36" y="8"/>
                            <a:pt x="36" y="18"/>
                          </a:cubicBezTo>
                          <a:cubicBezTo>
                            <a:pt x="36" y="27"/>
                            <a:pt x="28" y="35"/>
                            <a:pt x="18" y="35"/>
                          </a:cubicBezTo>
                          <a:close/>
                          <a:moveTo>
                            <a:pt x="18" y="3"/>
                          </a:moveTo>
                          <a:cubicBezTo>
                            <a:pt x="10" y="3"/>
                            <a:pt x="4" y="10"/>
                            <a:pt x="4" y="18"/>
                          </a:cubicBezTo>
                          <a:cubicBezTo>
                            <a:pt x="4" y="26"/>
                            <a:pt x="10" y="32"/>
                            <a:pt x="18" y="32"/>
                          </a:cubicBezTo>
                          <a:cubicBezTo>
                            <a:pt x="26" y="32"/>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4" name="Freeform 223">
                      <a:extLst>
                        <a:ext uri="{FF2B5EF4-FFF2-40B4-BE49-F238E27FC236}">
                          <a16:creationId xmlns:a16="http://schemas.microsoft.com/office/drawing/2014/main" id="{9F3801D7-5BC1-4EE2-AD91-539D2B8152CC}"/>
                        </a:ext>
                      </a:extLst>
                    </p:cNvPr>
                    <p:cNvSpPr>
                      <a:spLocks noEditPoints="1"/>
                    </p:cNvSpPr>
                    <p:nvPr/>
                  </p:nvSpPr>
                  <p:spPr bwMode="auto">
                    <a:xfrm>
                      <a:off x="5156201" y="3119438"/>
                      <a:ext cx="133350" cy="130175"/>
                    </a:xfrm>
                    <a:custGeom>
                      <a:avLst/>
                      <a:gdLst>
                        <a:gd name="T0" fmla="*/ 18 w 36"/>
                        <a:gd name="T1" fmla="*/ 35 h 35"/>
                        <a:gd name="T2" fmla="*/ 0 w 36"/>
                        <a:gd name="T3" fmla="*/ 17 h 35"/>
                        <a:gd name="T4" fmla="*/ 18 w 36"/>
                        <a:gd name="T5" fmla="*/ 0 h 35"/>
                        <a:gd name="T6" fmla="*/ 36 w 36"/>
                        <a:gd name="T7" fmla="*/ 17 h 35"/>
                        <a:gd name="T8" fmla="*/ 18 w 36"/>
                        <a:gd name="T9" fmla="*/ 35 h 35"/>
                        <a:gd name="T10" fmla="*/ 18 w 36"/>
                        <a:gd name="T11" fmla="*/ 3 h 35"/>
                        <a:gd name="T12" fmla="*/ 3 w 36"/>
                        <a:gd name="T13" fmla="*/ 17 h 35"/>
                        <a:gd name="T14" fmla="*/ 18 w 36"/>
                        <a:gd name="T15" fmla="*/ 32 h 35"/>
                        <a:gd name="T16" fmla="*/ 32 w 36"/>
                        <a:gd name="T17" fmla="*/ 17 h 35"/>
                        <a:gd name="T18" fmla="*/ 18 w 36"/>
                        <a:gd name="T19" fmla="*/ 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5">
                          <a:moveTo>
                            <a:pt x="18" y="35"/>
                          </a:moveTo>
                          <a:cubicBezTo>
                            <a:pt x="8" y="35"/>
                            <a:pt x="0" y="27"/>
                            <a:pt x="0" y="17"/>
                          </a:cubicBezTo>
                          <a:cubicBezTo>
                            <a:pt x="0" y="8"/>
                            <a:pt x="8" y="0"/>
                            <a:pt x="18" y="0"/>
                          </a:cubicBezTo>
                          <a:cubicBezTo>
                            <a:pt x="28" y="0"/>
                            <a:pt x="36" y="8"/>
                            <a:pt x="36" y="17"/>
                          </a:cubicBezTo>
                          <a:cubicBezTo>
                            <a:pt x="36" y="27"/>
                            <a:pt x="28" y="35"/>
                            <a:pt x="18" y="35"/>
                          </a:cubicBezTo>
                          <a:close/>
                          <a:moveTo>
                            <a:pt x="18" y="3"/>
                          </a:moveTo>
                          <a:cubicBezTo>
                            <a:pt x="10" y="3"/>
                            <a:pt x="3" y="9"/>
                            <a:pt x="3" y="17"/>
                          </a:cubicBezTo>
                          <a:cubicBezTo>
                            <a:pt x="3" y="26"/>
                            <a:pt x="10" y="32"/>
                            <a:pt x="18" y="32"/>
                          </a:cubicBezTo>
                          <a:cubicBezTo>
                            <a:pt x="26" y="32"/>
                            <a:pt x="32" y="26"/>
                            <a:pt x="32" y="17"/>
                          </a:cubicBezTo>
                          <a:cubicBezTo>
                            <a:pt x="32" y="9"/>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5" name="Freeform 224">
                      <a:extLst>
                        <a:ext uri="{FF2B5EF4-FFF2-40B4-BE49-F238E27FC236}">
                          <a16:creationId xmlns:a16="http://schemas.microsoft.com/office/drawing/2014/main" id="{47609257-E2D9-4500-A7D5-F8EED16586B4}"/>
                        </a:ext>
                      </a:extLst>
                    </p:cNvPr>
                    <p:cNvSpPr>
                      <a:spLocks noEditPoints="1"/>
                    </p:cNvSpPr>
                    <p:nvPr/>
                  </p:nvSpPr>
                  <p:spPr bwMode="auto">
                    <a:xfrm>
                      <a:off x="5156201" y="2862263"/>
                      <a:ext cx="133350"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2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2" y="26"/>
                            <a:pt x="32" y="18"/>
                          </a:cubicBezTo>
                          <a:cubicBezTo>
                            <a:pt x="32"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6" name="Freeform 225">
                      <a:extLst>
                        <a:ext uri="{FF2B5EF4-FFF2-40B4-BE49-F238E27FC236}">
                          <a16:creationId xmlns:a16="http://schemas.microsoft.com/office/drawing/2014/main" id="{D249DCA7-56EC-4567-B092-CC9CCFC4B93C}"/>
                        </a:ext>
                      </a:extLst>
                    </p:cNvPr>
                    <p:cNvSpPr>
                      <a:spLocks noEditPoints="1"/>
                    </p:cNvSpPr>
                    <p:nvPr/>
                  </p:nvSpPr>
                  <p:spPr bwMode="auto">
                    <a:xfrm>
                      <a:off x="5662613" y="2862263"/>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3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3" y="10"/>
                            <a:pt x="3" y="18"/>
                          </a:cubicBezTo>
                          <a:cubicBezTo>
                            <a:pt x="3"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sp>
                  <p:nvSpPr>
                    <p:cNvPr id="497" name="Freeform 226">
                      <a:extLst>
                        <a:ext uri="{FF2B5EF4-FFF2-40B4-BE49-F238E27FC236}">
                          <a16:creationId xmlns:a16="http://schemas.microsoft.com/office/drawing/2014/main" id="{12E1E5D4-30A4-418B-85CF-D95345F7E136}"/>
                        </a:ext>
                      </a:extLst>
                    </p:cNvPr>
                    <p:cNvSpPr>
                      <a:spLocks noEditPoints="1"/>
                    </p:cNvSpPr>
                    <p:nvPr/>
                  </p:nvSpPr>
                  <p:spPr bwMode="auto">
                    <a:xfrm>
                      <a:off x="4913313" y="3870325"/>
                      <a:ext cx="131763" cy="133350"/>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3 h 36"/>
                        <a:gd name="T12" fmla="*/ 4 w 36"/>
                        <a:gd name="T13" fmla="*/ 18 h 36"/>
                        <a:gd name="T14" fmla="*/ 18 w 36"/>
                        <a:gd name="T15" fmla="*/ 33 h 36"/>
                        <a:gd name="T16" fmla="*/ 33 w 36"/>
                        <a:gd name="T17" fmla="*/ 18 h 36"/>
                        <a:gd name="T18" fmla="*/ 18 w 36"/>
                        <a:gd name="T19"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3"/>
                          </a:moveTo>
                          <a:cubicBezTo>
                            <a:pt x="10" y="3"/>
                            <a:pt x="4" y="10"/>
                            <a:pt x="4" y="18"/>
                          </a:cubicBezTo>
                          <a:cubicBezTo>
                            <a:pt x="4" y="26"/>
                            <a:pt x="10" y="33"/>
                            <a:pt x="18" y="33"/>
                          </a:cubicBezTo>
                          <a:cubicBezTo>
                            <a:pt x="26" y="33"/>
                            <a:pt x="33" y="26"/>
                            <a:pt x="33" y="18"/>
                          </a:cubicBezTo>
                          <a:cubicBezTo>
                            <a:pt x="33" y="10"/>
                            <a:pt x="26" y="3"/>
                            <a:pt x="18" y="3"/>
                          </a:cubicBezTo>
                          <a:close/>
                        </a:path>
                      </a:pathLst>
                    </a:custGeom>
                    <a:solidFill>
                      <a:srgbClr val="1D45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82828"/>
                        </a:solidFill>
                        <a:effectLst/>
                        <a:uLnTx/>
                        <a:uFillTx/>
                        <a:latin typeface="+mj-lt"/>
                        <a:ea typeface="+mn-ea"/>
                        <a:cs typeface="+mn-cs"/>
                      </a:endParaRPr>
                    </a:p>
                  </p:txBody>
                </p:sp>
              </p:grpSp>
            </p:grpSp>
          </p:grpSp>
        </p:grpSp>
      </p:grpSp>
      <p:sp>
        <p:nvSpPr>
          <p:cNvPr id="586" name="Rectangle: Rounded Corners 585">
            <a:extLst>
              <a:ext uri="{FF2B5EF4-FFF2-40B4-BE49-F238E27FC236}">
                <a16:creationId xmlns:a16="http://schemas.microsoft.com/office/drawing/2014/main" id="{CC1E59A8-792C-47FD-8B40-A1F641F8EA2D}"/>
              </a:ext>
            </a:extLst>
          </p:cNvPr>
          <p:cNvSpPr/>
          <p:nvPr/>
        </p:nvSpPr>
        <p:spPr>
          <a:xfrm>
            <a:off x="512131" y="1289994"/>
            <a:ext cx="2688130" cy="1447600"/>
          </a:xfrm>
          <a:prstGeom prst="roundRect">
            <a:avLst>
              <a:gd name="adj" fmla="val 5380"/>
            </a:avLst>
          </a:prstGeom>
          <a:solidFill>
            <a:srgbClr val="FFFFFF"/>
          </a:solidFill>
          <a:ln w="19050" cap="flat" cmpd="sng" algn="ctr">
            <a:solidFill>
              <a:schemeClr val="tx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mj-lt"/>
              <a:ea typeface="+mn-ea"/>
              <a:cs typeface="+mn-cs"/>
            </a:endParaRPr>
          </a:p>
        </p:txBody>
      </p:sp>
      <p:sp>
        <p:nvSpPr>
          <p:cNvPr id="223" name="TextBox 222">
            <a:extLst>
              <a:ext uri="{FF2B5EF4-FFF2-40B4-BE49-F238E27FC236}">
                <a16:creationId xmlns:a16="http://schemas.microsoft.com/office/drawing/2014/main" id="{82671C96-A44D-42B8-8B67-A170312B8178}"/>
              </a:ext>
            </a:extLst>
          </p:cNvPr>
          <p:cNvSpPr txBox="1">
            <a:spLocks/>
          </p:cNvSpPr>
          <p:nvPr/>
        </p:nvSpPr>
        <p:spPr>
          <a:xfrm>
            <a:off x="892955" y="1193910"/>
            <a:ext cx="998127" cy="169277"/>
          </a:xfrm>
          <a:prstGeom prst="rect">
            <a:avLst/>
          </a:prstGeom>
          <a:solidFill>
            <a:srgbClr val="FFFFFF"/>
          </a:solidFill>
        </p:spPr>
        <p:txBody>
          <a:bodyPr wrap="square" lIns="0" tIns="0" rIns="0" bIns="0" rtlCol="0" anchor="ctr">
            <a:spAutoFit/>
          </a:bodyPr>
          <a:lstStyle/>
          <a:p>
            <a:pPr marL="0" marR="0" lvl="0" indent="0" algn="ctr" defTabSz="456974" rtl="0" eaLnBrk="1" fontAlgn="base" latinLnBrk="0" hangingPunct="1">
              <a:lnSpc>
                <a:spcPct val="100000"/>
              </a:lnSpc>
              <a:spcBef>
                <a:spcPts val="100"/>
              </a:spcBef>
              <a:spcAft>
                <a:spcPct val="0"/>
              </a:spcAft>
              <a:buClrTx/>
              <a:buSzTx/>
              <a:buFontTx/>
              <a:buNone/>
              <a:tabLst/>
              <a:defRPr/>
            </a:pPr>
            <a:r>
              <a:rPr kumimoji="0" lang="en-US" sz="1100" b="0" i="0" u="none" strike="noStrike" kern="0" cap="none" spc="0" normalizeH="0" baseline="0" noProof="0">
                <a:ln>
                  <a:noFill/>
                </a:ln>
                <a:effectLst/>
                <a:uLnTx/>
                <a:uFillTx/>
                <a:latin typeface="+mj-lt"/>
                <a:ea typeface="ＭＳ Ｐゴシック" charset="0"/>
                <a:cs typeface="CiscoSansTT" panose="020B0503020201020303" pitchFamily="34" charset="0"/>
              </a:rPr>
              <a:t>Cisco Secure</a:t>
            </a:r>
          </a:p>
        </p:txBody>
      </p:sp>
      <p:grpSp>
        <p:nvGrpSpPr>
          <p:cNvPr id="588" name="Group 587">
            <a:extLst>
              <a:ext uri="{FF2B5EF4-FFF2-40B4-BE49-F238E27FC236}">
                <a16:creationId xmlns:a16="http://schemas.microsoft.com/office/drawing/2014/main" id="{F93A8E96-6504-4E8A-B4B2-4D036B23C3D1}"/>
              </a:ext>
            </a:extLst>
          </p:cNvPr>
          <p:cNvGrpSpPr/>
          <p:nvPr/>
        </p:nvGrpSpPr>
        <p:grpSpPr>
          <a:xfrm>
            <a:off x="1388077" y="2154404"/>
            <a:ext cx="673874" cy="486025"/>
            <a:chOff x="2124909" y="1821512"/>
            <a:chExt cx="673874" cy="486025"/>
          </a:xfrm>
        </p:grpSpPr>
        <p:sp>
          <p:nvSpPr>
            <p:cNvPr id="589" name="TextBox 588">
              <a:extLst>
                <a:ext uri="{FF2B5EF4-FFF2-40B4-BE49-F238E27FC236}">
                  <a16:creationId xmlns:a16="http://schemas.microsoft.com/office/drawing/2014/main" id="{D365896E-6BEC-4952-B25A-D9BA96B328C6}"/>
                </a:ext>
              </a:extLst>
            </p:cNvPr>
            <p:cNvSpPr txBox="1">
              <a:spLocks/>
            </p:cNvSpPr>
            <p:nvPr/>
          </p:nvSpPr>
          <p:spPr>
            <a:xfrm>
              <a:off x="2124909" y="2144409"/>
              <a:ext cx="673874" cy="163128"/>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Applications</a:t>
              </a:r>
            </a:p>
          </p:txBody>
        </p:sp>
        <p:grpSp>
          <p:nvGrpSpPr>
            <p:cNvPr id="590" name="Group 589">
              <a:extLst>
                <a:ext uri="{FF2B5EF4-FFF2-40B4-BE49-F238E27FC236}">
                  <a16:creationId xmlns:a16="http://schemas.microsoft.com/office/drawing/2014/main" id="{25FDB9DC-3F1D-4DB4-BBB2-E5F79618B273}"/>
                </a:ext>
              </a:extLst>
            </p:cNvPr>
            <p:cNvGrpSpPr/>
            <p:nvPr/>
          </p:nvGrpSpPr>
          <p:grpSpPr>
            <a:xfrm>
              <a:off x="2304523" y="1821512"/>
              <a:ext cx="314647" cy="323022"/>
              <a:chOff x="2304523" y="1821512"/>
              <a:chExt cx="314647" cy="323022"/>
            </a:xfrm>
          </p:grpSpPr>
          <p:sp>
            <p:nvSpPr>
              <p:cNvPr id="591" name="Oval 590">
                <a:extLst>
                  <a:ext uri="{FF2B5EF4-FFF2-40B4-BE49-F238E27FC236}">
                    <a16:creationId xmlns:a16="http://schemas.microsoft.com/office/drawing/2014/main" id="{13535BE1-3BDE-471F-9851-9DA9513298B3}"/>
                  </a:ext>
                </a:extLst>
              </p:cNvPr>
              <p:cNvSpPr/>
              <p:nvPr/>
            </p:nvSpPr>
            <p:spPr>
              <a:xfrm>
                <a:off x="2304523" y="1821512"/>
                <a:ext cx="314647"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pic>
            <p:nvPicPr>
              <p:cNvPr id="592" name="Graphic 591">
                <a:extLst>
                  <a:ext uri="{FF2B5EF4-FFF2-40B4-BE49-F238E27FC236}">
                    <a16:creationId xmlns:a16="http://schemas.microsoft.com/office/drawing/2014/main" id="{96640F3B-40FE-457A-A50B-7C892D152493}"/>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382845" y="1917425"/>
                <a:ext cx="158001" cy="131196"/>
              </a:xfrm>
              <a:prstGeom prst="rect">
                <a:avLst/>
              </a:prstGeom>
            </p:spPr>
          </p:pic>
        </p:grpSp>
      </p:grpSp>
      <p:grpSp>
        <p:nvGrpSpPr>
          <p:cNvPr id="593" name="Group 592">
            <a:extLst>
              <a:ext uri="{FF2B5EF4-FFF2-40B4-BE49-F238E27FC236}">
                <a16:creationId xmlns:a16="http://schemas.microsoft.com/office/drawing/2014/main" id="{3E99990F-1A6F-4AE5-B288-8D73F57140FF}"/>
              </a:ext>
            </a:extLst>
          </p:cNvPr>
          <p:cNvGrpSpPr/>
          <p:nvPr/>
        </p:nvGrpSpPr>
        <p:grpSpPr>
          <a:xfrm>
            <a:off x="747302" y="2154404"/>
            <a:ext cx="471269" cy="486025"/>
            <a:chOff x="1457350" y="1821512"/>
            <a:chExt cx="471269" cy="486025"/>
          </a:xfrm>
        </p:grpSpPr>
        <p:sp>
          <p:nvSpPr>
            <p:cNvPr id="594" name="TextBox 593">
              <a:extLst>
                <a:ext uri="{FF2B5EF4-FFF2-40B4-BE49-F238E27FC236}">
                  <a16:creationId xmlns:a16="http://schemas.microsoft.com/office/drawing/2014/main" id="{CCA71D0A-7419-4958-A376-1F366A38051C}"/>
                </a:ext>
              </a:extLst>
            </p:cNvPr>
            <p:cNvSpPr txBox="1">
              <a:spLocks/>
            </p:cNvSpPr>
            <p:nvPr/>
          </p:nvSpPr>
          <p:spPr>
            <a:xfrm>
              <a:off x="1457350" y="2144409"/>
              <a:ext cx="471269" cy="163128"/>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Cloud</a:t>
              </a:r>
            </a:p>
          </p:txBody>
        </p:sp>
        <p:sp>
          <p:nvSpPr>
            <p:cNvPr id="595" name="Oval 594">
              <a:extLst>
                <a:ext uri="{FF2B5EF4-FFF2-40B4-BE49-F238E27FC236}">
                  <a16:creationId xmlns:a16="http://schemas.microsoft.com/office/drawing/2014/main" id="{611E7484-B1DF-4927-AE36-0462556426AE}"/>
                </a:ext>
              </a:extLst>
            </p:cNvPr>
            <p:cNvSpPr/>
            <p:nvPr/>
          </p:nvSpPr>
          <p:spPr>
            <a:xfrm>
              <a:off x="1535661" y="1821512"/>
              <a:ext cx="314647"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pic>
          <p:nvPicPr>
            <p:cNvPr id="596" name="Graphic 595">
              <a:extLst>
                <a:ext uri="{FF2B5EF4-FFF2-40B4-BE49-F238E27FC236}">
                  <a16:creationId xmlns:a16="http://schemas.microsoft.com/office/drawing/2014/main" id="{C465D1E4-5120-44A3-90CD-D11B64991EFB}"/>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578902" y="1865903"/>
              <a:ext cx="228168" cy="234241"/>
            </a:xfrm>
            <a:prstGeom prst="rect">
              <a:avLst/>
            </a:prstGeom>
          </p:spPr>
        </p:pic>
      </p:grpSp>
      <p:grpSp>
        <p:nvGrpSpPr>
          <p:cNvPr id="597" name="Group 596">
            <a:extLst>
              <a:ext uri="{FF2B5EF4-FFF2-40B4-BE49-F238E27FC236}">
                <a16:creationId xmlns:a16="http://schemas.microsoft.com/office/drawing/2014/main" id="{CEE29E22-3556-4E2E-B048-8A39AB81961F}"/>
              </a:ext>
            </a:extLst>
          </p:cNvPr>
          <p:cNvGrpSpPr/>
          <p:nvPr/>
        </p:nvGrpSpPr>
        <p:grpSpPr>
          <a:xfrm>
            <a:off x="747303" y="1455143"/>
            <a:ext cx="471269" cy="482187"/>
            <a:chOff x="-10611" y="1821512"/>
            <a:chExt cx="471269" cy="482187"/>
          </a:xfrm>
        </p:grpSpPr>
        <p:sp>
          <p:nvSpPr>
            <p:cNvPr id="598" name="TextBox 597">
              <a:extLst>
                <a:ext uri="{FF2B5EF4-FFF2-40B4-BE49-F238E27FC236}">
                  <a16:creationId xmlns:a16="http://schemas.microsoft.com/office/drawing/2014/main" id="{F0CEF764-2734-4950-AE0E-23F88D975B9A}"/>
                </a:ext>
              </a:extLst>
            </p:cNvPr>
            <p:cNvSpPr txBox="1">
              <a:spLocks/>
            </p:cNvSpPr>
            <p:nvPr/>
          </p:nvSpPr>
          <p:spPr>
            <a:xfrm>
              <a:off x="-10611" y="2140571"/>
              <a:ext cx="471269" cy="163128"/>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Network</a:t>
              </a:r>
            </a:p>
          </p:txBody>
        </p:sp>
        <p:sp>
          <p:nvSpPr>
            <p:cNvPr id="599" name="Oval 598">
              <a:extLst>
                <a:ext uri="{FF2B5EF4-FFF2-40B4-BE49-F238E27FC236}">
                  <a16:creationId xmlns:a16="http://schemas.microsoft.com/office/drawing/2014/main" id="{FDB0528E-02EE-4F64-91DF-922F0FD8BE05}"/>
                </a:ext>
              </a:extLst>
            </p:cNvPr>
            <p:cNvSpPr/>
            <p:nvPr/>
          </p:nvSpPr>
          <p:spPr>
            <a:xfrm>
              <a:off x="67700" y="1821512"/>
              <a:ext cx="314647"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pic>
          <p:nvPicPr>
            <p:cNvPr id="600" name="Graphic 599">
              <a:extLst>
                <a:ext uri="{FF2B5EF4-FFF2-40B4-BE49-F238E27FC236}">
                  <a16:creationId xmlns:a16="http://schemas.microsoft.com/office/drawing/2014/main" id="{F84AEA86-D700-4997-BF83-F6B24C7EED6E}"/>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19036" y="1874214"/>
              <a:ext cx="211975" cy="217616"/>
            </a:xfrm>
            <a:prstGeom prst="rect">
              <a:avLst/>
            </a:prstGeom>
          </p:spPr>
        </p:pic>
      </p:grpSp>
      <p:grpSp>
        <p:nvGrpSpPr>
          <p:cNvPr id="601" name="Group 600">
            <a:extLst>
              <a:ext uri="{FF2B5EF4-FFF2-40B4-BE49-F238E27FC236}">
                <a16:creationId xmlns:a16="http://schemas.microsoft.com/office/drawing/2014/main" id="{32F48C9C-6E57-464C-A62A-E03F75A630A2}"/>
              </a:ext>
            </a:extLst>
          </p:cNvPr>
          <p:cNvGrpSpPr/>
          <p:nvPr/>
        </p:nvGrpSpPr>
        <p:grpSpPr>
          <a:xfrm>
            <a:off x="1420825" y="1455143"/>
            <a:ext cx="604114" cy="482187"/>
            <a:chOff x="656947" y="1821512"/>
            <a:chExt cx="604114" cy="482187"/>
          </a:xfrm>
        </p:grpSpPr>
        <p:sp>
          <p:nvSpPr>
            <p:cNvPr id="602" name="TextBox 601">
              <a:extLst>
                <a:ext uri="{FF2B5EF4-FFF2-40B4-BE49-F238E27FC236}">
                  <a16:creationId xmlns:a16="http://schemas.microsoft.com/office/drawing/2014/main" id="{2E8590AF-AC78-4ED9-A5FD-CB9736FDC775}"/>
                </a:ext>
              </a:extLst>
            </p:cNvPr>
            <p:cNvSpPr txBox="1">
              <a:spLocks/>
            </p:cNvSpPr>
            <p:nvPr/>
          </p:nvSpPr>
          <p:spPr>
            <a:xfrm>
              <a:off x="656947" y="2140571"/>
              <a:ext cx="604114" cy="163128"/>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D274D"/>
                  </a:solidFill>
                  <a:effectLst/>
                  <a:uLnTx/>
                  <a:uFillTx/>
                  <a:latin typeface="+mj-lt"/>
                  <a:ea typeface="ＭＳ Ｐゴシック" charset="0"/>
                  <a:cs typeface="+mn-cs"/>
                </a:rPr>
                <a:t>Endpoint</a:t>
              </a:r>
            </a:p>
          </p:txBody>
        </p:sp>
        <p:sp>
          <p:nvSpPr>
            <p:cNvPr id="603" name="Oval 602">
              <a:extLst>
                <a:ext uri="{FF2B5EF4-FFF2-40B4-BE49-F238E27FC236}">
                  <a16:creationId xmlns:a16="http://schemas.microsoft.com/office/drawing/2014/main" id="{6B8B9474-F84D-4FBC-A74B-D580EA9AFC6C}"/>
                </a:ext>
              </a:extLst>
            </p:cNvPr>
            <p:cNvSpPr/>
            <p:nvPr/>
          </p:nvSpPr>
          <p:spPr>
            <a:xfrm>
              <a:off x="801680" y="1821512"/>
              <a:ext cx="314647" cy="323022"/>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0D274D"/>
                </a:solidFill>
                <a:effectLst/>
                <a:uLnTx/>
                <a:uFillTx/>
                <a:latin typeface="+mj-lt"/>
                <a:ea typeface="+mn-ea"/>
                <a:cs typeface="+mn-cs"/>
              </a:endParaRPr>
            </a:p>
          </p:txBody>
        </p:sp>
        <p:pic>
          <p:nvPicPr>
            <p:cNvPr id="604" name="Graphic 603">
              <a:extLst>
                <a:ext uri="{FF2B5EF4-FFF2-40B4-BE49-F238E27FC236}">
                  <a16:creationId xmlns:a16="http://schemas.microsoft.com/office/drawing/2014/main" id="{D133125A-773D-4DB8-A172-CA7FA5C8E3B6}"/>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842841" y="1863768"/>
              <a:ext cx="232326" cy="238510"/>
            </a:xfrm>
            <a:prstGeom prst="rect">
              <a:avLst/>
            </a:prstGeom>
          </p:spPr>
        </p:pic>
      </p:grpSp>
      <p:grpSp>
        <p:nvGrpSpPr>
          <p:cNvPr id="3" name="Group 2">
            <a:extLst>
              <a:ext uri="{FF2B5EF4-FFF2-40B4-BE49-F238E27FC236}">
                <a16:creationId xmlns:a16="http://schemas.microsoft.com/office/drawing/2014/main" id="{B1520082-BB36-3742-98DA-533ED37A343A}"/>
              </a:ext>
            </a:extLst>
          </p:cNvPr>
          <p:cNvGrpSpPr/>
          <p:nvPr/>
        </p:nvGrpSpPr>
        <p:grpSpPr>
          <a:xfrm>
            <a:off x="3044586" y="4273627"/>
            <a:ext cx="2403365" cy="477950"/>
            <a:chOff x="3151975" y="3976736"/>
            <a:chExt cx="2403365" cy="477950"/>
          </a:xfrm>
        </p:grpSpPr>
        <p:sp>
          <p:nvSpPr>
            <p:cNvPr id="545" name="TextBox 544">
              <a:extLst>
                <a:ext uri="{FF2B5EF4-FFF2-40B4-BE49-F238E27FC236}">
                  <a16:creationId xmlns:a16="http://schemas.microsoft.com/office/drawing/2014/main" id="{7F211884-DE6C-4191-AE53-E392B763D931}"/>
                </a:ext>
              </a:extLst>
            </p:cNvPr>
            <p:cNvSpPr txBox="1">
              <a:spLocks/>
            </p:cNvSpPr>
            <p:nvPr/>
          </p:nvSpPr>
          <p:spPr>
            <a:xfrm>
              <a:off x="3151975" y="4184562"/>
              <a:ext cx="859790" cy="229625"/>
            </a:xfrm>
            <a:prstGeom prst="rect">
              <a:avLst/>
            </a:prstGeom>
            <a:solidFill>
              <a:srgbClr val="FFFFFF"/>
            </a:solidFill>
          </p:spPr>
          <p:txBody>
            <a:bodyPr wrap="none" lIns="0" tIns="0" rIns="0" bIns="0" rtlCol="0" anchor="ctr">
              <a:noAutofit/>
            </a:bodyPr>
            <a:lstStyle/>
            <a:p>
              <a:pPr marL="0" marR="0" lvl="0" indent="0" defTabSz="456974" rtl="0" eaLnBrk="1" fontAlgn="base" latinLnBrk="0" hangingPunct="1">
                <a:lnSpc>
                  <a:spcPct val="90000"/>
                </a:lnSpc>
                <a:spcBef>
                  <a:spcPts val="100"/>
                </a:spcBef>
                <a:spcAft>
                  <a:spcPct val="0"/>
                </a:spcAft>
                <a:buClrTx/>
                <a:buSzTx/>
                <a:buFontTx/>
                <a:buNone/>
                <a:tabLst/>
                <a:defRPr/>
              </a:pPr>
              <a:r>
                <a:rPr kumimoji="0" lang="en-US" sz="1100" b="0" i="0" u="none" strike="noStrike" kern="0" cap="none" spc="0" normalizeH="0" baseline="0" noProof="0">
                  <a:ln>
                    <a:noFill/>
                  </a:ln>
                  <a:solidFill>
                    <a:schemeClr val="bg1">
                      <a:lumMod val="50000"/>
                    </a:schemeClr>
                  </a:solidFill>
                  <a:effectLst/>
                  <a:uLnTx/>
                  <a:uFillTx/>
                  <a:latin typeface="+mj-lt"/>
                  <a:ea typeface="ＭＳ Ｐゴシック" charset="0"/>
                  <a:cs typeface="CiscoSansTT" panose="020B0503020201020303" pitchFamily="34" charset="0"/>
                </a:rPr>
                <a:t>  Your teams</a:t>
              </a:r>
            </a:p>
          </p:txBody>
        </p:sp>
        <p:grpSp>
          <p:nvGrpSpPr>
            <p:cNvPr id="546" name="Group 545">
              <a:extLst>
                <a:ext uri="{FF2B5EF4-FFF2-40B4-BE49-F238E27FC236}">
                  <a16:creationId xmlns:a16="http://schemas.microsoft.com/office/drawing/2014/main" id="{79E2736E-B834-49DF-A7F8-14EFA0617A9D}"/>
                </a:ext>
              </a:extLst>
            </p:cNvPr>
            <p:cNvGrpSpPr/>
            <p:nvPr/>
          </p:nvGrpSpPr>
          <p:grpSpPr>
            <a:xfrm>
              <a:off x="4588593" y="3978841"/>
              <a:ext cx="436278" cy="465239"/>
              <a:chOff x="3883149" y="3823598"/>
              <a:chExt cx="436278" cy="465239"/>
            </a:xfrm>
          </p:grpSpPr>
          <p:sp>
            <p:nvSpPr>
              <p:cNvPr id="547" name="TextBox 546">
                <a:extLst>
                  <a:ext uri="{FF2B5EF4-FFF2-40B4-BE49-F238E27FC236}">
                    <a16:creationId xmlns:a16="http://schemas.microsoft.com/office/drawing/2014/main" id="{2D800B00-1C5D-4BC0-9877-EA5DA3FD1AF4}"/>
                  </a:ext>
                </a:extLst>
              </p:cNvPr>
              <p:cNvSpPr txBox="1">
                <a:spLocks/>
              </p:cNvSpPr>
              <p:nvPr/>
            </p:nvSpPr>
            <p:spPr>
              <a:xfrm>
                <a:off x="3883149" y="3823598"/>
                <a:ext cx="436278" cy="158478"/>
              </a:xfrm>
              <a:prstGeom prst="roundRect">
                <a:avLst>
                  <a:gd name="adj" fmla="val 42602"/>
                </a:avLst>
              </a:prstGeom>
              <a:solidFill>
                <a:schemeClr val="bg1"/>
              </a:solid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FBAB18">
                        <a:lumMod val="75000"/>
                      </a:srgbClr>
                    </a:solidFill>
                    <a:effectLst/>
                    <a:uLnTx/>
                    <a:uFillTx/>
                    <a:latin typeface="+mj-lt"/>
                    <a:ea typeface="ＭＳ Ｐゴシック" charset="0"/>
                    <a:cs typeface="+mn-cs"/>
                  </a:rPr>
                  <a:t>ITOps</a:t>
                </a:r>
              </a:p>
            </p:txBody>
          </p:sp>
          <p:sp>
            <p:nvSpPr>
              <p:cNvPr id="548" name="Oval 547">
                <a:extLst>
                  <a:ext uri="{FF2B5EF4-FFF2-40B4-BE49-F238E27FC236}">
                    <a16:creationId xmlns:a16="http://schemas.microsoft.com/office/drawing/2014/main" id="{B6BC9AD3-5630-4411-9CEA-A9747B0CF460}"/>
                  </a:ext>
                </a:extLst>
              </p:cNvPr>
              <p:cNvSpPr/>
              <p:nvPr/>
            </p:nvSpPr>
            <p:spPr>
              <a:xfrm>
                <a:off x="3941365" y="3982543"/>
                <a:ext cx="306295" cy="306294"/>
              </a:xfrm>
              <a:prstGeom prst="ellipse">
                <a:avLst/>
              </a:prstGeom>
              <a:solidFill>
                <a:srgbClr val="FBAB18"/>
              </a:solidFill>
              <a:ln w="0" cap="flat" cmpd="sng" algn="ctr">
                <a:solidFill>
                  <a:srgbClr val="FFFFFF">
                    <a:lumMod val="85000"/>
                  </a:srgbClr>
                </a:solid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D274D"/>
                  </a:solidFill>
                  <a:effectLst/>
                  <a:uLnTx/>
                  <a:uFillTx/>
                  <a:latin typeface="+mj-lt"/>
                  <a:ea typeface="+mn-ea"/>
                  <a:cs typeface="+mn-cs"/>
                </a:endParaRPr>
              </a:p>
            </p:txBody>
          </p:sp>
          <p:pic>
            <p:nvPicPr>
              <p:cNvPr id="549" name="Picture 548" descr="A close up of a logo&#10;&#10;Description automatically generated">
                <a:extLst>
                  <a:ext uri="{FF2B5EF4-FFF2-40B4-BE49-F238E27FC236}">
                    <a16:creationId xmlns:a16="http://schemas.microsoft.com/office/drawing/2014/main" id="{607E15EE-2B9B-44D6-994F-FB621F8C16B8}"/>
                  </a:ext>
                </a:extLst>
              </p:cNvPr>
              <p:cNvPicPr>
                <a:picLocks noChangeAspect="1"/>
              </p:cNvPicPr>
              <p:nvPr/>
            </p:nvPicPr>
            <p:blipFill>
              <a:blip r:embed="rId24">
                <a:duotone>
                  <a:srgbClr val="9E9EA2">
                    <a:shade val="45000"/>
                    <a:satMod val="135000"/>
                  </a:srgbClr>
                  <a:prstClr val="white"/>
                </a:duotone>
              </a:blip>
              <a:stretch>
                <a:fillRect/>
              </a:stretch>
            </p:blipFill>
            <p:spPr>
              <a:xfrm>
                <a:off x="3999254" y="4034012"/>
                <a:ext cx="206264" cy="206263"/>
              </a:xfrm>
              <a:prstGeom prst="rect">
                <a:avLst/>
              </a:prstGeom>
            </p:spPr>
          </p:pic>
        </p:grpSp>
        <p:grpSp>
          <p:nvGrpSpPr>
            <p:cNvPr id="550" name="Group 549">
              <a:extLst>
                <a:ext uri="{FF2B5EF4-FFF2-40B4-BE49-F238E27FC236}">
                  <a16:creationId xmlns:a16="http://schemas.microsoft.com/office/drawing/2014/main" id="{31777476-8C87-4EBF-BDC0-BA588EF75D9F}"/>
                </a:ext>
              </a:extLst>
            </p:cNvPr>
            <p:cNvGrpSpPr/>
            <p:nvPr/>
          </p:nvGrpSpPr>
          <p:grpSpPr>
            <a:xfrm>
              <a:off x="4037499" y="3980446"/>
              <a:ext cx="436278" cy="474240"/>
              <a:chOff x="3876159" y="3248070"/>
              <a:chExt cx="436278" cy="474240"/>
            </a:xfrm>
          </p:grpSpPr>
          <p:sp>
            <p:nvSpPr>
              <p:cNvPr id="551" name="TextBox 550">
                <a:extLst>
                  <a:ext uri="{FF2B5EF4-FFF2-40B4-BE49-F238E27FC236}">
                    <a16:creationId xmlns:a16="http://schemas.microsoft.com/office/drawing/2014/main" id="{893BFABA-1F48-4059-8F31-928B39FE0330}"/>
                  </a:ext>
                </a:extLst>
              </p:cNvPr>
              <p:cNvSpPr txBox="1">
                <a:spLocks/>
              </p:cNvSpPr>
              <p:nvPr/>
            </p:nvSpPr>
            <p:spPr>
              <a:xfrm>
                <a:off x="3876159" y="3248070"/>
                <a:ext cx="436278" cy="158478"/>
              </a:xfrm>
              <a:prstGeom prst="roundRect">
                <a:avLst>
                  <a:gd name="adj" fmla="val 46307"/>
                </a:avLst>
              </a:prstGeom>
              <a:solidFill>
                <a:schemeClr val="bg1"/>
              </a:solid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E3241B"/>
                    </a:solidFill>
                    <a:effectLst/>
                    <a:uLnTx/>
                    <a:uFillTx/>
                    <a:latin typeface="+mj-lt"/>
                    <a:ea typeface="ＭＳ Ｐゴシック" charset="0"/>
                    <a:cs typeface="+mn-cs"/>
                  </a:rPr>
                  <a:t>SecOps</a:t>
                </a:r>
              </a:p>
            </p:txBody>
          </p:sp>
          <p:sp>
            <p:nvSpPr>
              <p:cNvPr id="552" name="Oval 551">
                <a:extLst>
                  <a:ext uri="{FF2B5EF4-FFF2-40B4-BE49-F238E27FC236}">
                    <a16:creationId xmlns:a16="http://schemas.microsoft.com/office/drawing/2014/main" id="{A0568043-088F-499D-82C0-49577413B4A2}"/>
                  </a:ext>
                </a:extLst>
              </p:cNvPr>
              <p:cNvSpPr/>
              <p:nvPr/>
            </p:nvSpPr>
            <p:spPr>
              <a:xfrm>
                <a:off x="3941151" y="3416016"/>
                <a:ext cx="306295" cy="306294"/>
              </a:xfrm>
              <a:prstGeom prst="ellipse">
                <a:avLst/>
              </a:prstGeom>
              <a:solidFill>
                <a:srgbClr val="E3241B"/>
              </a:solidFill>
              <a:ln w="0" cap="flat" cmpd="sng" algn="ctr">
                <a:solidFill>
                  <a:srgbClr val="FFFFFF">
                    <a:lumMod val="85000"/>
                  </a:srgbClr>
                </a:solid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D274D"/>
                  </a:solidFill>
                  <a:effectLst/>
                  <a:uLnTx/>
                  <a:uFillTx/>
                  <a:latin typeface="+mj-lt"/>
                  <a:ea typeface="+mn-ea"/>
                  <a:cs typeface="+mn-cs"/>
                </a:endParaRPr>
              </a:p>
            </p:txBody>
          </p:sp>
          <p:pic>
            <p:nvPicPr>
              <p:cNvPr id="553" name="Picture 552" descr="A close up of a logo&#10;&#10;Description automatically generated">
                <a:extLst>
                  <a:ext uri="{FF2B5EF4-FFF2-40B4-BE49-F238E27FC236}">
                    <a16:creationId xmlns:a16="http://schemas.microsoft.com/office/drawing/2014/main" id="{D46934AC-66A9-49E5-82D1-115B79E33965}"/>
                  </a:ext>
                </a:extLst>
              </p:cNvPr>
              <p:cNvPicPr>
                <a:picLocks noChangeAspect="1"/>
              </p:cNvPicPr>
              <p:nvPr/>
            </p:nvPicPr>
            <p:blipFill>
              <a:blip r:embed="rId25">
                <a:duotone>
                  <a:srgbClr val="FFFFFF">
                    <a:shade val="45000"/>
                    <a:satMod val="135000"/>
                  </a:srgbClr>
                  <a:prstClr val="white"/>
                </a:duotone>
              </a:blip>
              <a:stretch>
                <a:fillRect/>
              </a:stretch>
            </p:blipFill>
            <p:spPr>
              <a:xfrm>
                <a:off x="3992901" y="3470536"/>
                <a:ext cx="206264" cy="206263"/>
              </a:xfrm>
              <a:prstGeom prst="rect">
                <a:avLst/>
              </a:prstGeom>
            </p:spPr>
          </p:pic>
        </p:grpSp>
        <p:grpSp>
          <p:nvGrpSpPr>
            <p:cNvPr id="554" name="Group 553">
              <a:extLst>
                <a:ext uri="{FF2B5EF4-FFF2-40B4-BE49-F238E27FC236}">
                  <a16:creationId xmlns:a16="http://schemas.microsoft.com/office/drawing/2014/main" id="{1DF07304-D4D7-493E-B181-532546582B98}"/>
                </a:ext>
              </a:extLst>
            </p:cNvPr>
            <p:cNvGrpSpPr/>
            <p:nvPr/>
          </p:nvGrpSpPr>
          <p:grpSpPr>
            <a:xfrm>
              <a:off x="5119062" y="3976736"/>
              <a:ext cx="436278" cy="475957"/>
              <a:chOff x="3880643" y="4377476"/>
              <a:chExt cx="436278" cy="475957"/>
            </a:xfrm>
          </p:grpSpPr>
          <p:sp>
            <p:nvSpPr>
              <p:cNvPr id="555" name="TextBox 554">
                <a:extLst>
                  <a:ext uri="{FF2B5EF4-FFF2-40B4-BE49-F238E27FC236}">
                    <a16:creationId xmlns:a16="http://schemas.microsoft.com/office/drawing/2014/main" id="{0902E3D2-8A0F-4935-A6A8-01A502625A43}"/>
                  </a:ext>
                </a:extLst>
              </p:cNvPr>
              <p:cNvSpPr txBox="1">
                <a:spLocks/>
              </p:cNvSpPr>
              <p:nvPr/>
            </p:nvSpPr>
            <p:spPr>
              <a:xfrm>
                <a:off x="3880643" y="4377476"/>
                <a:ext cx="436278" cy="158478"/>
              </a:xfrm>
              <a:prstGeom prst="roundRect">
                <a:avLst>
                  <a:gd name="adj" fmla="val 46307"/>
                </a:avLst>
              </a:prstGeom>
              <a:solidFill>
                <a:schemeClr val="bg1"/>
              </a:solid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a:ln>
                      <a:noFill/>
                    </a:ln>
                    <a:solidFill>
                      <a:srgbClr val="00BCEB">
                        <a:lumMod val="75000"/>
                      </a:srgbClr>
                    </a:solidFill>
                    <a:effectLst/>
                    <a:uLnTx/>
                    <a:uFillTx/>
                    <a:latin typeface="+mj-lt"/>
                    <a:ea typeface="ＭＳ Ｐゴシック" charset="0"/>
                    <a:cs typeface="+mn-cs"/>
                  </a:rPr>
                  <a:t>NetOps</a:t>
                </a:r>
              </a:p>
            </p:txBody>
          </p:sp>
          <p:sp>
            <p:nvSpPr>
              <p:cNvPr id="556" name="Oval 555">
                <a:extLst>
                  <a:ext uri="{FF2B5EF4-FFF2-40B4-BE49-F238E27FC236}">
                    <a16:creationId xmlns:a16="http://schemas.microsoft.com/office/drawing/2014/main" id="{9CA65D36-2EF0-4CFD-BD99-58127F1D9713}"/>
                  </a:ext>
                </a:extLst>
              </p:cNvPr>
              <p:cNvSpPr/>
              <p:nvPr/>
            </p:nvSpPr>
            <p:spPr>
              <a:xfrm>
                <a:off x="3953807" y="4547139"/>
                <a:ext cx="306295" cy="306294"/>
              </a:xfrm>
              <a:prstGeom prst="ellipse">
                <a:avLst/>
              </a:prstGeom>
              <a:solidFill>
                <a:srgbClr val="00BCEB">
                  <a:lumMod val="75000"/>
                </a:srgbClr>
              </a:solidFill>
              <a:ln w="0" cap="flat" cmpd="sng" algn="ctr">
                <a:solidFill>
                  <a:srgbClr val="00BCEB">
                    <a:lumMod val="75000"/>
                  </a:srgbClr>
                </a:solidFill>
                <a:prstDash val="solid"/>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D274D"/>
                  </a:solidFill>
                  <a:effectLst/>
                  <a:uLnTx/>
                  <a:uFillTx/>
                  <a:latin typeface="+mj-lt"/>
                  <a:ea typeface="+mn-ea"/>
                  <a:cs typeface="+mn-cs"/>
                </a:endParaRPr>
              </a:p>
            </p:txBody>
          </p:sp>
          <p:pic>
            <p:nvPicPr>
              <p:cNvPr id="557" name="Picture 556" descr="A close up of a logo&#10;&#10;Description automatically generated">
                <a:extLst>
                  <a:ext uri="{FF2B5EF4-FFF2-40B4-BE49-F238E27FC236}">
                    <a16:creationId xmlns:a16="http://schemas.microsoft.com/office/drawing/2014/main" id="{D5CE30C0-ABBB-4E3F-92B0-6E26CEB48199}"/>
                  </a:ext>
                </a:extLst>
              </p:cNvPr>
              <p:cNvPicPr>
                <a:picLocks noChangeAspect="1"/>
              </p:cNvPicPr>
              <p:nvPr/>
            </p:nvPicPr>
            <p:blipFill>
              <a:blip r:embed="rId26">
                <a:duotone>
                  <a:srgbClr val="FFFFFF">
                    <a:shade val="45000"/>
                    <a:satMod val="135000"/>
                  </a:srgbClr>
                  <a:prstClr val="white"/>
                </a:duotone>
              </a:blip>
              <a:stretch>
                <a:fillRect/>
              </a:stretch>
            </p:blipFill>
            <p:spPr>
              <a:xfrm>
                <a:off x="4005033" y="4587924"/>
                <a:ext cx="206264" cy="206263"/>
              </a:xfrm>
              <a:prstGeom prst="rect">
                <a:avLst/>
              </a:prstGeom>
            </p:spPr>
          </p:pic>
        </p:grpSp>
      </p:grpSp>
      <p:grpSp>
        <p:nvGrpSpPr>
          <p:cNvPr id="44" name="Group 43">
            <a:extLst>
              <a:ext uri="{FF2B5EF4-FFF2-40B4-BE49-F238E27FC236}">
                <a16:creationId xmlns:a16="http://schemas.microsoft.com/office/drawing/2014/main" id="{1325E479-189D-9F49-83DB-5F27FDCDA7B6}"/>
              </a:ext>
            </a:extLst>
          </p:cNvPr>
          <p:cNvGrpSpPr/>
          <p:nvPr/>
        </p:nvGrpSpPr>
        <p:grpSpPr>
          <a:xfrm>
            <a:off x="3664449" y="3642651"/>
            <a:ext cx="2622889" cy="537428"/>
            <a:chOff x="3444551" y="3721268"/>
            <a:chExt cx="3062682" cy="627541"/>
          </a:xfrm>
        </p:grpSpPr>
        <p:grpSp>
          <p:nvGrpSpPr>
            <p:cNvPr id="558" name="Group 557">
              <a:extLst>
                <a:ext uri="{FF2B5EF4-FFF2-40B4-BE49-F238E27FC236}">
                  <a16:creationId xmlns:a16="http://schemas.microsoft.com/office/drawing/2014/main" id="{5EB2FD65-1D13-4ECB-9091-2406895322CF}"/>
                </a:ext>
              </a:extLst>
            </p:cNvPr>
            <p:cNvGrpSpPr/>
            <p:nvPr/>
          </p:nvGrpSpPr>
          <p:grpSpPr>
            <a:xfrm>
              <a:off x="4177683" y="3721268"/>
              <a:ext cx="737083" cy="627541"/>
              <a:chOff x="3898596" y="3305699"/>
              <a:chExt cx="573668" cy="488412"/>
            </a:xfrm>
          </p:grpSpPr>
          <p:sp>
            <p:nvSpPr>
              <p:cNvPr id="559" name="TextBox 558">
                <a:extLst>
                  <a:ext uri="{FF2B5EF4-FFF2-40B4-BE49-F238E27FC236}">
                    <a16:creationId xmlns:a16="http://schemas.microsoft.com/office/drawing/2014/main" id="{FB44061E-F173-4A66-ABF5-820357777495}"/>
                  </a:ext>
                </a:extLst>
              </p:cNvPr>
              <p:cNvSpPr txBox="1">
                <a:spLocks/>
              </p:cNvSpPr>
              <p:nvPr/>
            </p:nvSpPr>
            <p:spPr>
              <a:xfrm>
                <a:off x="3898596" y="3582874"/>
                <a:ext cx="573668" cy="211237"/>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Investigation</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Remediation</a:t>
                </a:r>
              </a:p>
            </p:txBody>
          </p:sp>
          <p:grpSp>
            <p:nvGrpSpPr>
              <p:cNvPr id="560" name="Group 559">
                <a:extLst>
                  <a:ext uri="{FF2B5EF4-FFF2-40B4-BE49-F238E27FC236}">
                    <a16:creationId xmlns:a16="http://schemas.microsoft.com/office/drawing/2014/main" id="{7B12C2C8-2C45-4D27-83AF-43A7FD498378}"/>
                  </a:ext>
                </a:extLst>
              </p:cNvPr>
              <p:cNvGrpSpPr/>
              <p:nvPr/>
            </p:nvGrpSpPr>
            <p:grpSpPr>
              <a:xfrm>
                <a:off x="4051919" y="3305699"/>
                <a:ext cx="246688" cy="246581"/>
                <a:chOff x="4051919" y="3293941"/>
                <a:chExt cx="246688" cy="246581"/>
              </a:xfrm>
            </p:grpSpPr>
            <p:sp>
              <p:nvSpPr>
                <p:cNvPr id="561" name="Oval 560">
                  <a:extLst>
                    <a:ext uri="{FF2B5EF4-FFF2-40B4-BE49-F238E27FC236}">
                      <a16:creationId xmlns:a16="http://schemas.microsoft.com/office/drawing/2014/main" id="{42F698BB-6BBE-4585-9E00-F0F7C3E1EFF0}"/>
                    </a:ext>
                  </a:extLst>
                </p:cNvPr>
                <p:cNvSpPr/>
                <p:nvPr/>
              </p:nvSpPr>
              <p:spPr>
                <a:xfrm>
                  <a:off x="4051919" y="3293941"/>
                  <a:ext cx="246688" cy="246581"/>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D274D"/>
                    </a:solidFill>
                    <a:effectLst/>
                    <a:uLnTx/>
                    <a:uFillTx/>
                    <a:latin typeface="+mj-lt"/>
                    <a:ea typeface="+mn-ea"/>
                    <a:cs typeface="+mn-cs"/>
                  </a:endParaRPr>
                </a:p>
              </p:txBody>
            </p:sp>
            <p:pic>
              <p:nvPicPr>
                <p:cNvPr id="562" name="Picture 561" descr="A picture containing drawing&#10;&#10;Description automatically generated">
                  <a:extLst>
                    <a:ext uri="{FF2B5EF4-FFF2-40B4-BE49-F238E27FC236}">
                      <a16:creationId xmlns:a16="http://schemas.microsoft.com/office/drawing/2014/main" id="{4B32B57D-E011-4A88-90B3-EA6B2CACC9D1}"/>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4095516" y="3332973"/>
                  <a:ext cx="164832" cy="164832"/>
                </a:xfrm>
                <a:prstGeom prst="rect">
                  <a:avLst/>
                </a:prstGeom>
              </p:spPr>
            </p:pic>
          </p:grpSp>
        </p:grpSp>
        <p:grpSp>
          <p:nvGrpSpPr>
            <p:cNvPr id="563" name="Group 562">
              <a:extLst>
                <a:ext uri="{FF2B5EF4-FFF2-40B4-BE49-F238E27FC236}">
                  <a16:creationId xmlns:a16="http://schemas.microsoft.com/office/drawing/2014/main" id="{E5B80C43-5186-4517-9A98-0241498196DB}"/>
                </a:ext>
              </a:extLst>
            </p:cNvPr>
            <p:cNvGrpSpPr/>
            <p:nvPr/>
          </p:nvGrpSpPr>
          <p:grpSpPr>
            <a:xfrm>
              <a:off x="5064860" y="3721268"/>
              <a:ext cx="555196" cy="627541"/>
              <a:chOff x="4635194" y="3305699"/>
              <a:chExt cx="432106" cy="488412"/>
            </a:xfrm>
          </p:grpSpPr>
          <p:sp>
            <p:nvSpPr>
              <p:cNvPr id="564" name="TextBox 563">
                <a:extLst>
                  <a:ext uri="{FF2B5EF4-FFF2-40B4-BE49-F238E27FC236}">
                    <a16:creationId xmlns:a16="http://schemas.microsoft.com/office/drawing/2014/main" id="{DB856627-C5BA-46AE-8B41-B3A11F1202E1}"/>
                  </a:ext>
                </a:extLst>
              </p:cNvPr>
              <p:cNvSpPr txBox="1">
                <a:spLocks/>
              </p:cNvSpPr>
              <p:nvPr/>
            </p:nvSpPr>
            <p:spPr>
              <a:xfrm>
                <a:off x="4635194" y="3582874"/>
                <a:ext cx="432106" cy="211237"/>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Managed</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Policy</a:t>
                </a:r>
              </a:p>
            </p:txBody>
          </p:sp>
          <p:grpSp>
            <p:nvGrpSpPr>
              <p:cNvPr id="565" name="Group 564">
                <a:extLst>
                  <a:ext uri="{FF2B5EF4-FFF2-40B4-BE49-F238E27FC236}">
                    <a16:creationId xmlns:a16="http://schemas.microsoft.com/office/drawing/2014/main" id="{756D0D7F-B9AC-44B1-B8C3-7F749BEC51B7}"/>
                  </a:ext>
                </a:extLst>
              </p:cNvPr>
              <p:cNvGrpSpPr/>
              <p:nvPr/>
            </p:nvGrpSpPr>
            <p:grpSpPr>
              <a:xfrm>
                <a:off x="4727904" y="3305699"/>
                <a:ext cx="246688" cy="246581"/>
                <a:chOff x="4727904" y="3283162"/>
                <a:chExt cx="246688" cy="246581"/>
              </a:xfrm>
            </p:grpSpPr>
            <p:sp>
              <p:nvSpPr>
                <p:cNvPr id="566" name="Oval 565">
                  <a:extLst>
                    <a:ext uri="{FF2B5EF4-FFF2-40B4-BE49-F238E27FC236}">
                      <a16:creationId xmlns:a16="http://schemas.microsoft.com/office/drawing/2014/main" id="{E18B56F0-CB47-4999-983C-39ED8F05FE48}"/>
                    </a:ext>
                  </a:extLst>
                </p:cNvPr>
                <p:cNvSpPr/>
                <p:nvPr/>
              </p:nvSpPr>
              <p:spPr>
                <a:xfrm>
                  <a:off x="4727904" y="3283162"/>
                  <a:ext cx="246688" cy="246581"/>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D274D"/>
                    </a:solidFill>
                    <a:effectLst/>
                    <a:uLnTx/>
                    <a:uFillTx/>
                    <a:latin typeface="+mj-lt"/>
                    <a:ea typeface="+mn-ea"/>
                    <a:cs typeface="+mn-cs"/>
                  </a:endParaRPr>
                </a:p>
              </p:txBody>
            </p:sp>
            <p:pic>
              <p:nvPicPr>
                <p:cNvPr id="567" name="Picture 566" descr="A picture containing plate, drawing, clock&#10;&#10;Description automatically generated">
                  <a:extLst>
                    <a:ext uri="{FF2B5EF4-FFF2-40B4-BE49-F238E27FC236}">
                      <a16:creationId xmlns:a16="http://schemas.microsoft.com/office/drawing/2014/main" id="{2E026B8D-007F-417D-A08C-BBD1739CEA56}"/>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775113" y="3325582"/>
                  <a:ext cx="158239" cy="158239"/>
                </a:xfrm>
                <a:prstGeom prst="rect">
                  <a:avLst/>
                </a:prstGeom>
              </p:spPr>
            </p:pic>
          </p:grpSp>
        </p:grpSp>
        <p:grpSp>
          <p:nvGrpSpPr>
            <p:cNvPr id="568" name="Group 567">
              <a:extLst>
                <a:ext uri="{FF2B5EF4-FFF2-40B4-BE49-F238E27FC236}">
                  <a16:creationId xmlns:a16="http://schemas.microsoft.com/office/drawing/2014/main" id="{0260A292-EED1-4297-BB03-4BE0B56080E5}"/>
                </a:ext>
              </a:extLst>
            </p:cNvPr>
            <p:cNvGrpSpPr/>
            <p:nvPr/>
          </p:nvGrpSpPr>
          <p:grpSpPr>
            <a:xfrm>
              <a:off x="5770150" y="3721268"/>
              <a:ext cx="737083" cy="627541"/>
              <a:chOff x="5230232" y="3305699"/>
              <a:chExt cx="573668" cy="488412"/>
            </a:xfrm>
          </p:grpSpPr>
          <p:sp>
            <p:nvSpPr>
              <p:cNvPr id="569" name="TextBox 568">
                <a:extLst>
                  <a:ext uri="{FF2B5EF4-FFF2-40B4-BE49-F238E27FC236}">
                    <a16:creationId xmlns:a16="http://schemas.microsoft.com/office/drawing/2014/main" id="{CE845E73-721C-4A94-8582-9BA545D5FF05}"/>
                  </a:ext>
                </a:extLst>
              </p:cNvPr>
              <p:cNvSpPr txBox="1">
                <a:spLocks/>
              </p:cNvSpPr>
              <p:nvPr/>
            </p:nvSpPr>
            <p:spPr>
              <a:xfrm>
                <a:off x="5230232" y="3582874"/>
                <a:ext cx="573668" cy="211237"/>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Orchestration</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Automation</a:t>
                </a:r>
              </a:p>
            </p:txBody>
          </p:sp>
          <p:grpSp>
            <p:nvGrpSpPr>
              <p:cNvPr id="570" name="Group 569">
                <a:extLst>
                  <a:ext uri="{FF2B5EF4-FFF2-40B4-BE49-F238E27FC236}">
                    <a16:creationId xmlns:a16="http://schemas.microsoft.com/office/drawing/2014/main" id="{574EE11A-DF50-4E01-8F01-2F19293FD119}"/>
                  </a:ext>
                </a:extLst>
              </p:cNvPr>
              <p:cNvGrpSpPr/>
              <p:nvPr/>
            </p:nvGrpSpPr>
            <p:grpSpPr>
              <a:xfrm>
                <a:off x="5374547" y="3305699"/>
                <a:ext cx="246688" cy="246581"/>
                <a:chOff x="5374547" y="3281994"/>
                <a:chExt cx="246688" cy="246581"/>
              </a:xfrm>
            </p:grpSpPr>
            <p:sp>
              <p:nvSpPr>
                <p:cNvPr id="571" name="Oval 570">
                  <a:extLst>
                    <a:ext uri="{FF2B5EF4-FFF2-40B4-BE49-F238E27FC236}">
                      <a16:creationId xmlns:a16="http://schemas.microsoft.com/office/drawing/2014/main" id="{BDBE6717-7537-4B45-BB91-5A22D9DCCB42}"/>
                    </a:ext>
                  </a:extLst>
                </p:cNvPr>
                <p:cNvSpPr/>
                <p:nvPr/>
              </p:nvSpPr>
              <p:spPr>
                <a:xfrm>
                  <a:off x="5374547" y="3281994"/>
                  <a:ext cx="246688" cy="246581"/>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D274D"/>
                    </a:solidFill>
                    <a:effectLst/>
                    <a:uLnTx/>
                    <a:uFillTx/>
                    <a:latin typeface="+mj-lt"/>
                    <a:ea typeface="+mn-ea"/>
                    <a:cs typeface="+mn-cs"/>
                  </a:endParaRPr>
                </a:p>
              </p:txBody>
            </p:sp>
            <p:pic>
              <p:nvPicPr>
                <p:cNvPr id="572" name="Picture 571" descr="A close up of graphics&#10;&#10;Description automatically generated">
                  <a:extLst>
                    <a:ext uri="{FF2B5EF4-FFF2-40B4-BE49-F238E27FC236}">
                      <a16:creationId xmlns:a16="http://schemas.microsoft.com/office/drawing/2014/main" id="{CFEA72A1-2026-4553-8269-199B2D81CDA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424640" y="3332370"/>
                  <a:ext cx="158239" cy="158239"/>
                </a:xfrm>
                <a:prstGeom prst="rect">
                  <a:avLst/>
                </a:prstGeom>
              </p:spPr>
            </p:pic>
          </p:grpSp>
        </p:grpSp>
        <p:grpSp>
          <p:nvGrpSpPr>
            <p:cNvPr id="573" name="Group 572">
              <a:extLst>
                <a:ext uri="{FF2B5EF4-FFF2-40B4-BE49-F238E27FC236}">
                  <a16:creationId xmlns:a16="http://schemas.microsoft.com/office/drawing/2014/main" id="{069F9667-F4E8-463E-8636-E652039FA708}"/>
                </a:ext>
              </a:extLst>
            </p:cNvPr>
            <p:cNvGrpSpPr/>
            <p:nvPr/>
          </p:nvGrpSpPr>
          <p:grpSpPr>
            <a:xfrm>
              <a:off x="3444551" y="3721268"/>
              <a:ext cx="583039" cy="627541"/>
              <a:chOff x="2962524" y="3305699"/>
              <a:chExt cx="453776" cy="488412"/>
            </a:xfrm>
          </p:grpSpPr>
          <p:sp>
            <p:nvSpPr>
              <p:cNvPr id="574" name="TextBox 573">
                <a:extLst>
                  <a:ext uri="{FF2B5EF4-FFF2-40B4-BE49-F238E27FC236}">
                    <a16:creationId xmlns:a16="http://schemas.microsoft.com/office/drawing/2014/main" id="{F5024C44-B03B-4BCF-A599-CEF74F83291F}"/>
                  </a:ext>
                </a:extLst>
              </p:cNvPr>
              <p:cNvSpPr txBox="1">
                <a:spLocks/>
              </p:cNvSpPr>
              <p:nvPr/>
            </p:nvSpPr>
            <p:spPr>
              <a:xfrm>
                <a:off x="2962524" y="3582874"/>
                <a:ext cx="453776" cy="211237"/>
              </a:xfrm>
              <a:prstGeom prst="roundRect">
                <a:avLst/>
              </a:prstGeom>
              <a:noFill/>
            </p:spPr>
            <p:txBody>
              <a:bodyPr wrap="square" lIns="0" tIns="0" rIns="0" bIns="0" rtlCol="0" anchor="ctr">
                <a:no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Detection</a:t>
                </a:r>
              </a:p>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700" b="0" i="0" u="none" strike="noStrike" kern="0" cap="none" spc="0" normalizeH="0" baseline="0" noProof="0">
                    <a:ln>
                      <a:noFill/>
                    </a:ln>
                    <a:solidFill>
                      <a:srgbClr val="0D274D"/>
                    </a:solidFill>
                    <a:effectLst/>
                    <a:uLnTx/>
                    <a:uFillTx/>
                    <a:latin typeface="+mj-lt"/>
                    <a:ea typeface="ＭＳ Ｐゴシック" charset="0"/>
                    <a:cs typeface="CiscoSansTT" panose="020B0503020201020303" pitchFamily="34" charset="0"/>
                  </a:rPr>
                  <a:t>Analytics</a:t>
                </a:r>
              </a:p>
            </p:txBody>
          </p:sp>
          <p:grpSp>
            <p:nvGrpSpPr>
              <p:cNvPr id="575" name="Group 574">
                <a:extLst>
                  <a:ext uri="{FF2B5EF4-FFF2-40B4-BE49-F238E27FC236}">
                    <a16:creationId xmlns:a16="http://schemas.microsoft.com/office/drawing/2014/main" id="{96462511-D18E-4392-A0E5-F4DD7ED302CB}"/>
                  </a:ext>
                </a:extLst>
              </p:cNvPr>
              <p:cNvGrpSpPr/>
              <p:nvPr/>
            </p:nvGrpSpPr>
            <p:grpSpPr>
              <a:xfrm>
                <a:off x="3061574" y="3305699"/>
                <a:ext cx="246688" cy="246581"/>
                <a:chOff x="3391774" y="3305699"/>
                <a:chExt cx="246688" cy="246581"/>
              </a:xfrm>
            </p:grpSpPr>
            <p:sp>
              <p:nvSpPr>
                <p:cNvPr id="576" name="Oval 575">
                  <a:extLst>
                    <a:ext uri="{FF2B5EF4-FFF2-40B4-BE49-F238E27FC236}">
                      <a16:creationId xmlns:a16="http://schemas.microsoft.com/office/drawing/2014/main" id="{1B2460E5-9D6A-452D-BA6D-C359E0818148}"/>
                    </a:ext>
                  </a:extLst>
                </p:cNvPr>
                <p:cNvSpPr/>
                <p:nvPr/>
              </p:nvSpPr>
              <p:spPr>
                <a:xfrm>
                  <a:off x="3391774" y="3305699"/>
                  <a:ext cx="246688" cy="246581"/>
                </a:xfrm>
                <a:prstGeom prst="ellipse">
                  <a:avLst/>
                </a:prstGeom>
                <a:solidFill>
                  <a:schemeClr val="bg2">
                    <a:lumMod val="95000"/>
                  </a:schemeClr>
                </a:solidFill>
                <a:ln w="0">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D274D"/>
                    </a:solidFill>
                    <a:effectLst/>
                    <a:uLnTx/>
                    <a:uFillTx/>
                    <a:latin typeface="+mj-lt"/>
                    <a:ea typeface="+mn-ea"/>
                    <a:cs typeface="+mn-cs"/>
                  </a:endParaRPr>
                </a:p>
              </p:txBody>
            </p:sp>
            <p:pic>
              <p:nvPicPr>
                <p:cNvPr id="577" name="Picture 576" descr="A picture containing drawing&#10;&#10;Description automatically generated">
                  <a:extLst>
                    <a:ext uri="{FF2B5EF4-FFF2-40B4-BE49-F238E27FC236}">
                      <a16:creationId xmlns:a16="http://schemas.microsoft.com/office/drawing/2014/main" id="{CF844271-E403-4398-B56E-535D045F5B03}"/>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3436976" y="3353011"/>
                  <a:ext cx="158239" cy="145052"/>
                </a:xfrm>
                <a:prstGeom prst="rect">
                  <a:avLst/>
                </a:prstGeom>
              </p:spPr>
            </p:pic>
          </p:grpSp>
        </p:grpSp>
      </p:grpSp>
      <p:sp>
        <p:nvSpPr>
          <p:cNvPr id="614" name="Arrow: Pentagon 613">
            <a:extLst>
              <a:ext uri="{FF2B5EF4-FFF2-40B4-BE49-F238E27FC236}">
                <a16:creationId xmlns:a16="http://schemas.microsoft.com/office/drawing/2014/main" id="{AAEB538A-306D-4265-B456-7BE2BCA8D100}"/>
              </a:ext>
            </a:extLst>
          </p:cNvPr>
          <p:cNvSpPr/>
          <p:nvPr/>
        </p:nvSpPr>
        <p:spPr>
          <a:xfrm rot="5400000">
            <a:off x="4261671" y="1281115"/>
            <a:ext cx="355027" cy="4347228"/>
          </a:xfrm>
          <a:prstGeom prst="homePlate">
            <a:avLst>
              <a:gd name="adj" fmla="val 74523"/>
            </a:avLst>
          </a:prstGeom>
          <a:solidFill>
            <a:schemeClr val="tx2">
              <a:alpha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6" name="Arrow: Pentagon 615">
            <a:extLst>
              <a:ext uri="{FF2B5EF4-FFF2-40B4-BE49-F238E27FC236}">
                <a16:creationId xmlns:a16="http://schemas.microsoft.com/office/drawing/2014/main" id="{C2E3A6F4-6671-4FE0-9DC7-C396D3C2D624}"/>
              </a:ext>
            </a:extLst>
          </p:cNvPr>
          <p:cNvSpPr/>
          <p:nvPr/>
        </p:nvSpPr>
        <p:spPr>
          <a:xfrm rot="5400000">
            <a:off x="4285637" y="1645590"/>
            <a:ext cx="299839" cy="3626064"/>
          </a:xfrm>
          <a:prstGeom prst="homePlate">
            <a:avLst>
              <a:gd name="adj" fmla="val 98332"/>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7" name="Arrow: Pentagon 616">
            <a:extLst>
              <a:ext uri="{FF2B5EF4-FFF2-40B4-BE49-F238E27FC236}">
                <a16:creationId xmlns:a16="http://schemas.microsoft.com/office/drawing/2014/main" id="{B941458B-2F5F-40D4-BA87-CEB20C6A8A1F}"/>
              </a:ext>
            </a:extLst>
          </p:cNvPr>
          <p:cNvSpPr/>
          <p:nvPr/>
        </p:nvSpPr>
        <p:spPr>
          <a:xfrm rot="5400000">
            <a:off x="4312420" y="1548564"/>
            <a:ext cx="246266" cy="3703565"/>
          </a:xfrm>
          <a:prstGeom prst="homePlate">
            <a:avLst>
              <a:gd name="adj" fmla="val 10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8" name="Group 637">
            <a:extLst>
              <a:ext uri="{FF2B5EF4-FFF2-40B4-BE49-F238E27FC236}">
                <a16:creationId xmlns:a16="http://schemas.microsoft.com/office/drawing/2014/main" id="{80B4AD8A-B0F5-49C4-97B2-3440240BF79F}"/>
              </a:ext>
            </a:extLst>
          </p:cNvPr>
          <p:cNvGrpSpPr/>
          <p:nvPr/>
        </p:nvGrpSpPr>
        <p:grpSpPr>
          <a:xfrm>
            <a:off x="2375711" y="3676483"/>
            <a:ext cx="1003547" cy="257399"/>
            <a:chOff x="4127811" y="3753373"/>
            <a:chExt cx="781056" cy="200332"/>
          </a:xfrm>
        </p:grpSpPr>
        <p:sp>
          <p:nvSpPr>
            <p:cNvPr id="639" name="Rectangle 638">
              <a:extLst>
                <a:ext uri="{FF2B5EF4-FFF2-40B4-BE49-F238E27FC236}">
                  <a16:creationId xmlns:a16="http://schemas.microsoft.com/office/drawing/2014/main" id="{A5B5A847-A2D0-4524-AD27-BD0E4BB10B0D}"/>
                </a:ext>
              </a:extLst>
            </p:cNvPr>
            <p:cNvSpPr/>
            <p:nvPr/>
          </p:nvSpPr>
          <p:spPr>
            <a:xfrm>
              <a:off x="4127811" y="3783620"/>
              <a:ext cx="781056" cy="1537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40" name="Picture 639" descr="A picture containing flower&#10;&#10;Description generated with very high confidence">
              <a:extLst>
                <a:ext uri="{FF2B5EF4-FFF2-40B4-BE49-F238E27FC236}">
                  <a16:creationId xmlns:a16="http://schemas.microsoft.com/office/drawing/2014/main" id="{704CB4F3-89EE-4A84-B16F-5A1EC2B25F73}"/>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36154" t="26377" r="12456" b="11972"/>
            <a:stretch/>
          </p:blipFill>
          <p:spPr>
            <a:xfrm>
              <a:off x="4162179" y="3753373"/>
              <a:ext cx="710228" cy="200332"/>
            </a:xfrm>
            <a:prstGeom prst="rect">
              <a:avLst/>
            </a:prstGeom>
            <a:solidFill>
              <a:schemeClr val="bg1"/>
            </a:solidFill>
          </p:spPr>
        </p:pic>
      </p:grpSp>
      <p:pic>
        <p:nvPicPr>
          <p:cNvPr id="14" name="Picture 13">
            <a:extLst>
              <a:ext uri="{FF2B5EF4-FFF2-40B4-BE49-F238E27FC236}">
                <a16:creationId xmlns:a16="http://schemas.microsoft.com/office/drawing/2014/main" id="{8CD571B9-947B-014E-9A1E-23A46859DCAF}"/>
              </a:ext>
            </a:extLst>
          </p:cNvPr>
          <p:cNvPicPr>
            <a:picLocks noChangeAspect="1"/>
          </p:cNvPicPr>
          <p:nvPr/>
        </p:nvPicPr>
        <p:blipFill>
          <a:blip r:embed="rId32"/>
          <a:stretch>
            <a:fillRect/>
          </a:stretch>
        </p:blipFill>
        <p:spPr>
          <a:xfrm>
            <a:off x="2257060" y="1156342"/>
            <a:ext cx="4343065" cy="2145680"/>
          </a:xfrm>
          <a:prstGeom prst="rect">
            <a:avLst/>
          </a:prstGeom>
        </p:spPr>
      </p:pic>
      <p:cxnSp>
        <p:nvCxnSpPr>
          <p:cNvPr id="189" name="Straight Connector 188">
            <a:extLst>
              <a:ext uri="{FF2B5EF4-FFF2-40B4-BE49-F238E27FC236}">
                <a16:creationId xmlns:a16="http://schemas.microsoft.com/office/drawing/2014/main" id="{A3B7648E-F3CB-CA4D-9683-23974866871F}"/>
              </a:ext>
            </a:extLst>
          </p:cNvPr>
          <p:cNvCxnSpPr>
            <a:cxnSpLocks/>
            <a:endCxn id="614" idx="0"/>
          </p:cNvCxnSpPr>
          <p:nvPr/>
        </p:nvCxnSpPr>
        <p:spPr>
          <a:xfrm>
            <a:off x="2242113" y="3322255"/>
            <a:ext cx="4370686" cy="186"/>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190" name="Rectangle 189">
            <a:extLst>
              <a:ext uri="{FF2B5EF4-FFF2-40B4-BE49-F238E27FC236}">
                <a16:creationId xmlns:a16="http://schemas.microsoft.com/office/drawing/2014/main" id="{AB7E6380-A986-FC43-969D-85B8FF33551A}"/>
              </a:ext>
            </a:extLst>
          </p:cNvPr>
          <p:cNvSpPr/>
          <p:nvPr/>
        </p:nvSpPr>
        <p:spPr>
          <a:xfrm>
            <a:off x="2265571" y="3276968"/>
            <a:ext cx="4359733" cy="230832"/>
          </a:xfrm>
          <a:prstGeom prst="rect">
            <a:avLst/>
          </a:prstGeom>
        </p:spPr>
        <p:txBody>
          <a:bodyPr wrap="square">
            <a:spAutoFit/>
          </a:bodyPr>
          <a:lstStyle/>
          <a:p>
            <a:pPr algn="ctr"/>
            <a:r>
              <a:rPr lang="en-IN" sz="900" kern="0">
                <a:solidFill>
                  <a:schemeClr val="bg1"/>
                </a:solidFill>
                <a:latin typeface="CiscoSansTT" panose="020B0503020201020303" pitchFamily="34" charset="0"/>
                <a:ea typeface="ＭＳ Ｐゴシック" charset="0"/>
                <a:cs typeface="CiscoSansTT" panose="020B0503020201020303" pitchFamily="34" charset="0"/>
              </a:rPr>
              <a:t>Unified Visibility</a:t>
            </a:r>
          </a:p>
        </p:txBody>
      </p:sp>
      <p:grpSp>
        <p:nvGrpSpPr>
          <p:cNvPr id="191" name="Group 190">
            <a:extLst>
              <a:ext uri="{FF2B5EF4-FFF2-40B4-BE49-F238E27FC236}">
                <a16:creationId xmlns:a16="http://schemas.microsoft.com/office/drawing/2014/main" id="{D1A8FB41-E3DB-6047-A1B7-5F69B7A5C2B8}"/>
              </a:ext>
            </a:extLst>
          </p:cNvPr>
          <p:cNvGrpSpPr/>
          <p:nvPr/>
        </p:nvGrpSpPr>
        <p:grpSpPr>
          <a:xfrm>
            <a:off x="2375711" y="3648605"/>
            <a:ext cx="1003547" cy="257399"/>
            <a:chOff x="4127811" y="3753373"/>
            <a:chExt cx="781056" cy="200332"/>
          </a:xfrm>
        </p:grpSpPr>
        <p:sp>
          <p:nvSpPr>
            <p:cNvPr id="192" name="Rectangle 191">
              <a:extLst>
                <a:ext uri="{FF2B5EF4-FFF2-40B4-BE49-F238E27FC236}">
                  <a16:creationId xmlns:a16="http://schemas.microsoft.com/office/drawing/2014/main" id="{D91B4975-14FC-4B42-9E53-5C3043A5B468}"/>
                </a:ext>
              </a:extLst>
            </p:cNvPr>
            <p:cNvSpPr/>
            <p:nvPr/>
          </p:nvSpPr>
          <p:spPr>
            <a:xfrm>
              <a:off x="4127811" y="3783620"/>
              <a:ext cx="781056" cy="1537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3" name="Picture 192" descr="A picture containing flower&#10;&#10;Description generated with very high confidence">
              <a:extLst>
                <a:ext uri="{FF2B5EF4-FFF2-40B4-BE49-F238E27FC236}">
                  <a16:creationId xmlns:a16="http://schemas.microsoft.com/office/drawing/2014/main" id="{89522A8D-D611-AF41-AAED-90FFB72D4BA1}"/>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l="36154" t="26377" r="12456" b="11972"/>
            <a:stretch/>
          </p:blipFill>
          <p:spPr>
            <a:xfrm>
              <a:off x="4162179" y="3753373"/>
              <a:ext cx="710228" cy="200332"/>
            </a:xfrm>
            <a:prstGeom prst="rect">
              <a:avLst/>
            </a:prstGeom>
            <a:solidFill>
              <a:schemeClr val="bg1"/>
            </a:solidFill>
          </p:spPr>
        </p:pic>
      </p:grpSp>
      <p:sp>
        <p:nvSpPr>
          <p:cNvPr id="196" name="Rectangle: Rounded Corners 618">
            <a:extLst>
              <a:ext uri="{FF2B5EF4-FFF2-40B4-BE49-F238E27FC236}">
                <a16:creationId xmlns:a16="http://schemas.microsoft.com/office/drawing/2014/main" id="{D4E2FDC4-C807-0548-B34A-7E95ECF25A22}"/>
              </a:ext>
            </a:extLst>
          </p:cNvPr>
          <p:cNvSpPr/>
          <p:nvPr/>
        </p:nvSpPr>
        <p:spPr>
          <a:xfrm>
            <a:off x="2251516" y="1149074"/>
            <a:ext cx="4348609" cy="3084723"/>
          </a:xfrm>
          <a:prstGeom prst="roundRect">
            <a:avLst>
              <a:gd name="adj" fmla="val 3423"/>
            </a:avLst>
          </a:prstGeom>
          <a:noFill/>
          <a:ln w="19050" cap="flat" cmpd="sng" algn="ctr">
            <a:solidFill>
              <a:schemeClr val="tx2"/>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IN"/>
          </a:p>
        </p:txBody>
      </p:sp>
      <p:grpSp>
        <p:nvGrpSpPr>
          <p:cNvPr id="47" name="Group 46">
            <a:extLst>
              <a:ext uri="{FF2B5EF4-FFF2-40B4-BE49-F238E27FC236}">
                <a16:creationId xmlns:a16="http://schemas.microsoft.com/office/drawing/2014/main" id="{1D315A69-40C7-3648-98FA-7BA56B00A656}"/>
              </a:ext>
            </a:extLst>
          </p:cNvPr>
          <p:cNvGrpSpPr/>
          <p:nvPr/>
        </p:nvGrpSpPr>
        <p:grpSpPr>
          <a:xfrm>
            <a:off x="6906939" y="1884046"/>
            <a:ext cx="198604" cy="258418"/>
            <a:chOff x="6851240" y="1884046"/>
            <a:chExt cx="198604" cy="258418"/>
          </a:xfrm>
        </p:grpSpPr>
        <p:pic>
          <p:nvPicPr>
            <p:cNvPr id="168" name="Graphic 167">
              <a:extLst>
                <a:ext uri="{FF2B5EF4-FFF2-40B4-BE49-F238E27FC236}">
                  <a16:creationId xmlns:a16="http://schemas.microsoft.com/office/drawing/2014/main" id="{62828F74-DE44-5241-9A65-7F93F90E5C7E}"/>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851240" y="1884046"/>
              <a:ext cx="198604" cy="258418"/>
            </a:xfrm>
            <a:prstGeom prst="rect">
              <a:avLst/>
            </a:prstGeom>
          </p:spPr>
        </p:pic>
        <p:pic>
          <p:nvPicPr>
            <p:cNvPr id="198" name="Graphic 197">
              <a:extLst>
                <a:ext uri="{FF2B5EF4-FFF2-40B4-BE49-F238E27FC236}">
                  <a16:creationId xmlns:a16="http://schemas.microsoft.com/office/drawing/2014/main" id="{046D7B36-3D7B-1E48-8A15-5C60D60CB275}"/>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879459" y="1945779"/>
              <a:ext cx="134953" cy="134953"/>
            </a:xfrm>
            <a:prstGeom prst="rect">
              <a:avLst/>
            </a:prstGeom>
          </p:spPr>
        </p:pic>
      </p:grpSp>
      <p:grpSp>
        <p:nvGrpSpPr>
          <p:cNvPr id="204" name="Group 203">
            <a:extLst>
              <a:ext uri="{FF2B5EF4-FFF2-40B4-BE49-F238E27FC236}">
                <a16:creationId xmlns:a16="http://schemas.microsoft.com/office/drawing/2014/main" id="{9326D14A-E43F-734F-96D7-94243F90E50C}"/>
              </a:ext>
            </a:extLst>
          </p:cNvPr>
          <p:cNvGrpSpPr/>
          <p:nvPr/>
        </p:nvGrpSpPr>
        <p:grpSpPr>
          <a:xfrm rot="16200000">
            <a:off x="1297740" y="2621055"/>
            <a:ext cx="198604" cy="258418"/>
            <a:chOff x="6851240" y="1884046"/>
            <a:chExt cx="198604" cy="258418"/>
          </a:xfrm>
        </p:grpSpPr>
        <p:pic>
          <p:nvPicPr>
            <p:cNvPr id="205" name="Graphic 204">
              <a:extLst>
                <a:ext uri="{FF2B5EF4-FFF2-40B4-BE49-F238E27FC236}">
                  <a16:creationId xmlns:a16="http://schemas.microsoft.com/office/drawing/2014/main" id="{CF276EF7-9C9A-B24A-BC3D-10CF389ABADB}"/>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851240" y="1884046"/>
              <a:ext cx="198604" cy="258418"/>
            </a:xfrm>
            <a:prstGeom prst="rect">
              <a:avLst/>
            </a:prstGeom>
          </p:spPr>
        </p:pic>
        <p:pic>
          <p:nvPicPr>
            <p:cNvPr id="206" name="Graphic 205">
              <a:extLst>
                <a:ext uri="{FF2B5EF4-FFF2-40B4-BE49-F238E27FC236}">
                  <a16:creationId xmlns:a16="http://schemas.microsoft.com/office/drawing/2014/main" id="{3B02143E-EF0E-B342-98D9-799376CC1F9D}"/>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6879459" y="1945779"/>
              <a:ext cx="134953" cy="134953"/>
            </a:xfrm>
            <a:prstGeom prst="rect">
              <a:avLst/>
            </a:prstGeom>
          </p:spPr>
        </p:pic>
      </p:grpSp>
      <p:sp>
        <p:nvSpPr>
          <p:cNvPr id="51" name="Oval 50">
            <a:extLst>
              <a:ext uri="{FF2B5EF4-FFF2-40B4-BE49-F238E27FC236}">
                <a16:creationId xmlns:a16="http://schemas.microsoft.com/office/drawing/2014/main" id="{9041BC3D-6334-2645-ABE7-7069F0505990}"/>
              </a:ext>
            </a:extLst>
          </p:cNvPr>
          <p:cNvSpPr/>
          <p:nvPr/>
        </p:nvSpPr>
        <p:spPr>
          <a:xfrm>
            <a:off x="7766298" y="2671964"/>
            <a:ext cx="148236" cy="148236"/>
          </a:xfrm>
          <a:prstGeom prst="ellipse">
            <a:avLst/>
          </a:prstGeom>
          <a:solidFill>
            <a:schemeClr val="accent1"/>
          </a:solidFill>
          <a:ln w="444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1" name="Oval 210">
            <a:extLst>
              <a:ext uri="{FF2B5EF4-FFF2-40B4-BE49-F238E27FC236}">
                <a16:creationId xmlns:a16="http://schemas.microsoft.com/office/drawing/2014/main" id="{DB138A57-A394-AD47-9E93-FF152DCDE492}"/>
              </a:ext>
            </a:extLst>
          </p:cNvPr>
          <p:cNvSpPr/>
          <p:nvPr/>
        </p:nvSpPr>
        <p:spPr>
          <a:xfrm>
            <a:off x="6529360" y="1938933"/>
            <a:ext cx="148236" cy="148236"/>
          </a:xfrm>
          <a:prstGeom prst="ellipse">
            <a:avLst/>
          </a:prstGeom>
          <a:solidFill>
            <a:schemeClr val="accent1"/>
          </a:solidFill>
          <a:ln w="444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78240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9D14A46A-71B0-B143-A90B-C0205F2C57F5}"/>
              </a:ext>
            </a:extLst>
          </p:cNvPr>
          <p:cNvSpPr/>
          <p:nvPr/>
        </p:nvSpPr>
        <p:spPr>
          <a:xfrm>
            <a:off x="584383" y="2896181"/>
            <a:ext cx="3252512" cy="1368528"/>
          </a:xfrm>
          <a:prstGeom prst="rect">
            <a:avLst/>
          </a:prstGeom>
          <a:solidFill>
            <a:schemeClr val="accent6">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172" name="Rectangle 171">
            <a:extLst>
              <a:ext uri="{FF2B5EF4-FFF2-40B4-BE49-F238E27FC236}">
                <a16:creationId xmlns:a16="http://schemas.microsoft.com/office/drawing/2014/main" id="{448FA0C7-B912-E943-9A18-1882F73ADC63}"/>
              </a:ext>
            </a:extLst>
          </p:cNvPr>
          <p:cNvSpPr/>
          <p:nvPr/>
        </p:nvSpPr>
        <p:spPr>
          <a:xfrm>
            <a:off x="584382" y="1552954"/>
            <a:ext cx="5706443" cy="1269471"/>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2400"/>
          </a:p>
        </p:txBody>
      </p:sp>
      <p:sp>
        <p:nvSpPr>
          <p:cNvPr id="2" name="Title 1">
            <a:extLst>
              <a:ext uri="{FF2B5EF4-FFF2-40B4-BE49-F238E27FC236}">
                <a16:creationId xmlns:a16="http://schemas.microsoft.com/office/drawing/2014/main" id="{14238199-C6FD-A849-840E-8E549D3C77F2}"/>
              </a:ext>
            </a:extLst>
          </p:cNvPr>
          <p:cNvSpPr>
            <a:spLocks noGrp="1"/>
          </p:cNvSpPr>
          <p:nvPr>
            <p:ph type="title"/>
          </p:nvPr>
        </p:nvSpPr>
        <p:spPr/>
        <p:txBody>
          <a:bodyPr/>
          <a:lstStyle/>
          <a:p>
            <a:r>
              <a:rPr lang="en-US" dirty="0">
                <a:latin typeface="+mn-lt"/>
                <a:cs typeface="CiscoSansTT" panose="020B0503020201020303" pitchFamily="34" charset="0"/>
              </a:rPr>
              <a:t>Our portfolio </a:t>
            </a:r>
            <a:r>
              <a:rPr lang="en-US" dirty="0">
                <a:solidFill>
                  <a:schemeClr val="tx2"/>
                </a:solidFill>
                <a:latin typeface="+mn-lt"/>
                <a:cs typeface="CiscoSansTT" panose="020B0503020201020303" pitchFamily="34" charset="0"/>
              </a:rPr>
              <a:t>includes</a:t>
            </a:r>
            <a:r>
              <a:rPr lang="en-US" dirty="0">
                <a:latin typeface="+mn-lt"/>
                <a:cs typeface="CiscoSansTT" panose="020B0503020201020303" pitchFamily="34" charset="0"/>
              </a:rPr>
              <a:t> XDR capabilities and beyond</a:t>
            </a:r>
            <a:endParaRPr lang="en-US" dirty="0">
              <a:solidFill>
                <a:schemeClr val="accent2"/>
              </a:solidFill>
              <a:latin typeface="CiscoSansTT" panose="020B0503020201020303" pitchFamily="34" charset="0"/>
              <a:cs typeface="CiscoSansTT" panose="020B0503020201020303" pitchFamily="34" charset="0"/>
            </a:endParaRPr>
          </a:p>
        </p:txBody>
      </p:sp>
      <p:sp>
        <p:nvSpPr>
          <p:cNvPr id="103" name="Rectangle: Rounded Corners 112">
            <a:extLst>
              <a:ext uri="{FF2B5EF4-FFF2-40B4-BE49-F238E27FC236}">
                <a16:creationId xmlns:a16="http://schemas.microsoft.com/office/drawing/2014/main" id="{233466A5-AD4E-44C0-B103-6227EE7FE6E1}"/>
              </a:ext>
            </a:extLst>
          </p:cNvPr>
          <p:cNvSpPr/>
          <p:nvPr/>
        </p:nvSpPr>
        <p:spPr>
          <a:xfrm>
            <a:off x="6290825" y="1454196"/>
            <a:ext cx="2336942" cy="2874138"/>
          </a:xfrm>
          <a:prstGeom prst="roundRect">
            <a:avLst>
              <a:gd name="adj" fmla="val 5715"/>
            </a:avLst>
          </a:prstGeom>
          <a:solidFill>
            <a:schemeClr val="bg1"/>
          </a:solidFill>
          <a:ln w="25400"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0D274D"/>
              </a:solidFill>
              <a:effectLst/>
              <a:uLnTx/>
              <a:uFillTx/>
              <a:latin typeface="+mj-lt"/>
              <a:ea typeface="+mn-ea"/>
              <a:cs typeface="+mn-cs"/>
            </a:endParaRPr>
          </a:p>
        </p:txBody>
      </p:sp>
      <p:sp>
        <p:nvSpPr>
          <p:cNvPr id="104" name="Rectangle 103">
            <a:extLst>
              <a:ext uri="{FF2B5EF4-FFF2-40B4-BE49-F238E27FC236}">
                <a16:creationId xmlns:a16="http://schemas.microsoft.com/office/drawing/2014/main" id="{FD00B3B0-5FD3-4AE9-B94F-B72FAD9790DD}"/>
              </a:ext>
            </a:extLst>
          </p:cNvPr>
          <p:cNvSpPr/>
          <p:nvPr/>
        </p:nvSpPr>
        <p:spPr>
          <a:xfrm>
            <a:off x="6282748" y="1552954"/>
            <a:ext cx="2356986" cy="384351"/>
          </a:xfrm>
          <a:prstGeom prst="rect">
            <a:avLst/>
          </a:prstGeom>
          <a:solidFill>
            <a:srgbClr val="E8E8E8"/>
          </a:solidFill>
        </p:spPr>
        <p:txBody>
          <a:bodyPr wrap="square" anchor="ctr">
            <a:noAutofit/>
          </a:bodyPr>
          <a:lstStyle/>
          <a:p>
            <a:pPr algn="ctr">
              <a:lnSpc>
                <a:spcPct val="90000"/>
              </a:lnSpc>
            </a:pPr>
            <a:r>
              <a:rPr lang="en-US" sz="1400" b="1" dirty="0">
                <a:solidFill>
                  <a:schemeClr val="tx2"/>
                </a:solidFill>
                <a:latin typeface="+mj-lt"/>
                <a:cs typeface="CiscoSansTT" panose="020B0503020201020303" pitchFamily="34" charset="0"/>
              </a:rPr>
              <a:t>Simplified experience</a:t>
            </a:r>
          </a:p>
        </p:txBody>
      </p:sp>
      <p:sp>
        <p:nvSpPr>
          <p:cNvPr id="105" name="Rectangle 104">
            <a:extLst>
              <a:ext uri="{FF2B5EF4-FFF2-40B4-BE49-F238E27FC236}">
                <a16:creationId xmlns:a16="http://schemas.microsoft.com/office/drawing/2014/main" id="{3C2E461D-09E3-495E-A61F-2207DBBDB33E}"/>
              </a:ext>
            </a:extLst>
          </p:cNvPr>
          <p:cNvSpPr/>
          <p:nvPr/>
        </p:nvSpPr>
        <p:spPr>
          <a:xfrm>
            <a:off x="6282748" y="1993056"/>
            <a:ext cx="2356986" cy="384351"/>
          </a:xfrm>
          <a:prstGeom prst="rect">
            <a:avLst/>
          </a:prstGeom>
          <a:solidFill>
            <a:srgbClr val="E8E8E8"/>
          </a:solidFill>
        </p:spPr>
        <p:txBody>
          <a:bodyPr wrap="square" anchor="ctr">
            <a:noAutofit/>
          </a:bodyPr>
          <a:lstStyle/>
          <a:p>
            <a:pPr algn="ctr">
              <a:lnSpc>
                <a:spcPct val="90000"/>
              </a:lnSpc>
            </a:pPr>
            <a:r>
              <a:rPr lang="en-US" sz="1400" b="1">
                <a:solidFill>
                  <a:schemeClr val="tx2"/>
                </a:solidFill>
                <a:latin typeface="+mj-lt"/>
                <a:cs typeface="CiscoSansTT" panose="020B0503020201020303" pitchFamily="34" charset="0"/>
              </a:rPr>
              <a:t>Unified visibility</a:t>
            </a:r>
          </a:p>
        </p:txBody>
      </p:sp>
      <p:sp>
        <p:nvSpPr>
          <p:cNvPr id="106" name="Rectangle 105">
            <a:extLst>
              <a:ext uri="{FF2B5EF4-FFF2-40B4-BE49-F238E27FC236}">
                <a16:creationId xmlns:a16="http://schemas.microsoft.com/office/drawing/2014/main" id="{7A7AD9AF-5B69-4339-BC6B-CB04A61A1A3D}"/>
              </a:ext>
            </a:extLst>
          </p:cNvPr>
          <p:cNvSpPr/>
          <p:nvPr/>
        </p:nvSpPr>
        <p:spPr>
          <a:xfrm>
            <a:off x="6282748" y="2433158"/>
            <a:ext cx="2356986" cy="384351"/>
          </a:xfrm>
          <a:prstGeom prst="rect">
            <a:avLst/>
          </a:prstGeom>
          <a:solidFill>
            <a:srgbClr val="E8E8E8"/>
          </a:solidFill>
        </p:spPr>
        <p:txBody>
          <a:bodyPr wrap="square" anchor="ctr">
            <a:noAutofit/>
          </a:bodyPr>
          <a:lstStyle/>
          <a:p>
            <a:pPr lvl="0" algn="ctr" defTabSz="685777">
              <a:lnSpc>
                <a:spcPct val="90000"/>
              </a:lnSpc>
              <a:defRPr/>
            </a:pPr>
            <a:r>
              <a:rPr lang="en-US" sz="1400" b="1">
                <a:solidFill>
                  <a:schemeClr val="tx2"/>
                </a:solidFill>
                <a:latin typeface="+mj-lt"/>
                <a:cs typeface="CiscoSansTT" panose="020B0503020201020303" pitchFamily="34" charset="0"/>
              </a:rPr>
              <a:t>Operational efficiency</a:t>
            </a:r>
          </a:p>
        </p:txBody>
      </p:sp>
      <p:sp>
        <p:nvSpPr>
          <p:cNvPr id="107" name="Rectangle 106">
            <a:extLst>
              <a:ext uri="{FF2B5EF4-FFF2-40B4-BE49-F238E27FC236}">
                <a16:creationId xmlns:a16="http://schemas.microsoft.com/office/drawing/2014/main" id="{3B50353A-5882-4C00-AE1F-B7FF86130BBC}"/>
              </a:ext>
            </a:extLst>
          </p:cNvPr>
          <p:cNvSpPr/>
          <p:nvPr/>
        </p:nvSpPr>
        <p:spPr>
          <a:xfrm>
            <a:off x="6278713" y="2891266"/>
            <a:ext cx="2339339" cy="307290"/>
          </a:xfrm>
          <a:prstGeom prst="rect">
            <a:avLst/>
          </a:prstGeom>
          <a:solidFill>
            <a:srgbClr val="E8E8E8"/>
          </a:solidFill>
        </p:spPr>
        <p:txBody>
          <a:bodyPr wrap="square" anchor="ctr">
            <a:noAutofit/>
          </a:bodyPr>
          <a:lstStyle/>
          <a:p>
            <a:pPr lvl="0" algn="ctr" defTabSz="685777">
              <a:lnSpc>
                <a:spcPct val="90000"/>
              </a:lnSpc>
              <a:defRPr/>
            </a:pPr>
            <a:r>
              <a:rPr lang="en-US" sz="1400" b="1" dirty="0">
                <a:solidFill>
                  <a:schemeClr val="accent1"/>
                </a:solidFill>
                <a:cs typeface="CiscoSansTT" panose="020B0503020201020303" pitchFamily="34" charset="0"/>
              </a:rPr>
              <a:t>Already entitled to it</a:t>
            </a:r>
          </a:p>
        </p:txBody>
      </p:sp>
      <p:sp>
        <p:nvSpPr>
          <p:cNvPr id="108" name="Rectangle 107">
            <a:extLst>
              <a:ext uri="{FF2B5EF4-FFF2-40B4-BE49-F238E27FC236}">
                <a16:creationId xmlns:a16="http://schemas.microsoft.com/office/drawing/2014/main" id="{637853B5-0699-4E97-8B5A-D0D7FD91E54D}"/>
              </a:ext>
            </a:extLst>
          </p:cNvPr>
          <p:cNvSpPr/>
          <p:nvPr/>
        </p:nvSpPr>
        <p:spPr>
          <a:xfrm>
            <a:off x="6278713" y="3245970"/>
            <a:ext cx="2339339" cy="309772"/>
          </a:xfrm>
          <a:prstGeom prst="rect">
            <a:avLst/>
          </a:prstGeom>
          <a:solidFill>
            <a:srgbClr val="E8E8E8"/>
          </a:solidFill>
        </p:spPr>
        <p:txBody>
          <a:bodyPr wrap="square" anchor="ctr">
            <a:noAutofit/>
          </a:bodyPr>
          <a:lstStyle/>
          <a:p>
            <a:pPr lvl="0" algn="ctr" defTabSz="685777">
              <a:lnSpc>
                <a:spcPct val="90000"/>
              </a:lnSpc>
              <a:defRPr/>
            </a:pPr>
            <a:r>
              <a:rPr lang="en-US" sz="1400" b="1" dirty="0">
                <a:solidFill>
                  <a:schemeClr val="accent1"/>
                </a:solidFill>
                <a:latin typeface="+mj-lt"/>
                <a:cs typeface="CiscoSansTT" panose="020B0503020201020303" pitchFamily="34" charset="0"/>
              </a:rPr>
              <a:t>No special skills required</a:t>
            </a:r>
          </a:p>
        </p:txBody>
      </p:sp>
      <p:sp>
        <p:nvSpPr>
          <p:cNvPr id="109" name="Rectangle 108">
            <a:extLst>
              <a:ext uri="{FF2B5EF4-FFF2-40B4-BE49-F238E27FC236}">
                <a16:creationId xmlns:a16="http://schemas.microsoft.com/office/drawing/2014/main" id="{1D9E1212-570E-42E2-A4DD-79CF8BA0558B}"/>
              </a:ext>
            </a:extLst>
          </p:cNvPr>
          <p:cNvSpPr/>
          <p:nvPr/>
        </p:nvSpPr>
        <p:spPr>
          <a:xfrm>
            <a:off x="6278713" y="3948109"/>
            <a:ext cx="2339339" cy="316600"/>
          </a:xfrm>
          <a:prstGeom prst="rect">
            <a:avLst/>
          </a:prstGeom>
          <a:solidFill>
            <a:srgbClr val="E8E8E8"/>
          </a:solidFill>
        </p:spPr>
        <p:txBody>
          <a:bodyPr wrap="square" tIns="73152" anchor="ctr">
            <a:noAutofit/>
          </a:bodyPr>
          <a:lstStyle/>
          <a:p>
            <a:pPr algn="ctr">
              <a:lnSpc>
                <a:spcPct val="70000"/>
              </a:lnSpc>
            </a:pPr>
            <a:r>
              <a:rPr lang="en-US" sz="1400" b="1" dirty="0">
                <a:solidFill>
                  <a:schemeClr val="accent1"/>
                </a:solidFill>
                <a:latin typeface="+mj-lt"/>
                <a:cs typeface="CiscoSansTT" panose="020B0503020201020303" pitchFamily="34" charset="0"/>
              </a:rPr>
              <a:t>No vendor lock-in</a:t>
            </a:r>
          </a:p>
          <a:p>
            <a:pPr algn="ctr">
              <a:lnSpc>
                <a:spcPct val="70000"/>
              </a:lnSpc>
            </a:pPr>
            <a:r>
              <a:rPr lang="en-US" sz="800" dirty="0">
                <a:solidFill>
                  <a:schemeClr val="accent1"/>
                </a:solidFill>
                <a:cs typeface="CiscoSansTT" panose="020B0503020201020303" pitchFamily="34" charset="0"/>
              </a:rPr>
              <a:t>SIEM/SOAR are easier to use!</a:t>
            </a:r>
            <a:r>
              <a:rPr lang="en-US" sz="1050" b="1" dirty="0">
                <a:solidFill>
                  <a:schemeClr val="accent1"/>
                </a:solidFill>
                <a:latin typeface="+mj-lt"/>
                <a:cs typeface="CiscoSansTT" panose="020B0503020201020303" pitchFamily="34" charset="0"/>
              </a:rPr>
              <a:t> </a:t>
            </a:r>
            <a:endParaRPr lang="en-US" sz="1200" dirty="0">
              <a:solidFill>
                <a:schemeClr val="accent1"/>
              </a:solidFill>
              <a:latin typeface="+mj-lt"/>
              <a:cs typeface="CiscoSansTT" panose="020B0503020201020303" pitchFamily="34" charset="0"/>
            </a:endParaRPr>
          </a:p>
        </p:txBody>
      </p:sp>
      <p:sp>
        <p:nvSpPr>
          <p:cNvPr id="110" name="Rectangle 109">
            <a:extLst>
              <a:ext uri="{FF2B5EF4-FFF2-40B4-BE49-F238E27FC236}">
                <a16:creationId xmlns:a16="http://schemas.microsoft.com/office/drawing/2014/main" id="{2F52D18F-2CE2-4865-8915-D2FF7E2A4ADF}"/>
              </a:ext>
            </a:extLst>
          </p:cNvPr>
          <p:cNvSpPr/>
          <p:nvPr/>
        </p:nvSpPr>
        <p:spPr>
          <a:xfrm>
            <a:off x="6278713" y="3597040"/>
            <a:ext cx="2339339" cy="309771"/>
          </a:xfrm>
          <a:prstGeom prst="rect">
            <a:avLst/>
          </a:prstGeom>
          <a:solidFill>
            <a:srgbClr val="E8E8E8"/>
          </a:solidFill>
        </p:spPr>
        <p:txBody>
          <a:bodyPr wrap="square" anchor="ctr">
            <a:noAutofit/>
          </a:bodyPr>
          <a:lstStyle/>
          <a:p>
            <a:pPr lvl="0" algn="ctr" defTabSz="685777">
              <a:lnSpc>
                <a:spcPct val="90000"/>
              </a:lnSpc>
              <a:defRPr/>
            </a:pPr>
            <a:r>
              <a:rPr lang="en-US" sz="1400" b="1" dirty="0">
                <a:solidFill>
                  <a:schemeClr val="accent1"/>
                </a:solidFill>
                <a:latin typeface="+mj-lt"/>
                <a:cs typeface="CiscoSansTT" panose="020B0503020201020303" pitchFamily="34" charset="0"/>
              </a:rPr>
              <a:t>No data storage required</a:t>
            </a:r>
          </a:p>
        </p:txBody>
      </p:sp>
      <p:grpSp>
        <p:nvGrpSpPr>
          <p:cNvPr id="112" name="Group 111">
            <a:extLst>
              <a:ext uri="{FF2B5EF4-FFF2-40B4-BE49-F238E27FC236}">
                <a16:creationId xmlns:a16="http://schemas.microsoft.com/office/drawing/2014/main" id="{7331A9BF-3132-4ED1-89E7-A4919FEAFFF4}"/>
              </a:ext>
            </a:extLst>
          </p:cNvPr>
          <p:cNvGrpSpPr/>
          <p:nvPr/>
        </p:nvGrpSpPr>
        <p:grpSpPr>
          <a:xfrm>
            <a:off x="6284769" y="1362119"/>
            <a:ext cx="2336942" cy="2954498"/>
            <a:chOff x="7370103" y="1560352"/>
            <a:chExt cx="1264454" cy="2954498"/>
          </a:xfrm>
        </p:grpSpPr>
        <p:sp>
          <p:nvSpPr>
            <p:cNvPr id="114" name="Rectangle: Rounded Corners 112">
              <a:extLst>
                <a:ext uri="{FF2B5EF4-FFF2-40B4-BE49-F238E27FC236}">
                  <a16:creationId xmlns:a16="http://schemas.microsoft.com/office/drawing/2014/main" id="{2D2857FF-5F49-4C78-B1D7-C933AF8CE1EA}"/>
                </a:ext>
              </a:extLst>
            </p:cNvPr>
            <p:cNvSpPr/>
            <p:nvPr/>
          </p:nvSpPr>
          <p:spPr>
            <a:xfrm>
              <a:off x="7370103" y="1640712"/>
              <a:ext cx="1264454" cy="2874138"/>
            </a:xfrm>
            <a:prstGeom prst="roundRect">
              <a:avLst>
                <a:gd name="adj" fmla="val 5715"/>
              </a:avLst>
            </a:prstGeom>
            <a:noFill/>
            <a:ln w="25400" cap="flat" cmpd="sng" algn="ctr">
              <a:solidFill>
                <a:schemeClr val="tx1"/>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0" cap="none" spc="0" normalizeH="0" baseline="0" noProof="0">
                <a:ln>
                  <a:noFill/>
                </a:ln>
                <a:solidFill>
                  <a:srgbClr val="0D274D"/>
                </a:solidFill>
                <a:effectLst/>
                <a:uLnTx/>
                <a:uFillTx/>
                <a:latin typeface="+mj-lt"/>
                <a:ea typeface="+mn-ea"/>
                <a:cs typeface="+mn-cs"/>
              </a:endParaRPr>
            </a:p>
          </p:txBody>
        </p:sp>
        <p:sp>
          <p:nvSpPr>
            <p:cNvPr id="115" name="Rectangle 114">
              <a:extLst>
                <a:ext uri="{FF2B5EF4-FFF2-40B4-BE49-F238E27FC236}">
                  <a16:creationId xmlns:a16="http://schemas.microsoft.com/office/drawing/2014/main" id="{A16F63DE-91F0-4355-A00A-5B618D863373}"/>
                </a:ext>
              </a:extLst>
            </p:cNvPr>
            <p:cNvSpPr/>
            <p:nvPr/>
          </p:nvSpPr>
          <p:spPr>
            <a:xfrm>
              <a:off x="7698114" y="1560352"/>
              <a:ext cx="590248" cy="147940"/>
            </a:xfrm>
            <a:prstGeom prst="rect">
              <a:avLst/>
            </a:prstGeom>
            <a:solidFill>
              <a:schemeClr val="bg1"/>
            </a:solidFill>
          </p:spPr>
          <p:txBody>
            <a:bodyPr wrap="none" anchor="ctr">
              <a:noAutofit/>
            </a:bodyPr>
            <a:lstStyle/>
            <a:p>
              <a:pPr algn="ctr"/>
              <a:endParaRPr lang="en-US" sz="1800">
                <a:solidFill>
                  <a:schemeClr val="bg1">
                    <a:lumMod val="65000"/>
                  </a:schemeClr>
                </a:solidFill>
                <a:latin typeface="+mj-lt"/>
                <a:cs typeface="CiscoSansTT" panose="020B0503020201020303" pitchFamily="34" charset="0"/>
              </a:endParaRPr>
            </a:p>
          </p:txBody>
        </p:sp>
      </p:grpSp>
      <p:sp>
        <p:nvSpPr>
          <p:cNvPr id="127" name="Rectangle 126">
            <a:extLst>
              <a:ext uri="{FF2B5EF4-FFF2-40B4-BE49-F238E27FC236}">
                <a16:creationId xmlns:a16="http://schemas.microsoft.com/office/drawing/2014/main" id="{E6E33F1F-803A-4C1F-9D1B-AA774A735730}"/>
              </a:ext>
            </a:extLst>
          </p:cNvPr>
          <p:cNvSpPr/>
          <p:nvPr/>
        </p:nvSpPr>
        <p:spPr>
          <a:xfrm>
            <a:off x="4134644" y="1599400"/>
            <a:ext cx="2132475" cy="1200329"/>
          </a:xfrm>
          <a:prstGeom prst="rect">
            <a:avLst/>
          </a:prstGeom>
        </p:spPr>
        <p:txBody>
          <a:bodyPr wrap="square">
            <a:spAutoFit/>
          </a:bodyPr>
          <a:lstStyle/>
          <a:p>
            <a:pPr lvl="0" algn="ctr" defTabSz="685777">
              <a:lnSpc>
                <a:spcPct val="90000"/>
              </a:lnSpc>
              <a:defRPr/>
            </a:pPr>
            <a:r>
              <a:rPr lang="en-US" sz="1600" dirty="0">
                <a:solidFill>
                  <a:schemeClr val="tx2">
                    <a:lumMod val="75000"/>
                  </a:schemeClr>
                </a:solidFill>
                <a:latin typeface="+mj-lt"/>
                <a:cs typeface="CiscoSansTT" panose="020B0503020201020303" pitchFamily="34" charset="0"/>
              </a:rPr>
              <a:t>These values in SOAR/XDR platforms and beyond are a </a:t>
            </a:r>
            <a:r>
              <a:rPr lang="en-US" sz="1600" dirty="0">
                <a:solidFill>
                  <a:schemeClr val="tx2">
                    <a:lumMod val="75000"/>
                  </a:schemeClr>
                </a:solidFill>
                <a:latin typeface="CiscoSansTT" panose="020B0503020201020303" pitchFamily="34" charset="0"/>
                <a:cs typeface="CiscoSansTT" panose="020B0503020201020303" pitchFamily="34" charset="0"/>
              </a:rPr>
              <a:t>fundamental right </a:t>
            </a:r>
          </a:p>
          <a:p>
            <a:pPr lvl="0" algn="ctr" defTabSz="685777">
              <a:lnSpc>
                <a:spcPct val="90000"/>
              </a:lnSpc>
              <a:defRPr/>
            </a:pPr>
            <a:r>
              <a:rPr lang="en-US" sz="1600" dirty="0">
                <a:solidFill>
                  <a:schemeClr val="tx2">
                    <a:lumMod val="75000"/>
                  </a:schemeClr>
                </a:solidFill>
                <a:latin typeface="+mj-lt"/>
                <a:cs typeface="CiscoSansTT" panose="020B0503020201020303" pitchFamily="34" charset="0"/>
              </a:rPr>
              <a:t>in SecureX</a:t>
            </a:r>
          </a:p>
        </p:txBody>
      </p:sp>
      <p:sp>
        <p:nvSpPr>
          <p:cNvPr id="128" name="Rectangle 127">
            <a:extLst>
              <a:ext uri="{FF2B5EF4-FFF2-40B4-BE49-F238E27FC236}">
                <a16:creationId xmlns:a16="http://schemas.microsoft.com/office/drawing/2014/main" id="{D8F0EC7B-7DE2-4C17-A435-348685509CE9}"/>
              </a:ext>
            </a:extLst>
          </p:cNvPr>
          <p:cNvSpPr/>
          <p:nvPr/>
        </p:nvSpPr>
        <p:spPr>
          <a:xfrm>
            <a:off x="4240948" y="3109903"/>
            <a:ext cx="1873860" cy="978729"/>
          </a:xfrm>
          <a:prstGeom prst="rect">
            <a:avLst/>
          </a:prstGeom>
        </p:spPr>
        <p:txBody>
          <a:bodyPr wrap="square">
            <a:spAutoFit/>
          </a:bodyPr>
          <a:lstStyle/>
          <a:p>
            <a:pPr lvl="0" algn="ctr" defTabSz="685777">
              <a:lnSpc>
                <a:spcPct val="90000"/>
              </a:lnSpc>
              <a:defRPr/>
            </a:pPr>
            <a:r>
              <a:rPr lang="en-US" sz="1600" dirty="0">
                <a:solidFill>
                  <a:schemeClr val="accent6"/>
                </a:solidFill>
                <a:latin typeface="+mj-lt"/>
                <a:cs typeface="CiscoSansTT" panose="020B0503020201020303" pitchFamily="34" charset="0"/>
              </a:rPr>
              <a:t>Unlike SOAR/XDR platforms, these </a:t>
            </a:r>
            <a:r>
              <a:rPr lang="en-US" sz="1600" dirty="0">
                <a:solidFill>
                  <a:schemeClr val="accent6"/>
                </a:solidFill>
                <a:latin typeface="CiscoSansTT" panose="020B0503020201020303" pitchFamily="34" charset="0"/>
                <a:cs typeface="CiscoSansTT" panose="020B0503020201020303" pitchFamily="34" charset="0"/>
              </a:rPr>
              <a:t>pains do not exist </a:t>
            </a:r>
            <a:r>
              <a:rPr lang="en-US" sz="1600" dirty="0">
                <a:solidFill>
                  <a:schemeClr val="accent6"/>
                </a:solidFill>
                <a:latin typeface="+mj-lt"/>
                <a:cs typeface="CiscoSansTT" panose="020B0503020201020303" pitchFamily="34" charset="0"/>
              </a:rPr>
              <a:t>in SecureX</a:t>
            </a:r>
          </a:p>
        </p:txBody>
      </p:sp>
      <p:sp>
        <p:nvSpPr>
          <p:cNvPr id="63" name="Rectangle: Rounded Corners 112">
            <a:extLst>
              <a:ext uri="{FF2B5EF4-FFF2-40B4-BE49-F238E27FC236}">
                <a16:creationId xmlns:a16="http://schemas.microsoft.com/office/drawing/2014/main" id="{43C823D6-715C-473A-8B2B-AD35FAEC3EB9}"/>
              </a:ext>
            </a:extLst>
          </p:cNvPr>
          <p:cNvSpPr/>
          <p:nvPr/>
        </p:nvSpPr>
        <p:spPr>
          <a:xfrm>
            <a:off x="584382" y="2424089"/>
            <a:ext cx="924592" cy="378018"/>
          </a:xfrm>
          <a:prstGeom prst="roundRect">
            <a:avLst>
              <a:gd name="adj" fmla="val 5715"/>
            </a:avLst>
          </a:prstGeom>
          <a:solidFill>
            <a:schemeClr val="bg1"/>
          </a:solidFill>
          <a:ln w="25400" cap="flat" cmpd="sng" algn="ctr">
            <a:no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ln>
                <a:noFill/>
              </a:ln>
              <a:solidFill>
                <a:srgbClr val="0D274D"/>
              </a:solidFill>
              <a:effectLst/>
              <a:uLnTx/>
              <a:uFillTx/>
              <a:latin typeface="+mj-lt"/>
              <a:ea typeface="+mn-ea"/>
              <a:cs typeface="+mn-cs"/>
            </a:endParaRPr>
          </a:p>
        </p:txBody>
      </p:sp>
      <p:sp>
        <p:nvSpPr>
          <p:cNvPr id="17" name="Rectangle 16">
            <a:extLst>
              <a:ext uri="{FF2B5EF4-FFF2-40B4-BE49-F238E27FC236}">
                <a16:creationId xmlns:a16="http://schemas.microsoft.com/office/drawing/2014/main" id="{0D57B8D6-CF29-4F4B-A2D0-A73B6CA41660}"/>
              </a:ext>
            </a:extLst>
          </p:cNvPr>
          <p:cNvSpPr/>
          <p:nvPr/>
        </p:nvSpPr>
        <p:spPr>
          <a:xfrm>
            <a:off x="584382" y="1552955"/>
            <a:ext cx="924593" cy="309771"/>
          </a:xfrm>
          <a:prstGeom prst="rect">
            <a:avLst/>
          </a:prstGeom>
          <a:solidFill>
            <a:schemeClr val="tx2"/>
          </a:solidFill>
        </p:spPr>
        <p:txBody>
          <a:bodyPr wrap="square" anchor="ctr">
            <a:noAutofit/>
          </a:bodyPr>
          <a:lstStyle/>
          <a:p>
            <a:pPr lvl="0" algn="ctr" defTabSz="685777">
              <a:lnSpc>
                <a:spcPct val="90000"/>
              </a:lnSpc>
              <a:defRPr/>
            </a:pPr>
            <a:r>
              <a:rPr lang="en-US" sz="800" b="1">
                <a:solidFill>
                  <a:schemeClr val="bg1"/>
                </a:solidFill>
                <a:latin typeface="+mj-lt"/>
                <a:cs typeface="CiscoSansTT" panose="020B0503020201020303" pitchFamily="34" charset="0"/>
              </a:rPr>
              <a:t>API-based integration</a:t>
            </a:r>
          </a:p>
        </p:txBody>
      </p:sp>
      <p:sp>
        <p:nvSpPr>
          <p:cNvPr id="18" name="Rectangle 17">
            <a:extLst>
              <a:ext uri="{FF2B5EF4-FFF2-40B4-BE49-F238E27FC236}">
                <a16:creationId xmlns:a16="http://schemas.microsoft.com/office/drawing/2014/main" id="{DAF51BC6-51AB-4164-9DD2-D7A58FAE772A}"/>
              </a:ext>
            </a:extLst>
          </p:cNvPr>
          <p:cNvSpPr/>
          <p:nvPr/>
        </p:nvSpPr>
        <p:spPr>
          <a:xfrm>
            <a:off x="584382" y="1907659"/>
            <a:ext cx="924593" cy="309771"/>
          </a:xfrm>
          <a:prstGeom prst="rect">
            <a:avLst/>
          </a:prstGeom>
          <a:solidFill>
            <a:schemeClr val="tx2"/>
          </a:solidFill>
        </p:spPr>
        <p:txBody>
          <a:bodyPr wrap="square" anchor="ctr">
            <a:noAutofit/>
          </a:bodyPr>
          <a:lstStyle/>
          <a:p>
            <a:pPr algn="ctr">
              <a:lnSpc>
                <a:spcPct val="90000"/>
              </a:lnSpc>
            </a:pPr>
            <a:r>
              <a:rPr lang="en-US" sz="800" b="1">
                <a:solidFill>
                  <a:schemeClr val="bg1"/>
                </a:solidFill>
                <a:latin typeface="+mj-lt"/>
                <a:cs typeface="CiscoSansTT" panose="020B0503020201020303" pitchFamily="34" charset="0"/>
              </a:rPr>
              <a:t> Simplified policy</a:t>
            </a:r>
          </a:p>
        </p:txBody>
      </p:sp>
      <p:sp>
        <p:nvSpPr>
          <p:cNvPr id="19" name="Rectangle 18">
            <a:extLst>
              <a:ext uri="{FF2B5EF4-FFF2-40B4-BE49-F238E27FC236}">
                <a16:creationId xmlns:a16="http://schemas.microsoft.com/office/drawing/2014/main" id="{4CCB3D8D-CD5C-4F68-919A-CFC762BB532B}"/>
              </a:ext>
            </a:extLst>
          </p:cNvPr>
          <p:cNvSpPr/>
          <p:nvPr/>
        </p:nvSpPr>
        <p:spPr>
          <a:xfrm>
            <a:off x="584382" y="2262364"/>
            <a:ext cx="924593" cy="309771"/>
          </a:xfrm>
          <a:prstGeom prst="rect">
            <a:avLst/>
          </a:prstGeom>
          <a:solidFill>
            <a:schemeClr val="tx2"/>
          </a:solidFill>
        </p:spPr>
        <p:txBody>
          <a:bodyPr wrap="square" anchor="ctr">
            <a:noAutofit/>
          </a:bodyPr>
          <a:lstStyle/>
          <a:p>
            <a:pPr algn="ctr">
              <a:lnSpc>
                <a:spcPct val="90000"/>
              </a:lnSpc>
            </a:pPr>
            <a:r>
              <a:rPr lang="en-US" sz="800" b="1">
                <a:solidFill>
                  <a:schemeClr val="bg1"/>
                </a:solidFill>
                <a:latin typeface="+mj-lt"/>
                <a:cs typeface="CiscoSansTT" panose="020B0503020201020303" pitchFamily="34" charset="0"/>
              </a:rPr>
              <a:t>Process automation</a:t>
            </a:r>
          </a:p>
        </p:txBody>
      </p:sp>
      <p:sp>
        <p:nvSpPr>
          <p:cNvPr id="20" name="Rectangle 19">
            <a:extLst>
              <a:ext uri="{FF2B5EF4-FFF2-40B4-BE49-F238E27FC236}">
                <a16:creationId xmlns:a16="http://schemas.microsoft.com/office/drawing/2014/main" id="{3B1F72E6-B222-4225-8C02-132F6B6656F5}"/>
              </a:ext>
            </a:extLst>
          </p:cNvPr>
          <p:cNvSpPr/>
          <p:nvPr/>
        </p:nvSpPr>
        <p:spPr>
          <a:xfrm>
            <a:off x="584382" y="2617069"/>
            <a:ext cx="924593" cy="200441"/>
          </a:xfrm>
          <a:prstGeom prst="rect">
            <a:avLst/>
          </a:prstGeom>
          <a:solidFill>
            <a:schemeClr val="bg2">
              <a:lumMod val="95000"/>
            </a:schemeClr>
          </a:solidFill>
        </p:spPr>
        <p:txBody>
          <a:bodyPr wrap="square" anchor="ctr">
            <a:noAutofit/>
          </a:bodyPr>
          <a:lstStyle/>
          <a:p>
            <a:pPr algn="ctr">
              <a:lnSpc>
                <a:spcPct val="90000"/>
              </a:lnSpc>
            </a:pPr>
            <a:r>
              <a:rPr lang="en-US" sz="800">
                <a:solidFill>
                  <a:schemeClr val="tx2"/>
                </a:solidFill>
                <a:latin typeface="+mj-lt"/>
                <a:cs typeface="CiscoSansTT" panose="020B0503020201020303" pitchFamily="34" charset="0"/>
              </a:rPr>
              <a:t>And more</a:t>
            </a:r>
          </a:p>
        </p:txBody>
      </p:sp>
      <p:sp>
        <p:nvSpPr>
          <p:cNvPr id="40" name="Rectangle 39">
            <a:extLst>
              <a:ext uri="{FF2B5EF4-FFF2-40B4-BE49-F238E27FC236}">
                <a16:creationId xmlns:a16="http://schemas.microsoft.com/office/drawing/2014/main" id="{A0B406F3-3FDF-412E-B25D-E8F87E0428F1}"/>
              </a:ext>
            </a:extLst>
          </p:cNvPr>
          <p:cNvSpPr/>
          <p:nvPr/>
        </p:nvSpPr>
        <p:spPr>
          <a:xfrm>
            <a:off x="584382" y="2891265"/>
            <a:ext cx="924593" cy="309771"/>
          </a:xfrm>
          <a:prstGeom prst="rect">
            <a:avLst/>
          </a:prstGeom>
          <a:solidFill>
            <a:schemeClr val="accent6"/>
          </a:solidFill>
        </p:spPr>
        <p:txBody>
          <a:bodyPr wrap="square" anchor="ctr">
            <a:noAutofit/>
          </a:bodyPr>
          <a:lstStyle/>
          <a:p>
            <a:pPr lvl="0" algn="ctr" defTabSz="685777">
              <a:lnSpc>
                <a:spcPct val="90000"/>
              </a:lnSpc>
              <a:defRPr/>
            </a:pPr>
            <a:r>
              <a:rPr lang="en-US" sz="800" b="1">
                <a:solidFill>
                  <a:schemeClr val="bg1"/>
                </a:solidFill>
                <a:latin typeface="+mj-lt"/>
                <a:cs typeface="CiscoSansTT" panose="020B0503020201020303" pitchFamily="34" charset="0"/>
              </a:rPr>
              <a:t>Separate license</a:t>
            </a:r>
          </a:p>
        </p:txBody>
      </p:sp>
      <p:sp>
        <p:nvSpPr>
          <p:cNvPr id="41" name="Rectangle 40">
            <a:extLst>
              <a:ext uri="{FF2B5EF4-FFF2-40B4-BE49-F238E27FC236}">
                <a16:creationId xmlns:a16="http://schemas.microsoft.com/office/drawing/2014/main" id="{662D0A02-1DBA-4102-82F9-B0FB0A13E113}"/>
              </a:ext>
            </a:extLst>
          </p:cNvPr>
          <p:cNvSpPr/>
          <p:nvPr/>
        </p:nvSpPr>
        <p:spPr>
          <a:xfrm>
            <a:off x="584382" y="3245970"/>
            <a:ext cx="924593" cy="309771"/>
          </a:xfrm>
          <a:prstGeom prst="rect">
            <a:avLst/>
          </a:prstGeom>
          <a:solidFill>
            <a:schemeClr val="accent6"/>
          </a:solidFill>
        </p:spPr>
        <p:txBody>
          <a:bodyPr wrap="square" anchor="ctr">
            <a:noAutofit/>
          </a:bodyPr>
          <a:lstStyle/>
          <a:p>
            <a:pPr algn="ctr">
              <a:lnSpc>
                <a:spcPct val="90000"/>
              </a:lnSpc>
            </a:pPr>
            <a:r>
              <a:rPr lang="en-US" sz="800" b="1">
                <a:solidFill>
                  <a:schemeClr val="bg1"/>
                </a:solidFill>
                <a:latin typeface="+mj-lt"/>
                <a:cs typeface="CiscoSansTT" panose="020B0503020201020303" pitchFamily="34" charset="0"/>
              </a:rPr>
              <a:t>Integration experts</a:t>
            </a:r>
          </a:p>
        </p:txBody>
      </p:sp>
      <p:sp>
        <p:nvSpPr>
          <p:cNvPr id="42" name="Rectangle 41">
            <a:extLst>
              <a:ext uri="{FF2B5EF4-FFF2-40B4-BE49-F238E27FC236}">
                <a16:creationId xmlns:a16="http://schemas.microsoft.com/office/drawing/2014/main" id="{E0C98DED-DF85-4C2A-A350-2D5C26937D05}"/>
              </a:ext>
            </a:extLst>
          </p:cNvPr>
          <p:cNvSpPr/>
          <p:nvPr/>
        </p:nvSpPr>
        <p:spPr>
          <a:xfrm>
            <a:off x="584382" y="3600674"/>
            <a:ext cx="924593" cy="309771"/>
          </a:xfrm>
          <a:prstGeom prst="rect">
            <a:avLst/>
          </a:prstGeom>
          <a:solidFill>
            <a:schemeClr val="accent6"/>
          </a:solidFill>
        </p:spPr>
        <p:txBody>
          <a:bodyPr wrap="square" anchor="ctr">
            <a:noAutofit/>
          </a:bodyPr>
          <a:lstStyle/>
          <a:p>
            <a:pPr algn="ctr">
              <a:lnSpc>
                <a:spcPct val="90000"/>
              </a:lnSpc>
            </a:pPr>
            <a:r>
              <a:rPr lang="en-US" sz="800" b="1">
                <a:solidFill>
                  <a:schemeClr val="bg1"/>
                </a:solidFill>
                <a:latin typeface="+mj-lt"/>
                <a:cs typeface="CiscoSansTT" panose="020B0503020201020303" pitchFamily="34" charset="0"/>
              </a:rPr>
              <a:t>No data normalization</a:t>
            </a:r>
          </a:p>
        </p:txBody>
      </p:sp>
      <p:sp>
        <p:nvSpPr>
          <p:cNvPr id="43" name="Rectangle 42">
            <a:extLst>
              <a:ext uri="{FF2B5EF4-FFF2-40B4-BE49-F238E27FC236}">
                <a16:creationId xmlns:a16="http://schemas.microsoft.com/office/drawing/2014/main" id="{E010E006-761A-4CBA-8DCE-6FBBC6BDEE9E}"/>
              </a:ext>
            </a:extLst>
          </p:cNvPr>
          <p:cNvSpPr/>
          <p:nvPr/>
        </p:nvSpPr>
        <p:spPr>
          <a:xfrm>
            <a:off x="584382" y="3954938"/>
            <a:ext cx="924593" cy="309771"/>
          </a:xfrm>
          <a:prstGeom prst="rect">
            <a:avLst/>
          </a:prstGeom>
          <a:solidFill>
            <a:schemeClr val="accent6"/>
          </a:solidFill>
        </p:spPr>
        <p:txBody>
          <a:bodyPr wrap="square" anchor="ctr">
            <a:noAutofit/>
          </a:bodyPr>
          <a:lstStyle/>
          <a:p>
            <a:pPr algn="ctr">
              <a:lnSpc>
                <a:spcPct val="90000"/>
              </a:lnSpc>
            </a:pPr>
            <a:r>
              <a:rPr lang="en-US" sz="800" b="1">
                <a:solidFill>
                  <a:schemeClr val="bg1"/>
                </a:solidFill>
                <a:latin typeface="+mj-lt"/>
                <a:cs typeface="CiscoSansTT" panose="020B0503020201020303" pitchFamily="34" charset="0"/>
              </a:rPr>
              <a:t>Context lacks breadth</a:t>
            </a:r>
          </a:p>
        </p:txBody>
      </p:sp>
      <p:sp>
        <p:nvSpPr>
          <p:cNvPr id="55" name="Rectangle: Rounded Corners 112">
            <a:extLst>
              <a:ext uri="{FF2B5EF4-FFF2-40B4-BE49-F238E27FC236}">
                <a16:creationId xmlns:a16="http://schemas.microsoft.com/office/drawing/2014/main" id="{BB22BBD4-8354-4F59-B42F-ACE164670E68}"/>
              </a:ext>
            </a:extLst>
          </p:cNvPr>
          <p:cNvSpPr/>
          <p:nvPr/>
        </p:nvSpPr>
        <p:spPr>
          <a:xfrm>
            <a:off x="584382" y="1442479"/>
            <a:ext cx="924592" cy="2874138"/>
          </a:xfrm>
          <a:prstGeom prst="roundRect">
            <a:avLst>
              <a:gd name="adj" fmla="val 5715"/>
            </a:avLst>
          </a:prstGeom>
          <a:noFill/>
          <a:ln w="25400" cap="flat" cmpd="sng" algn="ctr">
            <a:solidFill>
              <a:schemeClr val="tx1"/>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0" u="none" strike="noStrike" kern="0" cap="none" spc="0" normalizeH="0" baseline="0" noProof="0">
              <a:solidFill>
                <a:srgbClr val="0D274D"/>
              </a:solidFill>
              <a:effectLst/>
              <a:uLnTx/>
              <a:uFillTx/>
              <a:latin typeface="+mj-lt"/>
              <a:ea typeface="+mn-ea"/>
              <a:cs typeface="+mn-cs"/>
            </a:endParaRPr>
          </a:p>
        </p:txBody>
      </p:sp>
      <p:sp>
        <p:nvSpPr>
          <p:cNvPr id="56" name="Rectangle 55">
            <a:extLst>
              <a:ext uri="{FF2B5EF4-FFF2-40B4-BE49-F238E27FC236}">
                <a16:creationId xmlns:a16="http://schemas.microsoft.com/office/drawing/2014/main" id="{D2021DD6-8592-4106-87A2-8963F69CFF2C}"/>
              </a:ext>
            </a:extLst>
          </p:cNvPr>
          <p:cNvSpPr/>
          <p:nvPr/>
        </p:nvSpPr>
        <p:spPr>
          <a:xfrm>
            <a:off x="752092" y="1362119"/>
            <a:ext cx="589172" cy="147940"/>
          </a:xfrm>
          <a:prstGeom prst="rect">
            <a:avLst/>
          </a:prstGeom>
          <a:solidFill>
            <a:schemeClr val="bg1"/>
          </a:solidFill>
        </p:spPr>
        <p:txBody>
          <a:bodyPr wrap="none" anchor="ctr">
            <a:noAutofit/>
          </a:bodyPr>
          <a:lstStyle/>
          <a:p>
            <a:pPr algn="ctr"/>
            <a:r>
              <a:rPr lang="en-US" sz="1200">
                <a:solidFill>
                  <a:schemeClr val="bg1">
                    <a:lumMod val="65000"/>
                  </a:schemeClr>
                </a:solidFill>
                <a:latin typeface="+mj-lt"/>
                <a:cs typeface="CiscoSansTT" panose="020B0503020201020303" pitchFamily="34" charset="0"/>
              </a:rPr>
              <a:t>SOAR</a:t>
            </a:r>
          </a:p>
        </p:txBody>
      </p:sp>
      <p:sp>
        <p:nvSpPr>
          <p:cNvPr id="23" name="Rectangle 22">
            <a:extLst>
              <a:ext uri="{FF2B5EF4-FFF2-40B4-BE49-F238E27FC236}">
                <a16:creationId xmlns:a16="http://schemas.microsoft.com/office/drawing/2014/main" id="{DB17E838-0FFC-4A10-B92C-D14C8B6A5027}"/>
              </a:ext>
            </a:extLst>
          </p:cNvPr>
          <p:cNvSpPr/>
          <p:nvPr/>
        </p:nvSpPr>
        <p:spPr>
          <a:xfrm>
            <a:off x="1789237" y="1552954"/>
            <a:ext cx="1564129" cy="384351"/>
          </a:xfrm>
          <a:prstGeom prst="rect">
            <a:avLst/>
          </a:prstGeom>
          <a:solidFill>
            <a:schemeClr val="tx2"/>
          </a:solidFill>
        </p:spPr>
        <p:txBody>
          <a:bodyPr wrap="square" anchor="ctr">
            <a:noAutofit/>
          </a:bodyPr>
          <a:lstStyle/>
          <a:p>
            <a:pPr lvl="0" algn="ctr" defTabSz="685777">
              <a:lnSpc>
                <a:spcPct val="90000"/>
              </a:lnSpc>
              <a:defRPr/>
            </a:pPr>
            <a:r>
              <a:rPr lang="en-US" sz="1000" b="1" dirty="0">
                <a:solidFill>
                  <a:schemeClr val="bg1"/>
                </a:solidFill>
                <a:latin typeface="+mj-lt"/>
                <a:cs typeface="CiscoSansTT" panose="020B0503020201020303" pitchFamily="34" charset="0"/>
              </a:rPr>
              <a:t>X-product integration</a:t>
            </a:r>
          </a:p>
        </p:txBody>
      </p:sp>
      <p:sp>
        <p:nvSpPr>
          <p:cNvPr id="24" name="Rectangle 23">
            <a:extLst>
              <a:ext uri="{FF2B5EF4-FFF2-40B4-BE49-F238E27FC236}">
                <a16:creationId xmlns:a16="http://schemas.microsoft.com/office/drawing/2014/main" id="{6EDB29B5-B497-4ABE-8D17-8202A7E7FDAE}"/>
              </a:ext>
            </a:extLst>
          </p:cNvPr>
          <p:cNvSpPr/>
          <p:nvPr/>
        </p:nvSpPr>
        <p:spPr>
          <a:xfrm>
            <a:off x="1789237" y="1993056"/>
            <a:ext cx="1564129" cy="384351"/>
          </a:xfrm>
          <a:prstGeom prst="rect">
            <a:avLst/>
          </a:prstGeom>
          <a:solidFill>
            <a:schemeClr val="tx2"/>
          </a:solidFill>
        </p:spPr>
        <p:txBody>
          <a:bodyPr wrap="square" anchor="ctr">
            <a:noAutofit/>
          </a:bodyPr>
          <a:lstStyle/>
          <a:p>
            <a:pPr algn="ctr">
              <a:lnSpc>
                <a:spcPct val="90000"/>
              </a:lnSpc>
            </a:pPr>
            <a:r>
              <a:rPr lang="en-US" sz="1000" b="1">
                <a:solidFill>
                  <a:schemeClr val="bg1"/>
                </a:solidFill>
                <a:latin typeface="+mj-lt"/>
                <a:cs typeface="CiscoSansTT" panose="020B0503020201020303" pitchFamily="34" charset="0"/>
              </a:rPr>
              <a:t>Simplified analytics</a:t>
            </a:r>
          </a:p>
        </p:txBody>
      </p:sp>
      <p:sp>
        <p:nvSpPr>
          <p:cNvPr id="25" name="Rectangle 24">
            <a:extLst>
              <a:ext uri="{FF2B5EF4-FFF2-40B4-BE49-F238E27FC236}">
                <a16:creationId xmlns:a16="http://schemas.microsoft.com/office/drawing/2014/main" id="{6C275F48-9344-478D-A162-E1A41AF3BF95}"/>
              </a:ext>
            </a:extLst>
          </p:cNvPr>
          <p:cNvSpPr/>
          <p:nvPr/>
        </p:nvSpPr>
        <p:spPr>
          <a:xfrm>
            <a:off x="1789237" y="2433158"/>
            <a:ext cx="1564129" cy="384351"/>
          </a:xfrm>
          <a:prstGeom prst="rect">
            <a:avLst/>
          </a:prstGeom>
          <a:solidFill>
            <a:schemeClr val="tx2"/>
          </a:solidFill>
        </p:spPr>
        <p:txBody>
          <a:bodyPr wrap="square" anchor="ctr">
            <a:noAutofit/>
          </a:bodyPr>
          <a:lstStyle/>
          <a:p>
            <a:pPr lvl="0" algn="ctr" defTabSz="685777">
              <a:lnSpc>
                <a:spcPct val="90000"/>
              </a:lnSpc>
              <a:defRPr/>
            </a:pPr>
            <a:r>
              <a:rPr lang="en-US" sz="1000" b="1">
                <a:solidFill>
                  <a:schemeClr val="bg1"/>
                </a:solidFill>
                <a:latin typeface="+mj-lt"/>
                <a:cs typeface="CiscoSansTT" panose="020B0503020201020303" pitchFamily="34" charset="0"/>
              </a:rPr>
              <a:t>Response efficiency</a:t>
            </a:r>
          </a:p>
        </p:txBody>
      </p:sp>
      <p:sp>
        <p:nvSpPr>
          <p:cNvPr id="67" name="Rectangle 66">
            <a:extLst>
              <a:ext uri="{FF2B5EF4-FFF2-40B4-BE49-F238E27FC236}">
                <a16:creationId xmlns:a16="http://schemas.microsoft.com/office/drawing/2014/main" id="{249133A9-D97B-4AAF-B871-74E0F670BC77}"/>
              </a:ext>
            </a:extLst>
          </p:cNvPr>
          <p:cNvSpPr/>
          <p:nvPr/>
        </p:nvSpPr>
        <p:spPr>
          <a:xfrm>
            <a:off x="1785320" y="2897868"/>
            <a:ext cx="1552418" cy="303168"/>
          </a:xfrm>
          <a:prstGeom prst="rect">
            <a:avLst/>
          </a:prstGeom>
          <a:solidFill>
            <a:schemeClr val="accent6"/>
          </a:solidFill>
        </p:spPr>
        <p:txBody>
          <a:bodyPr wrap="square" anchor="ctr">
            <a:noAutofit/>
          </a:bodyPr>
          <a:lstStyle/>
          <a:p>
            <a:pPr algn="ctr" defTabSz="685777">
              <a:lnSpc>
                <a:spcPct val="90000"/>
              </a:lnSpc>
            </a:pPr>
            <a:r>
              <a:rPr lang="en-US" sz="1000" b="1">
                <a:solidFill>
                  <a:schemeClr val="bg1"/>
                </a:solidFill>
                <a:latin typeface="+mj-lt"/>
                <a:cs typeface="CiscoSansTT" panose="020B0503020201020303" pitchFamily="34" charset="0"/>
              </a:rPr>
              <a:t>Separate license</a:t>
            </a:r>
          </a:p>
        </p:txBody>
      </p:sp>
      <p:sp>
        <p:nvSpPr>
          <p:cNvPr id="68" name="Rectangle 67">
            <a:extLst>
              <a:ext uri="{FF2B5EF4-FFF2-40B4-BE49-F238E27FC236}">
                <a16:creationId xmlns:a16="http://schemas.microsoft.com/office/drawing/2014/main" id="{F4B5872C-1A66-4846-9821-A154167490C4}"/>
              </a:ext>
            </a:extLst>
          </p:cNvPr>
          <p:cNvSpPr/>
          <p:nvPr/>
        </p:nvSpPr>
        <p:spPr>
          <a:xfrm>
            <a:off x="1785320" y="3245971"/>
            <a:ext cx="1552418" cy="309770"/>
          </a:xfrm>
          <a:prstGeom prst="rect">
            <a:avLst/>
          </a:prstGeom>
          <a:solidFill>
            <a:schemeClr val="accent6"/>
          </a:solidFill>
        </p:spPr>
        <p:txBody>
          <a:bodyPr wrap="square" anchor="ctr">
            <a:noAutofit/>
          </a:bodyPr>
          <a:lstStyle/>
          <a:p>
            <a:pPr algn="ctr" defTabSz="685777">
              <a:lnSpc>
                <a:spcPct val="90000"/>
              </a:lnSpc>
            </a:pPr>
            <a:r>
              <a:rPr lang="en-US" sz="1000" b="1">
                <a:solidFill>
                  <a:schemeClr val="bg1"/>
                </a:solidFill>
                <a:latin typeface="+mj-lt"/>
                <a:cs typeface="CiscoSansTT" panose="020B0503020201020303" pitchFamily="34" charset="0"/>
              </a:rPr>
              <a:t>Automation experts</a:t>
            </a:r>
          </a:p>
        </p:txBody>
      </p:sp>
      <p:sp>
        <p:nvSpPr>
          <p:cNvPr id="69" name="Rectangle 68">
            <a:extLst>
              <a:ext uri="{FF2B5EF4-FFF2-40B4-BE49-F238E27FC236}">
                <a16:creationId xmlns:a16="http://schemas.microsoft.com/office/drawing/2014/main" id="{964E725D-2582-48F7-AFAE-B0A61F57540D}"/>
              </a:ext>
            </a:extLst>
          </p:cNvPr>
          <p:cNvSpPr/>
          <p:nvPr/>
        </p:nvSpPr>
        <p:spPr>
          <a:xfrm>
            <a:off x="1785320" y="3953531"/>
            <a:ext cx="1552418" cy="311178"/>
          </a:xfrm>
          <a:prstGeom prst="rect">
            <a:avLst/>
          </a:prstGeom>
          <a:solidFill>
            <a:schemeClr val="accent6"/>
          </a:solidFill>
        </p:spPr>
        <p:txBody>
          <a:bodyPr wrap="square" anchor="ctr">
            <a:noAutofit/>
          </a:bodyPr>
          <a:lstStyle/>
          <a:p>
            <a:pPr algn="ctr" defTabSz="685777">
              <a:lnSpc>
                <a:spcPct val="90000"/>
              </a:lnSpc>
            </a:pPr>
            <a:r>
              <a:rPr lang="en-US" sz="1000" b="1">
                <a:solidFill>
                  <a:schemeClr val="bg1"/>
                </a:solidFill>
                <a:latin typeface="+mj-lt"/>
                <a:cs typeface="CiscoSansTT" panose="020B0503020201020303" pitchFamily="34" charset="0"/>
              </a:rPr>
              <a:t>Third party limitations</a:t>
            </a:r>
          </a:p>
        </p:txBody>
      </p:sp>
      <p:sp>
        <p:nvSpPr>
          <p:cNvPr id="70" name="Rectangle 69">
            <a:extLst>
              <a:ext uri="{FF2B5EF4-FFF2-40B4-BE49-F238E27FC236}">
                <a16:creationId xmlns:a16="http://schemas.microsoft.com/office/drawing/2014/main" id="{0544E982-75DE-4D5D-9CE2-EE0E8726FDB3}"/>
              </a:ext>
            </a:extLst>
          </p:cNvPr>
          <p:cNvSpPr/>
          <p:nvPr/>
        </p:nvSpPr>
        <p:spPr>
          <a:xfrm>
            <a:off x="1785320" y="3599268"/>
            <a:ext cx="1552418" cy="311178"/>
          </a:xfrm>
          <a:prstGeom prst="rect">
            <a:avLst/>
          </a:prstGeom>
          <a:solidFill>
            <a:schemeClr val="accent6"/>
          </a:solidFill>
        </p:spPr>
        <p:txBody>
          <a:bodyPr wrap="square" anchor="ctr">
            <a:noAutofit/>
          </a:bodyPr>
          <a:lstStyle/>
          <a:p>
            <a:pPr algn="ctr" defTabSz="685777">
              <a:lnSpc>
                <a:spcPct val="90000"/>
              </a:lnSpc>
            </a:pPr>
            <a:r>
              <a:rPr lang="en-US" sz="1000" b="1" dirty="0">
                <a:solidFill>
                  <a:schemeClr val="bg1"/>
                </a:solidFill>
                <a:latin typeface="+mj-lt"/>
                <a:cs typeface="CiscoSansTT" panose="020B0503020201020303" pitchFamily="34" charset="0"/>
              </a:rPr>
              <a:t>Massive data lake</a:t>
            </a:r>
          </a:p>
        </p:txBody>
      </p:sp>
      <p:sp>
        <p:nvSpPr>
          <p:cNvPr id="71" name="Rectangle: Rounded Corners 112">
            <a:extLst>
              <a:ext uri="{FF2B5EF4-FFF2-40B4-BE49-F238E27FC236}">
                <a16:creationId xmlns:a16="http://schemas.microsoft.com/office/drawing/2014/main" id="{E8FBF547-8A0F-453A-AA08-32BED48C71D1}"/>
              </a:ext>
            </a:extLst>
          </p:cNvPr>
          <p:cNvSpPr/>
          <p:nvPr/>
        </p:nvSpPr>
        <p:spPr>
          <a:xfrm>
            <a:off x="1773611" y="1442480"/>
            <a:ext cx="1564126" cy="2874137"/>
          </a:xfrm>
          <a:prstGeom prst="roundRect">
            <a:avLst>
              <a:gd name="adj" fmla="val 5715"/>
            </a:avLst>
          </a:prstGeom>
          <a:noFill/>
          <a:ln w="25400" cap="flat" cmpd="sng" algn="ctr">
            <a:solidFill>
              <a:schemeClr val="tx1"/>
            </a:solidFill>
            <a:prstDash val="solid"/>
          </a:ln>
          <a:effectLst/>
        </p:spPr>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a:ln>
                <a:noFill/>
              </a:ln>
              <a:solidFill>
                <a:srgbClr val="0D274D"/>
              </a:solidFill>
              <a:effectLst/>
              <a:uLnTx/>
              <a:uFillTx/>
              <a:latin typeface="+mj-lt"/>
              <a:ea typeface="+mn-ea"/>
              <a:cs typeface="+mn-cs"/>
            </a:endParaRPr>
          </a:p>
        </p:txBody>
      </p:sp>
      <p:sp>
        <p:nvSpPr>
          <p:cNvPr id="72" name="Rectangle 71">
            <a:extLst>
              <a:ext uri="{FF2B5EF4-FFF2-40B4-BE49-F238E27FC236}">
                <a16:creationId xmlns:a16="http://schemas.microsoft.com/office/drawing/2014/main" id="{392665D6-788E-491D-8B40-F1168E5A86DD}"/>
              </a:ext>
            </a:extLst>
          </p:cNvPr>
          <p:cNvSpPr/>
          <p:nvPr/>
        </p:nvSpPr>
        <p:spPr>
          <a:xfrm>
            <a:off x="2315047" y="1362119"/>
            <a:ext cx="481252" cy="147940"/>
          </a:xfrm>
          <a:prstGeom prst="rect">
            <a:avLst/>
          </a:prstGeom>
          <a:solidFill>
            <a:schemeClr val="bg1"/>
          </a:solidFill>
        </p:spPr>
        <p:txBody>
          <a:bodyPr wrap="none" anchor="ctr">
            <a:noAutofit/>
          </a:bodyPr>
          <a:lstStyle/>
          <a:p>
            <a:pPr algn="ctr"/>
            <a:r>
              <a:rPr lang="en-US" sz="1200">
                <a:solidFill>
                  <a:schemeClr val="bg1">
                    <a:lumMod val="65000"/>
                  </a:schemeClr>
                </a:solidFill>
                <a:latin typeface="+mj-lt"/>
                <a:cs typeface="CiscoSansTT" panose="020B0503020201020303" pitchFamily="34" charset="0"/>
              </a:rPr>
              <a:t>XDR</a:t>
            </a:r>
          </a:p>
        </p:txBody>
      </p:sp>
      <p:grpSp>
        <p:nvGrpSpPr>
          <p:cNvPr id="160" name="Group 159">
            <a:extLst>
              <a:ext uri="{FF2B5EF4-FFF2-40B4-BE49-F238E27FC236}">
                <a16:creationId xmlns:a16="http://schemas.microsoft.com/office/drawing/2014/main" id="{A728EBA6-F72B-4151-8A4D-18EF9024EDD1}"/>
              </a:ext>
            </a:extLst>
          </p:cNvPr>
          <p:cNvGrpSpPr/>
          <p:nvPr/>
        </p:nvGrpSpPr>
        <p:grpSpPr>
          <a:xfrm>
            <a:off x="1472015" y="2035946"/>
            <a:ext cx="338554" cy="1726454"/>
            <a:chOff x="2617030" y="2234179"/>
            <a:chExt cx="338554" cy="1726454"/>
          </a:xfrm>
        </p:grpSpPr>
        <p:sp>
          <p:nvSpPr>
            <p:cNvPr id="153" name="TextBox 152">
              <a:extLst>
                <a:ext uri="{FF2B5EF4-FFF2-40B4-BE49-F238E27FC236}">
                  <a16:creationId xmlns:a16="http://schemas.microsoft.com/office/drawing/2014/main" id="{C3D28EC6-64A3-4CB9-A0C8-5F31DCB517A5}"/>
                </a:ext>
              </a:extLst>
            </p:cNvPr>
            <p:cNvSpPr txBox="1"/>
            <p:nvPr/>
          </p:nvSpPr>
          <p:spPr>
            <a:xfrm>
              <a:off x="2617030" y="2234179"/>
              <a:ext cx="338554" cy="400110"/>
            </a:xfrm>
            <a:prstGeom prst="rect">
              <a:avLst/>
            </a:prstGeom>
            <a:noFill/>
          </p:spPr>
          <p:txBody>
            <a:bodyPr wrap="none" rtlCol="0">
              <a:spAutoFit/>
            </a:bodyPr>
            <a:lstStyle/>
            <a:p>
              <a:r>
                <a:rPr lang="en-US" sz="2000">
                  <a:solidFill>
                    <a:schemeClr val="tx2"/>
                  </a:solidFill>
                </a:rPr>
                <a:t>+</a:t>
              </a:r>
            </a:p>
          </p:txBody>
        </p:sp>
        <p:sp>
          <p:nvSpPr>
            <p:cNvPr id="155" name="TextBox 154">
              <a:extLst>
                <a:ext uri="{FF2B5EF4-FFF2-40B4-BE49-F238E27FC236}">
                  <a16:creationId xmlns:a16="http://schemas.microsoft.com/office/drawing/2014/main" id="{B239E055-13AF-4A8E-9DBB-4DC3266CB59E}"/>
                </a:ext>
              </a:extLst>
            </p:cNvPr>
            <p:cNvSpPr txBox="1"/>
            <p:nvPr/>
          </p:nvSpPr>
          <p:spPr>
            <a:xfrm>
              <a:off x="2617030" y="3560523"/>
              <a:ext cx="338554" cy="400110"/>
            </a:xfrm>
            <a:prstGeom prst="rect">
              <a:avLst/>
            </a:prstGeom>
            <a:noFill/>
          </p:spPr>
          <p:txBody>
            <a:bodyPr wrap="none" rtlCol="0">
              <a:spAutoFit/>
            </a:bodyPr>
            <a:lstStyle/>
            <a:p>
              <a:r>
                <a:rPr lang="en-US" sz="2000">
                  <a:solidFill>
                    <a:schemeClr val="accent6"/>
                  </a:solidFill>
                </a:rPr>
                <a:t>+</a:t>
              </a:r>
            </a:p>
          </p:txBody>
        </p:sp>
      </p:grpSp>
      <p:pic>
        <p:nvPicPr>
          <p:cNvPr id="77" name="Picture 76" descr="A picture containing flower&#10;&#10;Description generated with very high confidence">
            <a:extLst>
              <a:ext uri="{FF2B5EF4-FFF2-40B4-BE49-F238E27FC236}">
                <a16:creationId xmlns:a16="http://schemas.microsoft.com/office/drawing/2014/main" id="{12E7D1F6-5B49-C047-ADED-4B1ADD8407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6154" t="26377" r="12456" b="11972"/>
          <a:stretch/>
        </p:blipFill>
        <p:spPr>
          <a:xfrm>
            <a:off x="6977063" y="1243594"/>
            <a:ext cx="910736" cy="256888"/>
          </a:xfrm>
          <a:prstGeom prst="rect">
            <a:avLst/>
          </a:prstGeom>
          <a:solidFill>
            <a:schemeClr val="bg1"/>
          </a:solidFill>
        </p:spPr>
      </p:pic>
      <p:pic>
        <p:nvPicPr>
          <p:cNvPr id="5" name="Picture 4">
            <a:extLst>
              <a:ext uri="{FF2B5EF4-FFF2-40B4-BE49-F238E27FC236}">
                <a16:creationId xmlns:a16="http://schemas.microsoft.com/office/drawing/2014/main" id="{A9BACADC-8EDA-F047-A512-329643A1416B}"/>
              </a:ext>
            </a:extLst>
          </p:cNvPr>
          <p:cNvPicPr>
            <a:picLocks noChangeAspect="1"/>
          </p:cNvPicPr>
          <p:nvPr/>
        </p:nvPicPr>
        <p:blipFill>
          <a:blip r:embed="rId4"/>
          <a:stretch>
            <a:fillRect/>
          </a:stretch>
        </p:blipFill>
        <p:spPr>
          <a:xfrm>
            <a:off x="3473856" y="2013946"/>
            <a:ext cx="671564" cy="457200"/>
          </a:xfrm>
          <a:prstGeom prst="rect">
            <a:avLst/>
          </a:prstGeom>
        </p:spPr>
      </p:pic>
      <p:pic>
        <p:nvPicPr>
          <p:cNvPr id="49" name="Graphic 48" descr="No sign">
            <a:extLst>
              <a:ext uri="{FF2B5EF4-FFF2-40B4-BE49-F238E27FC236}">
                <a16:creationId xmlns:a16="http://schemas.microsoft.com/office/drawing/2014/main" id="{1E5CFB5E-0E68-DD42-93CE-345A75AED6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405656" y="3151701"/>
            <a:ext cx="835292" cy="835292"/>
          </a:xfrm>
          <a:prstGeom prst="rect">
            <a:avLst/>
          </a:prstGeom>
        </p:spPr>
      </p:pic>
    </p:spTree>
    <p:extLst>
      <p:ext uri="{BB962C8B-B14F-4D97-AF65-F5344CB8AC3E}">
        <p14:creationId xmlns:p14="http://schemas.microsoft.com/office/powerpoint/2010/main" val="3363841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 name="Trapezoid 498">
            <a:extLst>
              <a:ext uri="{FF2B5EF4-FFF2-40B4-BE49-F238E27FC236}">
                <a16:creationId xmlns:a16="http://schemas.microsoft.com/office/drawing/2014/main" id="{A14418B7-E042-C040-AD5A-3D4E866FE3DB}"/>
              </a:ext>
            </a:extLst>
          </p:cNvPr>
          <p:cNvSpPr/>
          <p:nvPr/>
        </p:nvSpPr>
        <p:spPr>
          <a:xfrm>
            <a:off x="5469208" y="2114771"/>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8" name="Trapezoid 497">
            <a:extLst>
              <a:ext uri="{FF2B5EF4-FFF2-40B4-BE49-F238E27FC236}">
                <a16:creationId xmlns:a16="http://schemas.microsoft.com/office/drawing/2014/main" id="{DA6DF866-CFDC-3C4C-8C8A-B8D16B942527}"/>
              </a:ext>
            </a:extLst>
          </p:cNvPr>
          <p:cNvSpPr/>
          <p:nvPr/>
        </p:nvSpPr>
        <p:spPr>
          <a:xfrm>
            <a:off x="2831186" y="2113600"/>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rapezoid 13">
            <a:extLst>
              <a:ext uri="{FF2B5EF4-FFF2-40B4-BE49-F238E27FC236}">
                <a16:creationId xmlns:a16="http://schemas.microsoft.com/office/drawing/2014/main" id="{5BF4EBEE-F698-E74A-BE66-6F5EA573527F}"/>
              </a:ext>
            </a:extLst>
          </p:cNvPr>
          <p:cNvSpPr/>
          <p:nvPr/>
        </p:nvSpPr>
        <p:spPr>
          <a:xfrm>
            <a:off x="229955" y="2125574"/>
            <a:ext cx="3450788" cy="841709"/>
          </a:xfrm>
          <a:prstGeom prst="trapezoid">
            <a:avLst>
              <a:gd name="adj" fmla="val 148307"/>
            </a:avLst>
          </a:prstGeom>
          <a:gradFill>
            <a:gsLst>
              <a:gs pos="23000">
                <a:schemeClr val="tx2">
                  <a:lumMod val="20000"/>
                  <a:lumOff val="80000"/>
                  <a:alpha val="50000"/>
                </a:schemeClr>
              </a:gs>
              <a:gs pos="0">
                <a:schemeClr val="bg1">
                  <a:alpha val="50000"/>
                </a:schemeClr>
              </a:gs>
              <a:gs pos="100000">
                <a:schemeClr val="tx2">
                  <a:lumMod val="40000"/>
                  <a:lumOff val="60000"/>
                  <a:alpha val="5000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2" name="Rounded Rectangle 501">
            <a:extLst>
              <a:ext uri="{FF2B5EF4-FFF2-40B4-BE49-F238E27FC236}">
                <a16:creationId xmlns:a16="http://schemas.microsoft.com/office/drawing/2014/main" id="{F1787B50-FC36-CD47-A6FA-E1D15744B32D}"/>
              </a:ext>
            </a:extLst>
          </p:cNvPr>
          <p:cNvSpPr/>
          <p:nvPr/>
        </p:nvSpPr>
        <p:spPr>
          <a:xfrm>
            <a:off x="4334735" y="1894418"/>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Rounded Rectangle 502">
            <a:extLst>
              <a:ext uri="{FF2B5EF4-FFF2-40B4-BE49-F238E27FC236}">
                <a16:creationId xmlns:a16="http://schemas.microsoft.com/office/drawing/2014/main" id="{FA0313AB-D074-3D46-8A84-41994BEA13B1}"/>
              </a:ext>
            </a:extLst>
          </p:cNvPr>
          <p:cNvSpPr/>
          <p:nvPr/>
        </p:nvSpPr>
        <p:spPr>
          <a:xfrm>
            <a:off x="7375037" y="1893451"/>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1" name="Rounded Rectangle 500">
            <a:extLst>
              <a:ext uri="{FF2B5EF4-FFF2-40B4-BE49-F238E27FC236}">
                <a16:creationId xmlns:a16="http://schemas.microsoft.com/office/drawing/2014/main" id="{4DC37662-7F50-1446-9932-4B2A4BC9CAB2}"/>
              </a:ext>
            </a:extLst>
          </p:cNvPr>
          <p:cNvSpPr/>
          <p:nvPr/>
        </p:nvSpPr>
        <p:spPr>
          <a:xfrm>
            <a:off x="1237680" y="1893451"/>
            <a:ext cx="1290493" cy="322332"/>
          </a:xfrm>
          <a:prstGeom prst="round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Rectangle 223">
            <a:extLst>
              <a:ext uri="{FF2B5EF4-FFF2-40B4-BE49-F238E27FC236}">
                <a16:creationId xmlns:a16="http://schemas.microsoft.com/office/drawing/2014/main" id="{E47C3239-E537-DC4F-BA97-C454F5A0B7C1}"/>
              </a:ext>
            </a:extLst>
          </p:cNvPr>
          <p:cNvSpPr/>
          <p:nvPr/>
        </p:nvSpPr>
        <p:spPr>
          <a:xfrm>
            <a:off x="0" y="2967668"/>
            <a:ext cx="9144000" cy="1553589"/>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iscoSansTT ExtraLight"/>
            </a:endParaRPr>
          </a:p>
        </p:txBody>
      </p:sp>
      <p:sp>
        <p:nvSpPr>
          <p:cNvPr id="2" name="Title 1">
            <a:extLst>
              <a:ext uri="{FF2B5EF4-FFF2-40B4-BE49-F238E27FC236}">
                <a16:creationId xmlns:a16="http://schemas.microsoft.com/office/drawing/2014/main" id="{F39CC61B-F18E-8241-A52B-BD1EAFE6A1B7}"/>
              </a:ext>
            </a:extLst>
          </p:cNvPr>
          <p:cNvSpPr>
            <a:spLocks noGrp="1"/>
          </p:cNvSpPr>
          <p:nvPr>
            <p:ph type="title"/>
          </p:nvPr>
        </p:nvSpPr>
        <p:spPr/>
        <p:txBody>
          <a:bodyPr/>
          <a:lstStyle/>
          <a:p>
            <a:r>
              <a:rPr lang="en-US"/>
              <a:t>SecureX </a:t>
            </a:r>
            <a:r>
              <a:rPr lang="en-US">
                <a:solidFill>
                  <a:schemeClr val="tx2"/>
                </a:solidFill>
                <a:latin typeface="CiscoSansTT" panose="020B0503020201020303" pitchFamily="34" charset="0"/>
                <a:cs typeface="CiscoSansTT" panose="020B0503020201020303" pitchFamily="34" charset="0"/>
              </a:rPr>
              <a:t>unlocks value </a:t>
            </a:r>
            <a:r>
              <a:rPr lang="en-US"/>
              <a:t>for your organization</a:t>
            </a:r>
          </a:p>
        </p:txBody>
      </p:sp>
      <p:grpSp>
        <p:nvGrpSpPr>
          <p:cNvPr id="247" name="Group 246">
            <a:extLst>
              <a:ext uri="{FF2B5EF4-FFF2-40B4-BE49-F238E27FC236}">
                <a16:creationId xmlns:a16="http://schemas.microsoft.com/office/drawing/2014/main" id="{2924CD2A-6DA8-1C48-BEF8-649A119DA739}"/>
              </a:ext>
            </a:extLst>
          </p:cNvPr>
          <p:cNvGrpSpPr/>
          <p:nvPr/>
        </p:nvGrpSpPr>
        <p:grpSpPr>
          <a:xfrm>
            <a:off x="424138" y="1306108"/>
            <a:ext cx="8269434" cy="1103762"/>
            <a:chOff x="615259" y="3926377"/>
            <a:chExt cx="8269434" cy="1103762"/>
          </a:xfrm>
        </p:grpSpPr>
        <p:grpSp>
          <p:nvGrpSpPr>
            <p:cNvPr id="248" name="Group 247">
              <a:extLst>
                <a:ext uri="{FF2B5EF4-FFF2-40B4-BE49-F238E27FC236}">
                  <a16:creationId xmlns:a16="http://schemas.microsoft.com/office/drawing/2014/main" id="{ED9FB557-D89F-A34B-AB03-BF8545B366B8}"/>
                </a:ext>
              </a:extLst>
            </p:cNvPr>
            <p:cNvGrpSpPr/>
            <p:nvPr/>
          </p:nvGrpSpPr>
          <p:grpSpPr>
            <a:xfrm>
              <a:off x="3599525" y="3952936"/>
              <a:ext cx="2265475" cy="911509"/>
              <a:chOff x="3599359" y="3859903"/>
              <a:chExt cx="2265475" cy="911509"/>
            </a:xfrm>
          </p:grpSpPr>
          <p:sp>
            <p:nvSpPr>
              <p:cNvPr id="370" name="TextBox 369">
                <a:extLst>
                  <a:ext uri="{FF2B5EF4-FFF2-40B4-BE49-F238E27FC236}">
                    <a16:creationId xmlns:a16="http://schemas.microsoft.com/office/drawing/2014/main" id="{7D1EFDE8-E0DC-9A45-A35B-56222C8721B6}"/>
                  </a:ext>
                </a:extLst>
              </p:cNvPr>
              <p:cNvSpPr txBox="1"/>
              <p:nvPr/>
            </p:nvSpPr>
            <p:spPr>
              <a:xfrm>
                <a:off x="4489864" y="3940415"/>
                <a:ext cx="1374970"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Unified in one location for</a:t>
                </a:r>
              </a:p>
              <a:p>
                <a:pPr algn="ctr" defTabSz="685783">
                  <a:defRPr/>
                </a:pPr>
                <a:r>
                  <a:rPr lang="en-US" sz="2000">
                    <a:solidFill>
                      <a:schemeClr val="bg1"/>
                    </a:solidFill>
                    <a:latin typeface="CiscoSansTT" panose="020B0503020201020303" pitchFamily="34" charset="0"/>
                    <a:cs typeface="CiscoSansTT" panose="020B0503020201020303" pitchFamily="34" charset="0"/>
                  </a:rPr>
                  <a:t>visibility</a:t>
                </a:r>
                <a:r>
                  <a:rPr lang="en-US" sz="1400">
                    <a:solidFill>
                      <a:srgbClr val="6BBF4E"/>
                    </a:solidFill>
                    <a:latin typeface="CiscoSansTT" panose="020B0503020201020303" pitchFamily="34" charset="0"/>
                    <a:cs typeface="CiscoSansTT" panose="020B0503020201020303" pitchFamily="34" charset="0"/>
                  </a:rPr>
                  <a:t> </a:t>
                </a:r>
                <a:endParaRPr lang="en-US" sz="1400">
                  <a:solidFill>
                    <a:srgbClr val="0D274D"/>
                  </a:solidFill>
                  <a:latin typeface="CiscoSansTT ExtraLight" panose="020B0303020201020303" pitchFamily="34" charset="0"/>
                  <a:cs typeface="CiscoSansTT ExtraLight" panose="020B0303020201020303" pitchFamily="34" charset="0"/>
                </a:endParaRPr>
              </a:p>
            </p:txBody>
          </p:sp>
          <p:grpSp>
            <p:nvGrpSpPr>
              <p:cNvPr id="371" name="Group 370">
                <a:extLst>
                  <a:ext uri="{FF2B5EF4-FFF2-40B4-BE49-F238E27FC236}">
                    <a16:creationId xmlns:a16="http://schemas.microsoft.com/office/drawing/2014/main" id="{1C87075D-C2D4-B049-B7BE-CA4C1939A621}"/>
                  </a:ext>
                </a:extLst>
              </p:cNvPr>
              <p:cNvGrpSpPr>
                <a:grpSpLocks noChangeAspect="1"/>
              </p:cNvGrpSpPr>
              <p:nvPr/>
            </p:nvGrpSpPr>
            <p:grpSpPr>
              <a:xfrm>
                <a:off x="3599359" y="3859903"/>
                <a:ext cx="965449" cy="876210"/>
                <a:chOff x="3952660" y="1890840"/>
                <a:chExt cx="1401472" cy="1271935"/>
              </a:xfrm>
            </p:grpSpPr>
            <p:pic>
              <p:nvPicPr>
                <p:cNvPr id="372" name="Picture 82" descr="A close up of electronics&#10;&#10;Description automatically generated">
                  <a:extLst>
                    <a:ext uri="{FF2B5EF4-FFF2-40B4-BE49-F238E27FC236}">
                      <a16:creationId xmlns:a16="http://schemas.microsoft.com/office/drawing/2014/main" id="{594050F4-E055-8743-9FCD-EC8B722E4FF8}"/>
                    </a:ext>
                  </a:extLst>
                </p:cNvPr>
                <p:cNvPicPr>
                  <a:picLocks noChangeAspect="1"/>
                </p:cNvPicPr>
                <p:nvPr/>
              </p:nvPicPr>
              <p:blipFill>
                <a:blip r:embed="rId3" cstate="screen">
                  <a:duotone>
                    <a:srgbClr val="00BCEB">
                      <a:shade val="45000"/>
                      <a:satMod val="135000"/>
                    </a:srgbClr>
                    <a:prstClr val="white"/>
                  </a:duotone>
                  <a:extLst>
                    <a:ext uri="{28A0092B-C50C-407E-A947-70E740481C1C}">
                      <a14:useLocalDpi xmlns:a14="http://schemas.microsoft.com/office/drawing/2010/main"/>
                    </a:ext>
                  </a:extLst>
                </a:blip>
                <a:stretch>
                  <a:fillRect/>
                </a:stretch>
              </p:blipFill>
              <p:spPr>
                <a:xfrm rot="19454881" flipH="1">
                  <a:off x="4307694" y="2118830"/>
                  <a:ext cx="1046438" cy="854087"/>
                </a:xfrm>
                <a:prstGeom prst="rect">
                  <a:avLst/>
                </a:prstGeom>
              </p:spPr>
            </p:pic>
            <p:grpSp>
              <p:nvGrpSpPr>
                <p:cNvPr id="373" name="Group 372">
                  <a:extLst>
                    <a:ext uri="{FF2B5EF4-FFF2-40B4-BE49-F238E27FC236}">
                      <a16:creationId xmlns:a16="http://schemas.microsoft.com/office/drawing/2014/main" id="{832BCA22-F6F1-2F4E-A6AF-AFFAF222EC84}"/>
                    </a:ext>
                  </a:extLst>
                </p:cNvPr>
                <p:cNvGrpSpPr>
                  <a:grpSpLocks noChangeAspect="1"/>
                </p:cNvGrpSpPr>
                <p:nvPr/>
              </p:nvGrpSpPr>
              <p:grpSpPr>
                <a:xfrm>
                  <a:off x="3952660" y="1890840"/>
                  <a:ext cx="1315698" cy="1271935"/>
                  <a:chOff x="6159182" y="1273837"/>
                  <a:chExt cx="1608153" cy="1503716"/>
                </a:xfrm>
              </p:grpSpPr>
              <p:sp>
                <p:nvSpPr>
                  <p:cNvPr id="374" name="Oval 373">
                    <a:extLst>
                      <a:ext uri="{FF2B5EF4-FFF2-40B4-BE49-F238E27FC236}">
                        <a16:creationId xmlns:a16="http://schemas.microsoft.com/office/drawing/2014/main" id="{7A57BCDF-7C93-8146-868D-FDB4FD7D69FE}"/>
                      </a:ext>
                    </a:extLst>
                  </p:cNvPr>
                  <p:cNvSpPr/>
                  <p:nvPr/>
                </p:nvSpPr>
                <p:spPr>
                  <a:xfrm>
                    <a:off x="6159182" y="1795878"/>
                    <a:ext cx="866556" cy="866556"/>
                  </a:xfrm>
                  <a:prstGeom prst="ellipse">
                    <a:avLst/>
                  </a:prstGeom>
                  <a:solidFill>
                    <a:srgbClr val="00BCEB">
                      <a:alpha val="60000"/>
                    </a:srgbClr>
                  </a:solidFill>
                  <a:ln w="25400" cap="flat" cmpd="sng" algn="ctr">
                    <a:noFill/>
                    <a:prstDash val="solid"/>
                  </a:ln>
                  <a:effectLst/>
                </p:spPr>
                <p:txBody>
                  <a:bodyPr rtlCol="0" anchor="ctr"/>
                  <a:lstStyle/>
                  <a:p>
                    <a:pPr algn="ctr" defTabSz="914378">
                      <a:defRPr/>
                    </a:pPr>
                    <a:endParaRPr lang="en-US" sz="1600" kern="0">
                      <a:solidFill>
                        <a:srgbClr val="0D274D"/>
                      </a:solidFill>
                      <a:latin typeface="CiscoSansTT ExtraLight"/>
                    </a:endParaRPr>
                  </a:p>
                </p:txBody>
              </p:sp>
              <p:sp>
                <p:nvSpPr>
                  <p:cNvPr id="375" name="Arc 374">
                    <a:extLst>
                      <a:ext uri="{FF2B5EF4-FFF2-40B4-BE49-F238E27FC236}">
                        <a16:creationId xmlns:a16="http://schemas.microsoft.com/office/drawing/2014/main" id="{BB10A2DD-CC22-6C40-AD9A-16ED49018BF0}"/>
                      </a:ext>
                    </a:extLst>
                  </p:cNvPr>
                  <p:cNvSpPr/>
                  <p:nvPr/>
                </p:nvSpPr>
                <p:spPr>
                  <a:xfrm>
                    <a:off x="6326358" y="1468366"/>
                    <a:ext cx="1228004" cy="1228004"/>
                  </a:xfrm>
                  <a:prstGeom prst="arc">
                    <a:avLst>
                      <a:gd name="adj1" fmla="val 1761019"/>
                      <a:gd name="adj2" fmla="val 15841988"/>
                    </a:avLst>
                  </a:prstGeom>
                  <a:noFill/>
                  <a:ln w="9525" cap="flat" cmpd="sng" algn="ctr">
                    <a:solidFill>
                      <a:srgbClr val="6EBE4A"/>
                    </a:solidFill>
                    <a:prstDash val="solid"/>
                    <a:headEnd type="none" w="med" len="med"/>
                    <a:tailEnd type="none" w="med" len="med"/>
                  </a:ln>
                  <a:effectLst/>
                </p:spPr>
                <p:txBody>
                  <a:bodyPr rtlCol="0" anchor="ctr"/>
                  <a:lstStyle/>
                  <a:p>
                    <a:pPr algn="ctr" defTabSz="914378">
                      <a:defRPr/>
                    </a:pPr>
                    <a:endParaRPr lang="en-US" sz="1600" kern="0">
                      <a:solidFill>
                        <a:srgbClr val="282828"/>
                      </a:solidFill>
                      <a:latin typeface="CiscoSansTT ExtraLight"/>
                    </a:endParaRPr>
                  </a:p>
                </p:txBody>
              </p:sp>
              <p:sp>
                <p:nvSpPr>
                  <p:cNvPr id="376" name="Isosceles Triangle 49">
                    <a:extLst>
                      <a:ext uri="{FF2B5EF4-FFF2-40B4-BE49-F238E27FC236}">
                        <a16:creationId xmlns:a16="http://schemas.microsoft.com/office/drawing/2014/main" id="{DC54854C-203B-464D-858F-A3AEE7533DA0}"/>
                      </a:ext>
                    </a:extLst>
                  </p:cNvPr>
                  <p:cNvSpPr/>
                  <p:nvPr/>
                </p:nvSpPr>
                <p:spPr>
                  <a:xfrm rot="5989115">
                    <a:off x="6864813" y="1425383"/>
                    <a:ext cx="104112" cy="90804"/>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noFill/>
                  <a:ln w="9525" cap="flat" cmpd="sng" algn="ctr">
                    <a:solidFill>
                      <a:srgbClr val="6EBE4A"/>
                    </a:solid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282828"/>
                      </a:solidFill>
                      <a:latin typeface="CiscoSansTT ExtraLight"/>
                    </a:endParaRPr>
                  </a:p>
                </p:txBody>
              </p:sp>
              <p:cxnSp>
                <p:nvCxnSpPr>
                  <p:cNvPr id="377" name="Straight Connector 376">
                    <a:extLst>
                      <a:ext uri="{FF2B5EF4-FFF2-40B4-BE49-F238E27FC236}">
                        <a16:creationId xmlns:a16="http://schemas.microsoft.com/office/drawing/2014/main" id="{7445AF95-6045-3C48-B091-A125CAC75692}"/>
                      </a:ext>
                    </a:extLst>
                  </p:cNvPr>
                  <p:cNvCxnSpPr/>
                  <p:nvPr/>
                </p:nvCxnSpPr>
                <p:spPr>
                  <a:xfrm flipH="1" flipV="1">
                    <a:off x="6596063" y="1565536"/>
                    <a:ext cx="28575" cy="59036"/>
                  </a:xfrm>
                  <a:prstGeom prst="line">
                    <a:avLst/>
                  </a:prstGeom>
                  <a:noFill/>
                  <a:ln w="9525" cap="flat" cmpd="sng" algn="ctr">
                    <a:solidFill>
                      <a:srgbClr val="FFFFFF"/>
                    </a:solidFill>
                    <a:prstDash val="solid"/>
                  </a:ln>
                  <a:effectLst/>
                </p:spPr>
              </p:cxnSp>
              <p:cxnSp>
                <p:nvCxnSpPr>
                  <p:cNvPr id="378" name="Straight Connector 377">
                    <a:extLst>
                      <a:ext uri="{FF2B5EF4-FFF2-40B4-BE49-F238E27FC236}">
                        <a16:creationId xmlns:a16="http://schemas.microsoft.com/office/drawing/2014/main" id="{CD135B2A-4E86-FD4B-B5D0-588AEC3FE74C}"/>
                      </a:ext>
                    </a:extLst>
                  </p:cNvPr>
                  <p:cNvCxnSpPr>
                    <a:cxnSpLocks/>
                  </p:cNvCxnSpPr>
                  <p:nvPr/>
                </p:nvCxnSpPr>
                <p:spPr>
                  <a:xfrm flipH="1" flipV="1">
                    <a:off x="6330587" y="1927472"/>
                    <a:ext cx="61103" cy="15935"/>
                  </a:xfrm>
                  <a:prstGeom prst="line">
                    <a:avLst/>
                  </a:prstGeom>
                  <a:noFill/>
                  <a:ln w="9525" cap="flat" cmpd="sng" algn="ctr">
                    <a:solidFill>
                      <a:srgbClr val="FFFFFF"/>
                    </a:solidFill>
                    <a:prstDash val="solid"/>
                  </a:ln>
                  <a:effectLst/>
                </p:spPr>
              </p:cxnSp>
              <p:cxnSp>
                <p:nvCxnSpPr>
                  <p:cNvPr id="379" name="Straight Connector 378">
                    <a:extLst>
                      <a:ext uri="{FF2B5EF4-FFF2-40B4-BE49-F238E27FC236}">
                        <a16:creationId xmlns:a16="http://schemas.microsoft.com/office/drawing/2014/main" id="{5E4D10D2-E4E2-4443-AD30-FE8D6D28066A}"/>
                      </a:ext>
                    </a:extLst>
                  </p:cNvPr>
                  <p:cNvCxnSpPr>
                    <a:cxnSpLocks/>
                  </p:cNvCxnSpPr>
                  <p:nvPr/>
                </p:nvCxnSpPr>
                <p:spPr>
                  <a:xfrm flipH="1">
                    <a:off x="6383819" y="2330834"/>
                    <a:ext cx="55158" cy="21494"/>
                  </a:xfrm>
                  <a:prstGeom prst="line">
                    <a:avLst/>
                  </a:prstGeom>
                  <a:noFill/>
                  <a:ln w="9525" cap="flat" cmpd="sng" algn="ctr">
                    <a:solidFill>
                      <a:srgbClr val="FFFFFF"/>
                    </a:solidFill>
                    <a:prstDash val="solid"/>
                  </a:ln>
                  <a:effectLst/>
                </p:spPr>
              </p:cxnSp>
              <p:cxnSp>
                <p:nvCxnSpPr>
                  <p:cNvPr id="380" name="Straight Connector 379">
                    <a:extLst>
                      <a:ext uri="{FF2B5EF4-FFF2-40B4-BE49-F238E27FC236}">
                        <a16:creationId xmlns:a16="http://schemas.microsoft.com/office/drawing/2014/main" id="{A87D1327-C248-4946-AC91-6F77BC9EE63C}"/>
                      </a:ext>
                    </a:extLst>
                  </p:cNvPr>
                  <p:cNvCxnSpPr>
                    <a:cxnSpLocks/>
                  </p:cNvCxnSpPr>
                  <p:nvPr/>
                </p:nvCxnSpPr>
                <p:spPr>
                  <a:xfrm flipH="1">
                    <a:off x="6691535" y="2595608"/>
                    <a:ext cx="18904" cy="51584"/>
                  </a:xfrm>
                  <a:prstGeom prst="line">
                    <a:avLst/>
                  </a:prstGeom>
                  <a:noFill/>
                  <a:ln w="9525" cap="flat" cmpd="sng" algn="ctr">
                    <a:solidFill>
                      <a:srgbClr val="FFFFFF"/>
                    </a:solidFill>
                    <a:prstDash val="solid"/>
                  </a:ln>
                  <a:effectLst/>
                </p:spPr>
              </p:cxnSp>
              <p:cxnSp>
                <p:nvCxnSpPr>
                  <p:cNvPr id="381" name="Straight Connector 380">
                    <a:extLst>
                      <a:ext uri="{FF2B5EF4-FFF2-40B4-BE49-F238E27FC236}">
                        <a16:creationId xmlns:a16="http://schemas.microsoft.com/office/drawing/2014/main" id="{15727C8F-26A2-8C45-BC1C-2D45066A0A12}"/>
                      </a:ext>
                    </a:extLst>
                  </p:cNvPr>
                  <p:cNvCxnSpPr>
                    <a:cxnSpLocks/>
                  </p:cNvCxnSpPr>
                  <p:nvPr/>
                </p:nvCxnSpPr>
                <p:spPr>
                  <a:xfrm>
                    <a:off x="7215779" y="2571188"/>
                    <a:ext cx="25602" cy="50212"/>
                  </a:xfrm>
                  <a:prstGeom prst="line">
                    <a:avLst/>
                  </a:prstGeom>
                  <a:noFill/>
                  <a:ln w="9525" cap="flat" cmpd="sng" algn="ctr">
                    <a:solidFill>
                      <a:srgbClr val="FFFFFF"/>
                    </a:solidFill>
                    <a:prstDash val="solid"/>
                  </a:ln>
                  <a:effectLst/>
                </p:spPr>
              </p:cxnSp>
              <p:pic>
                <p:nvPicPr>
                  <p:cNvPr id="382" name="Picture 381" descr="A close up of electronics&#10;&#10;Description automatically generated">
                    <a:extLst>
                      <a:ext uri="{FF2B5EF4-FFF2-40B4-BE49-F238E27FC236}">
                        <a16:creationId xmlns:a16="http://schemas.microsoft.com/office/drawing/2014/main" id="{8D6427A7-9588-804C-B943-24548DE3C7B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19619711" flipH="1">
                    <a:off x="6546894" y="1508963"/>
                    <a:ext cx="1220441" cy="996109"/>
                  </a:xfrm>
                  <a:prstGeom prst="rect">
                    <a:avLst/>
                  </a:prstGeom>
                </p:spPr>
              </p:pic>
              <p:sp>
                <p:nvSpPr>
                  <p:cNvPr id="383" name="Arc 382">
                    <a:extLst>
                      <a:ext uri="{FF2B5EF4-FFF2-40B4-BE49-F238E27FC236}">
                        <a16:creationId xmlns:a16="http://schemas.microsoft.com/office/drawing/2014/main" id="{0B3ACE1C-7FE4-D048-ACF6-058916C208B6}"/>
                      </a:ext>
                    </a:extLst>
                  </p:cNvPr>
                  <p:cNvSpPr/>
                  <p:nvPr/>
                </p:nvSpPr>
                <p:spPr>
                  <a:xfrm>
                    <a:off x="6235057" y="1387183"/>
                    <a:ext cx="1390370" cy="1390370"/>
                  </a:xfrm>
                  <a:prstGeom prst="arc">
                    <a:avLst>
                      <a:gd name="adj1" fmla="val 2013146"/>
                      <a:gd name="adj2" fmla="val 15684940"/>
                    </a:avLst>
                  </a:prstGeom>
                  <a:noFill/>
                  <a:ln w="9525" cap="flat" cmpd="sng" algn="ctr">
                    <a:solidFill>
                      <a:srgbClr val="6EBE4A">
                        <a:alpha val="60000"/>
                      </a:srgbClr>
                    </a:solidFill>
                    <a:prstDash val="solid"/>
                    <a:headEnd type="none" w="med" len="med"/>
                    <a:tailEnd type="none" w="med" len="med"/>
                  </a:ln>
                  <a:effectLst/>
                </p:spPr>
                <p:txBody>
                  <a:bodyPr rtlCol="0" anchor="ctr"/>
                  <a:lstStyle/>
                  <a:p>
                    <a:pPr algn="ctr" defTabSz="914378">
                      <a:defRPr/>
                    </a:pPr>
                    <a:endParaRPr lang="en-US" sz="1600" kern="0">
                      <a:solidFill>
                        <a:srgbClr val="282828"/>
                      </a:solidFill>
                      <a:latin typeface="CiscoSansTT ExtraLight"/>
                    </a:endParaRPr>
                  </a:p>
                </p:txBody>
              </p:sp>
              <p:cxnSp>
                <p:nvCxnSpPr>
                  <p:cNvPr id="384" name="Straight Connector 383">
                    <a:extLst>
                      <a:ext uri="{FF2B5EF4-FFF2-40B4-BE49-F238E27FC236}">
                        <a16:creationId xmlns:a16="http://schemas.microsoft.com/office/drawing/2014/main" id="{44FB87D0-6311-934F-B8E3-3698E8FB6550}"/>
                      </a:ext>
                    </a:extLst>
                  </p:cNvPr>
                  <p:cNvCxnSpPr>
                    <a:cxnSpLocks/>
                  </p:cNvCxnSpPr>
                  <p:nvPr/>
                </p:nvCxnSpPr>
                <p:spPr>
                  <a:xfrm flipV="1">
                    <a:off x="6982418" y="1273837"/>
                    <a:ext cx="172576" cy="324429"/>
                  </a:xfrm>
                  <a:prstGeom prst="line">
                    <a:avLst/>
                  </a:prstGeom>
                  <a:noFill/>
                  <a:ln w="9525" cap="flat" cmpd="sng" algn="ctr">
                    <a:solidFill>
                      <a:srgbClr val="00BCEB">
                        <a:shade val="95000"/>
                        <a:satMod val="105000"/>
                      </a:srgbClr>
                    </a:solidFill>
                    <a:prstDash val="solid"/>
                  </a:ln>
                  <a:effectLst/>
                </p:spPr>
              </p:cxnSp>
              <p:cxnSp>
                <p:nvCxnSpPr>
                  <p:cNvPr id="385" name="Straight Connector 384">
                    <a:extLst>
                      <a:ext uri="{FF2B5EF4-FFF2-40B4-BE49-F238E27FC236}">
                        <a16:creationId xmlns:a16="http://schemas.microsoft.com/office/drawing/2014/main" id="{3E7C4D29-BEF8-8546-851C-6AFFBFA55493}"/>
                      </a:ext>
                    </a:extLst>
                  </p:cNvPr>
                  <p:cNvCxnSpPr>
                    <a:cxnSpLocks/>
                  </p:cNvCxnSpPr>
                  <p:nvPr/>
                </p:nvCxnSpPr>
                <p:spPr>
                  <a:xfrm>
                    <a:off x="7375423" y="2327858"/>
                    <a:ext cx="315553" cy="76874"/>
                  </a:xfrm>
                  <a:prstGeom prst="line">
                    <a:avLst/>
                  </a:prstGeom>
                  <a:noFill/>
                  <a:ln w="9525" cap="flat" cmpd="sng" algn="ctr">
                    <a:solidFill>
                      <a:srgbClr val="00BCEB">
                        <a:shade val="95000"/>
                        <a:satMod val="105000"/>
                      </a:srgbClr>
                    </a:solidFill>
                    <a:prstDash val="solid"/>
                  </a:ln>
                  <a:effectLst/>
                </p:spPr>
              </p:cxnSp>
              <p:cxnSp>
                <p:nvCxnSpPr>
                  <p:cNvPr id="386" name="Straight Connector 385">
                    <a:extLst>
                      <a:ext uri="{FF2B5EF4-FFF2-40B4-BE49-F238E27FC236}">
                        <a16:creationId xmlns:a16="http://schemas.microsoft.com/office/drawing/2014/main" id="{4D2A2C82-C2DB-854F-82AC-8E2F2806869B}"/>
                      </a:ext>
                    </a:extLst>
                  </p:cNvPr>
                  <p:cNvCxnSpPr>
                    <a:cxnSpLocks/>
                  </p:cNvCxnSpPr>
                  <p:nvPr/>
                </p:nvCxnSpPr>
                <p:spPr>
                  <a:xfrm flipV="1">
                    <a:off x="6993460" y="1294329"/>
                    <a:ext cx="110105" cy="205848"/>
                  </a:xfrm>
                  <a:prstGeom prst="line">
                    <a:avLst/>
                  </a:prstGeom>
                  <a:noFill/>
                  <a:ln w="9525" cap="flat" cmpd="sng" algn="ctr">
                    <a:solidFill>
                      <a:srgbClr val="00BCEB">
                        <a:shade val="95000"/>
                        <a:satMod val="105000"/>
                      </a:srgbClr>
                    </a:solidFill>
                    <a:prstDash val="solid"/>
                  </a:ln>
                  <a:effectLst/>
                </p:spPr>
              </p:cxnSp>
              <p:cxnSp>
                <p:nvCxnSpPr>
                  <p:cNvPr id="387" name="Straight Connector 386">
                    <a:extLst>
                      <a:ext uri="{FF2B5EF4-FFF2-40B4-BE49-F238E27FC236}">
                        <a16:creationId xmlns:a16="http://schemas.microsoft.com/office/drawing/2014/main" id="{9654B4DA-7A8C-A849-8239-5620CF170869}"/>
                      </a:ext>
                    </a:extLst>
                  </p:cNvPr>
                  <p:cNvCxnSpPr>
                    <a:cxnSpLocks/>
                  </p:cNvCxnSpPr>
                  <p:nvPr/>
                </p:nvCxnSpPr>
                <p:spPr>
                  <a:xfrm>
                    <a:off x="7415173" y="2373197"/>
                    <a:ext cx="212453" cy="53478"/>
                  </a:xfrm>
                  <a:prstGeom prst="line">
                    <a:avLst/>
                  </a:prstGeom>
                  <a:noFill/>
                  <a:ln w="9525" cap="flat" cmpd="sng" algn="ctr">
                    <a:solidFill>
                      <a:srgbClr val="00BCEB">
                        <a:shade val="95000"/>
                        <a:satMod val="105000"/>
                      </a:srgbClr>
                    </a:solidFill>
                    <a:prstDash val="solid"/>
                  </a:ln>
                  <a:effectLst/>
                </p:spPr>
              </p:cxnSp>
            </p:grpSp>
          </p:grpSp>
        </p:grpSp>
        <p:grpSp>
          <p:nvGrpSpPr>
            <p:cNvPr id="249" name="Group 248">
              <a:extLst>
                <a:ext uri="{FF2B5EF4-FFF2-40B4-BE49-F238E27FC236}">
                  <a16:creationId xmlns:a16="http://schemas.microsoft.com/office/drawing/2014/main" id="{904AC2D3-7D82-9048-BD70-621E48B0C060}"/>
                </a:ext>
              </a:extLst>
            </p:cNvPr>
            <p:cNvGrpSpPr/>
            <p:nvPr/>
          </p:nvGrpSpPr>
          <p:grpSpPr>
            <a:xfrm>
              <a:off x="6694004" y="4002367"/>
              <a:ext cx="2190689" cy="877338"/>
              <a:chOff x="6340642" y="3894074"/>
              <a:chExt cx="2190689" cy="877338"/>
            </a:xfrm>
          </p:grpSpPr>
          <p:sp>
            <p:nvSpPr>
              <p:cNvPr id="347" name="TextBox 346">
                <a:extLst>
                  <a:ext uri="{FF2B5EF4-FFF2-40B4-BE49-F238E27FC236}">
                    <a16:creationId xmlns:a16="http://schemas.microsoft.com/office/drawing/2014/main" id="{D2764282-E5A9-1D45-B7A4-CDFF464BF3E4}"/>
                  </a:ext>
                </a:extLst>
              </p:cNvPr>
              <p:cNvSpPr txBox="1"/>
              <p:nvPr/>
            </p:nvSpPr>
            <p:spPr>
              <a:xfrm>
                <a:off x="7150235" y="3940415"/>
                <a:ext cx="1381096"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Maximized operational</a:t>
                </a:r>
                <a:r>
                  <a:rPr lang="en-US" sz="1400">
                    <a:solidFill>
                      <a:srgbClr val="6BBF4E"/>
                    </a:solidFill>
                    <a:latin typeface="CiscoSansTT" panose="020B0503020201020303" pitchFamily="34" charset="0"/>
                    <a:cs typeface="CiscoSansTT" panose="020B0503020201020303" pitchFamily="34" charset="0"/>
                  </a:rPr>
                  <a:t> </a:t>
                </a:r>
                <a:r>
                  <a:rPr lang="en-US" sz="2000">
                    <a:solidFill>
                      <a:schemeClr val="bg1"/>
                    </a:solidFill>
                    <a:latin typeface="CiscoSansTT" panose="020B0503020201020303" pitchFamily="34" charset="0"/>
                    <a:cs typeface="CiscoSansTT" panose="020B0503020201020303" pitchFamily="34" charset="0"/>
                  </a:rPr>
                  <a:t>efficiency</a:t>
                </a:r>
                <a:endParaRPr lang="en-US" sz="1400">
                  <a:solidFill>
                    <a:schemeClr val="bg1"/>
                  </a:solidFill>
                  <a:latin typeface="CiscoSansTT ExtraLight" panose="020B0303020201020303" pitchFamily="34" charset="0"/>
                  <a:cs typeface="CiscoSansTT ExtraLight" panose="020B0303020201020303" pitchFamily="34" charset="0"/>
                </a:endParaRPr>
              </a:p>
            </p:txBody>
          </p:sp>
          <p:grpSp>
            <p:nvGrpSpPr>
              <p:cNvPr id="348" name="Group 347">
                <a:extLst>
                  <a:ext uri="{FF2B5EF4-FFF2-40B4-BE49-F238E27FC236}">
                    <a16:creationId xmlns:a16="http://schemas.microsoft.com/office/drawing/2014/main" id="{E6545DF8-83DA-1145-850D-8D01F12FF8E2}"/>
                  </a:ext>
                </a:extLst>
              </p:cNvPr>
              <p:cNvGrpSpPr>
                <a:grpSpLocks noChangeAspect="1"/>
              </p:cNvGrpSpPr>
              <p:nvPr/>
            </p:nvGrpSpPr>
            <p:grpSpPr>
              <a:xfrm>
                <a:off x="6340642" y="3894074"/>
                <a:ext cx="838597" cy="841235"/>
                <a:chOff x="4926345" y="1939687"/>
                <a:chExt cx="1987825" cy="1994080"/>
              </a:xfrm>
            </p:grpSpPr>
            <p:grpSp>
              <p:nvGrpSpPr>
                <p:cNvPr id="349" name="Group 63">
                  <a:extLst>
                    <a:ext uri="{FF2B5EF4-FFF2-40B4-BE49-F238E27FC236}">
                      <a16:creationId xmlns:a16="http://schemas.microsoft.com/office/drawing/2014/main" id="{0C7D0D93-F186-3B41-A18D-6BCBA74AA731}"/>
                    </a:ext>
                  </a:extLst>
                </p:cNvPr>
                <p:cNvGrpSpPr/>
                <p:nvPr/>
              </p:nvGrpSpPr>
              <p:grpSpPr>
                <a:xfrm>
                  <a:off x="5222911" y="3248176"/>
                  <a:ext cx="804863" cy="685591"/>
                  <a:chOff x="2147888" y="2814638"/>
                  <a:chExt cx="1447800" cy="1231900"/>
                </a:xfrm>
                <a:solidFill>
                  <a:srgbClr val="00BCEB"/>
                </a:solidFill>
              </p:grpSpPr>
              <p:sp>
                <p:nvSpPr>
                  <p:cNvPr id="362" name="Freeform 46">
                    <a:extLst>
                      <a:ext uri="{FF2B5EF4-FFF2-40B4-BE49-F238E27FC236}">
                        <a16:creationId xmlns:a16="http://schemas.microsoft.com/office/drawing/2014/main" id="{ABC2A950-49EE-F246-875D-73125A17F7C6}"/>
                      </a:ext>
                    </a:extLst>
                  </p:cNvPr>
                  <p:cNvSpPr>
                    <a:spLocks/>
                  </p:cNvSpPr>
                  <p:nvPr/>
                </p:nvSpPr>
                <p:spPr bwMode="auto">
                  <a:xfrm>
                    <a:off x="2147888" y="281463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3" name="Freeform 47">
                    <a:extLst>
                      <a:ext uri="{FF2B5EF4-FFF2-40B4-BE49-F238E27FC236}">
                        <a16:creationId xmlns:a16="http://schemas.microsoft.com/office/drawing/2014/main" id="{8F34C78D-5B1A-044E-83B7-17C057F82823}"/>
                      </a:ext>
                    </a:extLst>
                  </p:cNvPr>
                  <p:cNvSpPr>
                    <a:spLocks/>
                  </p:cNvSpPr>
                  <p:nvPr/>
                </p:nvSpPr>
                <p:spPr bwMode="auto">
                  <a:xfrm>
                    <a:off x="2147888" y="296545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6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6"/>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4" name="Freeform 48">
                    <a:extLst>
                      <a:ext uri="{FF2B5EF4-FFF2-40B4-BE49-F238E27FC236}">
                        <a16:creationId xmlns:a16="http://schemas.microsoft.com/office/drawing/2014/main" id="{7B031D69-22D7-6140-80E6-73BABF01E492}"/>
                      </a:ext>
                    </a:extLst>
                  </p:cNvPr>
                  <p:cNvSpPr>
                    <a:spLocks/>
                  </p:cNvSpPr>
                  <p:nvPr/>
                </p:nvSpPr>
                <p:spPr bwMode="auto">
                  <a:xfrm>
                    <a:off x="2147888" y="3116263"/>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5" name="Freeform 49">
                    <a:extLst>
                      <a:ext uri="{FF2B5EF4-FFF2-40B4-BE49-F238E27FC236}">
                        <a16:creationId xmlns:a16="http://schemas.microsoft.com/office/drawing/2014/main" id="{8E837747-A949-4C4E-8250-B1602819CD8C}"/>
                      </a:ext>
                    </a:extLst>
                  </p:cNvPr>
                  <p:cNvSpPr>
                    <a:spLocks/>
                  </p:cNvSpPr>
                  <p:nvPr/>
                </p:nvSpPr>
                <p:spPr bwMode="auto">
                  <a:xfrm>
                    <a:off x="2147888" y="3267075"/>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6" name="Freeform 50">
                    <a:extLst>
                      <a:ext uri="{FF2B5EF4-FFF2-40B4-BE49-F238E27FC236}">
                        <a16:creationId xmlns:a16="http://schemas.microsoft.com/office/drawing/2014/main" id="{465021F3-42D2-404B-B660-312804C0DCDF}"/>
                      </a:ext>
                    </a:extLst>
                  </p:cNvPr>
                  <p:cNvSpPr>
                    <a:spLocks/>
                  </p:cNvSpPr>
                  <p:nvPr/>
                </p:nvSpPr>
                <p:spPr bwMode="auto">
                  <a:xfrm>
                    <a:off x="2147888" y="3419475"/>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3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6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3"/>
                        </a:lnTo>
                        <a:lnTo>
                          <a:pt x="134" y="83"/>
                        </a:lnTo>
                        <a:lnTo>
                          <a:pt x="263" y="0"/>
                        </a:lnTo>
                        <a:lnTo>
                          <a:pt x="392" y="83"/>
                        </a:lnTo>
                        <a:lnTo>
                          <a:pt x="520" y="0"/>
                        </a:lnTo>
                        <a:lnTo>
                          <a:pt x="649" y="83"/>
                        </a:lnTo>
                        <a:lnTo>
                          <a:pt x="777" y="0"/>
                        </a:lnTo>
                        <a:lnTo>
                          <a:pt x="912" y="86"/>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7" name="Freeform 51">
                    <a:extLst>
                      <a:ext uri="{FF2B5EF4-FFF2-40B4-BE49-F238E27FC236}">
                        <a16:creationId xmlns:a16="http://schemas.microsoft.com/office/drawing/2014/main" id="{56DAA0DF-CF2A-C84C-9076-F62886BADA0C}"/>
                      </a:ext>
                    </a:extLst>
                  </p:cNvPr>
                  <p:cNvSpPr>
                    <a:spLocks/>
                  </p:cNvSpPr>
                  <p:nvPr/>
                </p:nvSpPr>
                <p:spPr bwMode="auto">
                  <a:xfrm>
                    <a:off x="2147888" y="3570288"/>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8" name="Freeform 52">
                    <a:extLst>
                      <a:ext uri="{FF2B5EF4-FFF2-40B4-BE49-F238E27FC236}">
                        <a16:creationId xmlns:a16="http://schemas.microsoft.com/office/drawing/2014/main" id="{78ACCA22-DCC8-DC44-BF5E-DDA943C7B917}"/>
                      </a:ext>
                    </a:extLst>
                  </p:cNvPr>
                  <p:cNvSpPr>
                    <a:spLocks/>
                  </p:cNvSpPr>
                  <p:nvPr/>
                </p:nvSpPr>
                <p:spPr bwMode="auto">
                  <a:xfrm>
                    <a:off x="2147888" y="3721100"/>
                    <a:ext cx="1447800" cy="173038"/>
                  </a:xfrm>
                  <a:custGeom>
                    <a:avLst/>
                    <a:gdLst>
                      <a:gd name="T0" fmla="*/ 392 w 912"/>
                      <a:gd name="T1" fmla="*/ 109 h 109"/>
                      <a:gd name="T2" fmla="*/ 263 w 912"/>
                      <a:gd name="T3" fmla="*/ 26 h 109"/>
                      <a:gd name="T4" fmla="*/ 134 w 912"/>
                      <a:gd name="T5" fmla="*/ 109 h 109"/>
                      <a:gd name="T6" fmla="*/ 0 w 912"/>
                      <a:gd name="T7" fmla="*/ 22 h 109"/>
                      <a:gd name="T8" fmla="*/ 12 w 912"/>
                      <a:gd name="T9" fmla="*/ 4 h 109"/>
                      <a:gd name="T10" fmla="*/ 134 w 912"/>
                      <a:gd name="T11" fmla="*/ 83 h 109"/>
                      <a:gd name="T12" fmla="*/ 263 w 912"/>
                      <a:gd name="T13" fmla="*/ 0 h 109"/>
                      <a:gd name="T14" fmla="*/ 392 w 912"/>
                      <a:gd name="T15" fmla="*/ 83 h 109"/>
                      <a:gd name="T16" fmla="*/ 520 w 912"/>
                      <a:gd name="T17" fmla="*/ 0 h 109"/>
                      <a:gd name="T18" fmla="*/ 649 w 912"/>
                      <a:gd name="T19" fmla="*/ 83 h 109"/>
                      <a:gd name="T20" fmla="*/ 777 w 912"/>
                      <a:gd name="T21" fmla="*/ 0 h 109"/>
                      <a:gd name="T22" fmla="*/ 912 w 912"/>
                      <a:gd name="T23" fmla="*/ 87 h 109"/>
                      <a:gd name="T24" fmla="*/ 900 w 912"/>
                      <a:gd name="T25" fmla="*/ 105 h 109"/>
                      <a:gd name="T26" fmla="*/ 777 w 912"/>
                      <a:gd name="T27" fmla="*/ 26 h 109"/>
                      <a:gd name="T28" fmla="*/ 649 w 912"/>
                      <a:gd name="T29" fmla="*/ 109 h 109"/>
                      <a:gd name="T30" fmla="*/ 520 w 912"/>
                      <a:gd name="T31" fmla="*/ 26 h 109"/>
                      <a:gd name="T32" fmla="*/ 392 w 912"/>
                      <a:gd name="T33"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09">
                        <a:moveTo>
                          <a:pt x="392" y="109"/>
                        </a:moveTo>
                        <a:lnTo>
                          <a:pt x="263" y="26"/>
                        </a:lnTo>
                        <a:lnTo>
                          <a:pt x="134" y="109"/>
                        </a:lnTo>
                        <a:lnTo>
                          <a:pt x="0" y="22"/>
                        </a:lnTo>
                        <a:lnTo>
                          <a:pt x="12" y="4"/>
                        </a:lnTo>
                        <a:lnTo>
                          <a:pt x="134" y="83"/>
                        </a:lnTo>
                        <a:lnTo>
                          <a:pt x="263" y="0"/>
                        </a:lnTo>
                        <a:lnTo>
                          <a:pt x="392" y="83"/>
                        </a:lnTo>
                        <a:lnTo>
                          <a:pt x="520" y="0"/>
                        </a:lnTo>
                        <a:lnTo>
                          <a:pt x="649" y="83"/>
                        </a:lnTo>
                        <a:lnTo>
                          <a:pt x="777" y="0"/>
                        </a:lnTo>
                        <a:lnTo>
                          <a:pt x="912" y="87"/>
                        </a:lnTo>
                        <a:lnTo>
                          <a:pt x="900" y="105"/>
                        </a:lnTo>
                        <a:lnTo>
                          <a:pt x="777" y="26"/>
                        </a:lnTo>
                        <a:lnTo>
                          <a:pt x="649" y="109"/>
                        </a:lnTo>
                        <a:lnTo>
                          <a:pt x="520" y="26"/>
                        </a:lnTo>
                        <a:lnTo>
                          <a:pt x="392" y="1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369" name="Freeform 53">
                    <a:extLst>
                      <a:ext uri="{FF2B5EF4-FFF2-40B4-BE49-F238E27FC236}">
                        <a16:creationId xmlns:a16="http://schemas.microsoft.com/office/drawing/2014/main" id="{5348203E-9439-EB4A-B293-BCF32A40272B}"/>
                      </a:ext>
                    </a:extLst>
                  </p:cNvPr>
                  <p:cNvSpPr>
                    <a:spLocks/>
                  </p:cNvSpPr>
                  <p:nvPr/>
                </p:nvSpPr>
                <p:spPr bwMode="auto">
                  <a:xfrm>
                    <a:off x="2147888" y="3871913"/>
                    <a:ext cx="1447800" cy="174625"/>
                  </a:xfrm>
                  <a:custGeom>
                    <a:avLst/>
                    <a:gdLst>
                      <a:gd name="T0" fmla="*/ 392 w 912"/>
                      <a:gd name="T1" fmla="*/ 110 h 110"/>
                      <a:gd name="T2" fmla="*/ 263 w 912"/>
                      <a:gd name="T3" fmla="*/ 27 h 110"/>
                      <a:gd name="T4" fmla="*/ 134 w 912"/>
                      <a:gd name="T5" fmla="*/ 110 h 110"/>
                      <a:gd name="T6" fmla="*/ 0 w 912"/>
                      <a:gd name="T7" fmla="*/ 23 h 110"/>
                      <a:gd name="T8" fmla="*/ 12 w 912"/>
                      <a:gd name="T9" fmla="*/ 4 h 110"/>
                      <a:gd name="T10" fmla="*/ 134 w 912"/>
                      <a:gd name="T11" fmla="*/ 83 h 110"/>
                      <a:gd name="T12" fmla="*/ 263 w 912"/>
                      <a:gd name="T13" fmla="*/ 0 h 110"/>
                      <a:gd name="T14" fmla="*/ 392 w 912"/>
                      <a:gd name="T15" fmla="*/ 83 h 110"/>
                      <a:gd name="T16" fmla="*/ 520 w 912"/>
                      <a:gd name="T17" fmla="*/ 0 h 110"/>
                      <a:gd name="T18" fmla="*/ 649 w 912"/>
                      <a:gd name="T19" fmla="*/ 83 h 110"/>
                      <a:gd name="T20" fmla="*/ 777 w 912"/>
                      <a:gd name="T21" fmla="*/ 0 h 110"/>
                      <a:gd name="T22" fmla="*/ 912 w 912"/>
                      <a:gd name="T23" fmla="*/ 87 h 110"/>
                      <a:gd name="T24" fmla="*/ 900 w 912"/>
                      <a:gd name="T25" fmla="*/ 106 h 110"/>
                      <a:gd name="T26" fmla="*/ 777 w 912"/>
                      <a:gd name="T27" fmla="*/ 27 h 110"/>
                      <a:gd name="T28" fmla="*/ 649 w 912"/>
                      <a:gd name="T29" fmla="*/ 110 h 110"/>
                      <a:gd name="T30" fmla="*/ 520 w 912"/>
                      <a:gd name="T31" fmla="*/ 27 h 110"/>
                      <a:gd name="T32" fmla="*/ 392 w 912"/>
                      <a:gd name="T3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12" h="110">
                        <a:moveTo>
                          <a:pt x="392" y="110"/>
                        </a:moveTo>
                        <a:lnTo>
                          <a:pt x="263" y="27"/>
                        </a:lnTo>
                        <a:lnTo>
                          <a:pt x="134" y="110"/>
                        </a:lnTo>
                        <a:lnTo>
                          <a:pt x="0" y="23"/>
                        </a:lnTo>
                        <a:lnTo>
                          <a:pt x="12" y="4"/>
                        </a:lnTo>
                        <a:lnTo>
                          <a:pt x="134" y="83"/>
                        </a:lnTo>
                        <a:lnTo>
                          <a:pt x="263" y="0"/>
                        </a:lnTo>
                        <a:lnTo>
                          <a:pt x="392" y="83"/>
                        </a:lnTo>
                        <a:lnTo>
                          <a:pt x="520" y="0"/>
                        </a:lnTo>
                        <a:lnTo>
                          <a:pt x="649" y="83"/>
                        </a:lnTo>
                        <a:lnTo>
                          <a:pt x="777" y="0"/>
                        </a:lnTo>
                        <a:lnTo>
                          <a:pt x="912" y="87"/>
                        </a:lnTo>
                        <a:lnTo>
                          <a:pt x="900" y="106"/>
                        </a:lnTo>
                        <a:lnTo>
                          <a:pt x="777" y="27"/>
                        </a:lnTo>
                        <a:lnTo>
                          <a:pt x="649" y="110"/>
                        </a:lnTo>
                        <a:lnTo>
                          <a:pt x="520" y="27"/>
                        </a:lnTo>
                        <a:lnTo>
                          <a:pt x="39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grpSp>
            <p:grpSp>
              <p:nvGrpSpPr>
                <p:cNvPr id="350" name="Group 592">
                  <a:extLst>
                    <a:ext uri="{FF2B5EF4-FFF2-40B4-BE49-F238E27FC236}">
                      <a16:creationId xmlns:a16="http://schemas.microsoft.com/office/drawing/2014/main" id="{E54A03C6-9A75-B742-8F06-F93833FB1BC0}"/>
                    </a:ext>
                  </a:extLst>
                </p:cNvPr>
                <p:cNvGrpSpPr/>
                <p:nvPr/>
              </p:nvGrpSpPr>
              <p:grpSpPr>
                <a:xfrm>
                  <a:off x="4926345" y="2110472"/>
                  <a:ext cx="1880819" cy="1693100"/>
                  <a:chOff x="-3083985" y="2387260"/>
                  <a:chExt cx="2611628" cy="2350967"/>
                </a:xfrm>
              </p:grpSpPr>
              <p:pic>
                <p:nvPicPr>
                  <p:cNvPr id="358" name="Picture 178" descr="A picture containing object&#10;&#10;Description automatically generated">
                    <a:extLst>
                      <a:ext uri="{FF2B5EF4-FFF2-40B4-BE49-F238E27FC236}">
                        <a16:creationId xmlns:a16="http://schemas.microsoft.com/office/drawing/2014/main" id="{B44E3B6B-65F3-F740-9484-6695AC44435F}"/>
                      </a:ext>
                    </a:extLst>
                  </p:cNvPr>
                  <p:cNvPicPr>
                    <a:picLocks noChangeAspect="1"/>
                  </p:cNvPicPr>
                  <p:nvPr/>
                </p:nvPicPr>
                <p:blipFill>
                  <a:blip r:embed="rId5"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6355791" flipH="1">
                    <a:off x="-3014057" y="2866403"/>
                    <a:ext cx="664007" cy="803863"/>
                  </a:xfrm>
                  <a:prstGeom prst="rect">
                    <a:avLst/>
                  </a:prstGeom>
                </p:spPr>
              </p:pic>
              <p:pic>
                <p:nvPicPr>
                  <p:cNvPr id="359" name="Picture 179" descr="A close up of a computer&#10;&#10;Description automatically generated">
                    <a:extLst>
                      <a:ext uri="{FF2B5EF4-FFF2-40B4-BE49-F238E27FC236}">
                        <a16:creationId xmlns:a16="http://schemas.microsoft.com/office/drawing/2014/main" id="{34AA155B-B04E-B148-8560-B0039443C12E}"/>
                      </a:ext>
                    </a:extLst>
                  </p:cNvPr>
                  <p:cNvPicPr>
                    <a:picLocks noChangeAspect="1"/>
                  </p:cNvPicPr>
                  <p:nvPr/>
                </p:nvPicPr>
                <p:blipFill>
                  <a:blip r:embed="rId6"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8498307" flipH="1">
                    <a:off x="-2779279" y="2900466"/>
                    <a:ext cx="1143367" cy="459051"/>
                  </a:xfrm>
                  <a:prstGeom prst="rect">
                    <a:avLst/>
                  </a:prstGeom>
                </p:spPr>
              </p:pic>
              <p:pic>
                <p:nvPicPr>
                  <p:cNvPr id="360" name="Picture 180" descr="A picture containing black, clock, white, knife&#10;&#10;Description automatically generated">
                    <a:extLst>
                      <a:ext uri="{FF2B5EF4-FFF2-40B4-BE49-F238E27FC236}">
                        <a16:creationId xmlns:a16="http://schemas.microsoft.com/office/drawing/2014/main" id="{3163CEA5-65D5-4240-9D34-D7CDB9693799}"/>
                      </a:ext>
                    </a:extLst>
                  </p:cNvPr>
                  <p:cNvPicPr>
                    <a:picLocks noChangeAspect="1"/>
                  </p:cNvPicPr>
                  <p:nvPr/>
                </p:nvPicPr>
                <p:blipFill>
                  <a:blip r:embed="rId7"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rot="17951816" flipH="1">
                    <a:off x="-2229857" y="2161656"/>
                    <a:ext cx="1425602" cy="1876809"/>
                  </a:xfrm>
                  <a:prstGeom prst="rect">
                    <a:avLst/>
                  </a:prstGeom>
                </p:spPr>
              </p:pic>
              <p:pic>
                <p:nvPicPr>
                  <p:cNvPr id="361" name="Picture 181" descr="A picture containing indoor, sitting, black, white&#10;&#10;Description automatically generated">
                    <a:extLst>
                      <a:ext uri="{FF2B5EF4-FFF2-40B4-BE49-F238E27FC236}">
                        <a16:creationId xmlns:a16="http://schemas.microsoft.com/office/drawing/2014/main" id="{8A672FF8-867C-7B47-A7CB-85183E892A30}"/>
                      </a:ext>
                    </a:extLst>
                  </p:cNvPr>
                  <p:cNvPicPr>
                    <a:picLocks noChangeAspect="1"/>
                  </p:cNvPicPr>
                  <p:nvPr/>
                </p:nvPicPr>
                <p:blipFill>
                  <a:blip r:embed="rId8" cstate="screen">
                    <a:duotone>
                      <a:srgbClr val="6EBE4A">
                        <a:shade val="45000"/>
                        <a:satMod val="135000"/>
                      </a:srgbClr>
                      <a:prstClr val="white"/>
                    </a:duotone>
                    <a:extLst>
                      <a:ext uri="{28A0092B-C50C-407E-A947-70E740481C1C}">
                        <a14:useLocalDpi xmlns:a14="http://schemas.microsoft.com/office/drawing/2010/main"/>
                      </a:ext>
                    </a:extLst>
                  </a:blip>
                  <a:stretch>
                    <a:fillRect/>
                  </a:stretch>
                </p:blipFill>
                <p:spPr>
                  <a:xfrm flipH="1">
                    <a:off x="-1495766" y="3640426"/>
                    <a:ext cx="1023409" cy="1097801"/>
                  </a:xfrm>
                  <a:prstGeom prst="rect">
                    <a:avLst/>
                  </a:prstGeom>
                </p:spPr>
              </p:pic>
            </p:grpSp>
            <p:grpSp>
              <p:nvGrpSpPr>
                <p:cNvPr id="351" name="Group 591">
                  <a:extLst>
                    <a:ext uri="{FF2B5EF4-FFF2-40B4-BE49-F238E27FC236}">
                      <a16:creationId xmlns:a16="http://schemas.microsoft.com/office/drawing/2014/main" id="{69EDAF81-913F-B44F-B007-EF3FE4AC7457}"/>
                    </a:ext>
                  </a:extLst>
                </p:cNvPr>
                <p:cNvGrpSpPr/>
                <p:nvPr/>
              </p:nvGrpSpPr>
              <p:grpSpPr>
                <a:xfrm>
                  <a:off x="5096571" y="1939687"/>
                  <a:ext cx="1817599" cy="1926301"/>
                  <a:chOff x="-70844" y="2579788"/>
                  <a:chExt cx="2523843" cy="2674780"/>
                </a:xfrm>
              </p:grpSpPr>
              <p:pic>
                <p:nvPicPr>
                  <p:cNvPr id="354" name="Picture 588" descr="A picture containing object&#10;&#10;Description automatically generated">
                    <a:extLst>
                      <a:ext uri="{FF2B5EF4-FFF2-40B4-BE49-F238E27FC236}">
                        <a16:creationId xmlns:a16="http://schemas.microsoft.com/office/drawing/2014/main" id="{026FBD12-0A67-3846-B653-A173EB2E87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5084758" flipH="1">
                    <a:off x="-916" y="2753853"/>
                    <a:ext cx="664007" cy="803863"/>
                  </a:xfrm>
                  <a:prstGeom prst="rect">
                    <a:avLst/>
                  </a:prstGeom>
                </p:spPr>
              </p:pic>
              <p:pic>
                <p:nvPicPr>
                  <p:cNvPr id="355" name="Picture 582" descr="A close up of a computer&#10;&#10;Description automatically generated">
                    <a:extLst>
                      <a:ext uri="{FF2B5EF4-FFF2-40B4-BE49-F238E27FC236}">
                        <a16:creationId xmlns:a16="http://schemas.microsoft.com/office/drawing/2014/main" id="{E44BB27B-FD19-E348-9128-6748B0F7F0B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20615390" flipH="1">
                    <a:off x="444582" y="2920634"/>
                    <a:ext cx="1143367" cy="459051"/>
                  </a:xfrm>
                  <a:prstGeom prst="rect">
                    <a:avLst/>
                  </a:prstGeom>
                </p:spPr>
              </p:pic>
              <p:pic>
                <p:nvPicPr>
                  <p:cNvPr id="356" name="Picture 590" descr="A picture containing black, clock, white, knife&#10;&#10;Description automatically generated">
                    <a:extLst>
                      <a:ext uri="{FF2B5EF4-FFF2-40B4-BE49-F238E27FC236}">
                        <a16:creationId xmlns:a16="http://schemas.microsoft.com/office/drawing/2014/main" id="{DA73A7AB-D9E3-C841-9217-63B5F245DE4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9301551" flipH="1">
                    <a:off x="1006233" y="2579788"/>
                    <a:ext cx="1425602" cy="1876809"/>
                  </a:xfrm>
                  <a:prstGeom prst="rect">
                    <a:avLst/>
                  </a:prstGeom>
                </p:spPr>
              </p:pic>
              <p:pic>
                <p:nvPicPr>
                  <p:cNvPr id="357" name="Picture 586" descr="A picture containing indoor, sitting, black, white&#10;&#10;Description automatically generated">
                    <a:extLst>
                      <a:ext uri="{FF2B5EF4-FFF2-40B4-BE49-F238E27FC236}">
                        <a16:creationId xmlns:a16="http://schemas.microsoft.com/office/drawing/2014/main" id="{5EB49E65-DEB9-D74D-8133-F5D1CC0FDF3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1429590" y="4156767"/>
                    <a:ext cx="1023409" cy="1097801"/>
                  </a:xfrm>
                  <a:prstGeom prst="rect">
                    <a:avLst/>
                  </a:prstGeom>
                </p:spPr>
              </p:pic>
            </p:grpSp>
            <p:sp>
              <p:nvSpPr>
                <p:cNvPr id="352" name="Isosceles Triangle 49">
                  <a:extLst>
                    <a:ext uri="{FF2B5EF4-FFF2-40B4-BE49-F238E27FC236}">
                      <a16:creationId xmlns:a16="http://schemas.microsoft.com/office/drawing/2014/main" id="{D6E6F4BE-7B2B-2A4E-A91F-4B0B4E66D47B}"/>
                    </a:ext>
                  </a:extLst>
                </p:cNvPr>
                <p:cNvSpPr/>
                <p:nvPr/>
              </p:nvSpPr>
              <p:spPr>
                <a:xfrm>
                  <a:off x="6343029" y="2308159"/>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6EBE4A">
                    <a:alpha val="50000"/>
                  </a:srgbClr>
                </a:solidFill>
                <a:ln w="25400" cap="flat" cmpd="sng" algn="ctr">
                  <a:noFill/>
                  <a:prstDash val="solid"/>
                </a:ln>
                <a:effectLst/>
              </p:spPr>
              <p:txBody>
                <a:bodyPr rtlCol="0" anchor="t"/>
                <a:lstStyle/>
                <a:p>
                  <a:pPr defTabSz="457189" fontAlgn="base">
                    <a:spcBef>
                      <a:spcPct val="0"/>
                    </a:spcBef>
                    <a:spcAft>
                      <a:spcPct val="0"/>
                    </a:spcAft>
                    <a:defRPr/>
                  </a:pPr>
                  <a:endParaRPr lang="en-US" sz="1200" kern="0">
                    <a:solidFill>
                      <a:srgbClr val="0D274D"/>
                    </a:solidFill>
                    <a:latin typeface="CiscoSansTT ExtraLight"/>
                  </a:endParaRPr>
                </a:p>
              </p:txBody>
            </p:sp>
            <p:sp>
              <p:nvSpPr>
                <p:cNvPr id="353" name="Isosceles Triangle 49">
                  <a:extLst>
                    <a:ext uri="{FF2B5EF4-FFF2-40B4-BE49-F238E27FC236}">
                      <a16:creationId xmlns:a16="http://schemas.microsoft.com/office/drawing/2014/main" id="{4404664B-DEC6-8F46-8513-E97BBA94B815}"/>
                    </a:ext>
                  </a:extLst>
                </p:cNvPr>
                <p:cNvSpPr/>
                <p:nvPr/>
              </p:nvSpPr>
              <p:spPr>
                <a:xfrm>
                  <a:off x="5861585" y="3323757"/>
                  <a:ext cx="548978" cy="478809"/>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00BCEB">
                    <a:alpha val="50000"/>
                  </a:srgbClr>
                </a:solidFill>
                <a:ln w="25400" cap="flat" cmpd="sng" algn="ctr">
                  <a:noFill/>
                  <a:prstDash val="solid"/>
                </a:ln>
                <a:effectLst/>
              </p:spPr>
              <p:txBody>
                <a:bodyPr rtlCol="0" anchor="t"/>
                <a:lstStyle/>
                <a:p>
                  <a:pPr defTabSz="457189" fontAlgn="base">
                    <a:spcBef>
                      <a:spcPct val="0"/>
                    </a:spcBef>
                    <a:spcAft>
                      <a:spcPct val="0"/>
                    </a:spcAft>
                    <a:defRPr/>
                  </a:pPr>
                  <a:endParaRPr lang="en-US" sz="1200" kern="0">
                    <a:solidFill>
                      <a:srgbClr val="0D274D"/>
                    </a:solidFill>
                    <a:latin typeface="CiscoSansTT ExtraLight"/>
                  </a:endParaRPr>
                </a:p>
              </p:txBody>
            </p:sp>
          </p:grpSp>
        </p:grpSp>
        <p:grpSp>
          <p:nvGrpSpPr>
            <p:cNvPr id="250" name="Group 249">
              <a:extLst>
                <a:ext uri="{FF2B5EF4-FFF2-40B4-BE49-F238E27FC236}">
                  <a16:creationId xmlns:a16="http://schemas.microsoft.com/office/drawing/2014/main" id="{E3906C5D-EDDB-CB46-9115-5E271A88DC83}"/>
                </a:ext>
              </a:extLst>
            </p:cNvPr>
            <p:cNvGrpSpPr/>
            <p:nvPr/>
          </p:nvGrpSpPr>
          <p:grpSpPr>
            <a:xfrm>
              <a:off x="615259" y="3926377"/>
              <a:ext cx="2104035" cy="949430"/>
              <a:chOff x="852672" y="3816661"/>
              <a:chExt cx="2104035" cy="949430"/>
            </a:xfrm>
          </p:grpSpPr>
          <p:sp>
            <p:nvSpPr>
              <p:cNvPr id="253" name="TextBox 252">
                <a:extLst>
                  <a:ext uri="{FF2B5EF4-FFF2-40B4-BE49-F238E27FC236}">
                    <a16:creationId xmlns:a16="http://schemas.microsoft.com/office/drawing/2014/main" id="{DA4A73E8-C6AC-5E41-A790-5467BFA61A52}"/>
                  </a:ext>
                </a:extLst>
              </p:cNvPr>
              <p:cNvSpPr txBox="1"/>
              <p:nvPr/>
            </p:nvSpPr>
            <p:spPr>
              <a:xfrm>
                <a:off x="1666214" y="3935094"/>
                <a:ext cx="1290493" cy="830997"/>
              </a:xfrm>
              <a:prstGeom prst="rect">
                <a:avLst/>
              </a:prstGeom>
              <a:noFill/>
            </p:spPr>
            <p:txBody>
              <a:bodyPr wrap="square" rtlCol="0">
                <a:spAutoFit/>
              </a:bodyPr>
              <a:lstStyle/>
              <a:p>
                <a:pPr algn="ctr" defTabSz="685783">
                  <a:defRPr/>
                </a:pPr>
                <a:r>
                  <a:rPr lang="en-US" sz="1400">
                    <a:solidFill>
                      <a:srgbClr val="0D274D"/>
                    </a:solidFill>
                    <a:latin typeface="CiscoSansTT ExtraLight" panose="020B0303020201020303" pitchFamily="34" charset="0"/>
                    <a:cs typeface="CiscoSansTT ExtraLight" panose="020B0303020201020303" pitchFamily="34" charset="0"/>
                  </a:rPr>
                  <a:t>Integrated and open for</a:t>
                </a:r>
                <a:r>
                  <a:rPr lang="en-US" sz="1400">
                    <a:solidFill>
                      <a:srgbClr val="0D274D"/>
                    </a:solidFill>
                    <a:latin typeface="CiscoSansTT" panose="020B0503020201020303" pitchFamily="34" charset="0"/>
                    <a:cs typeface="CiscoSansTT" panose="020B0503020201020303" pitchFamily="34" charset="0"/>
                  </a:rPr>
                  <a:t> </a:t>
                </a:r>
                <a:r>
                  <a:rPr lang="en-US" sz="2000">
                    <a:solidFill>
                      <a:schemeClr val="bg1"/>
                    </a:solidFill>
                    <a:latin typeface="CiscoSansTT" panose="020B0503020201020303" pitchFamily="34" charset="0"/>
                    <a:cs typeface="CiscoSansTT" panose="020B0503020201020303" pitchFamily="34" charset="0"/>
                  </a:rPr>
                  <a:t>simplicity</a:t>
                </a:r>
              </a:p>
            </p:txBody>
          </p:sp>
          <p:grpSp>
            <p:nvGrpSpPr>
              <p:cNvPr id="254" name="Group 253">
                <a:extLst>
                  <a:ext uri="{FF2B5EF4-FFF2-40B4-BE49-F238E27FC236}">
                    <a16:creationId xmlns:a16="http://schemas.microsoft.com/office/drawing/2014/main" id="{5F2F6116-48F3-064D-B857-BC819C3D9193}"/>
                  </a:ext>
                </a:extLst>
              </p:cNvPr>
              <p:cNvGrpSpPr>
                <a:grpSpLocks noChangeAspect="1"/>
              </p:cNvGrpSpPr>
              <p:nvPr/>
            </p:nvGrpSpPr>
            <p:grpSpPr>
              <a:xfrm>
                <a:off x="852672" y="3816661"/>
                <a:ext cx="831584" cy="904034"/>
                <a:chOff x="5022011" y="399610"/>
                <a:chExt cx="3996120" cy="4344279"/>
              </a:xfrm>
            </p:grpSpPr>
            <p:sp>
              <p:nvSpPr>
                <p:cNvPr id="255" name="Oval 83">
                  <a:extLst>
                    <a:ext uri="{FF2B5EF4-FFF2-40B4-BE49-F238E27FC236}">
                      <a16:creationId xmlns:a16="http://schemas.microsoft.com/office/drawing/2014/main" id="{050B6130-BC52-4D43-B0CF-401303817F85}"/>
                    </a:ext>
                  </a:extLst>
                </p:cNvPr>
                <p:cNvSpPr>
                  <a:spLocks/>
                </p:cNvSpPr>
                <p:nvPr/>
              </p:nvSpPr>
              <p:spPr>
                <a:xfrm>
                  <a:off x="7439634" y="661835"/>
                  <a:ext cx="859470" cy="862494"/>
                </a:xfrm>
                <a:prstGeom prst="ellipse">
                  <a:avLst/>
                </a:prstGeom>
                <a:solidFill>
                  <a:srgbClr val="FFFFFF"/>
                </a:solidFill>
                <a:ln w="25400" cap="flat" cmpd="sng" algn="ctr">
                  <a:no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56" name="Picture 596" descr="A picture containing sitting, black, dark, table&#10;&#10;Description automatically generated">
                  <a:extLst>
                    <a:ext uri="{FF2B5EF4-FFF2-40B4-BE49-F238E27FC236}">
                      <a16:creationId xmlns:a16="http://schemas.microsoft.com/office/drawing/2014/main" id="{7F4C0677-A872-244A-8AB1-F327FF04C36B}"/>
                    </a:ext>
                  </a:extLst>
                </p:cNvPr>
                <p:cNvPicPr>
                  <a:picLocks noChangeAspect="1"/>
                </p:cNvPicPr>
                <p:nvPr/>
              </p:nvPicPr>
              <p:blipFill rotWithShape="1">
                <a:blip r:embed="rId9" cstate="screen">
                  <a:duotone>
                    <a:srgbClr val="00BCEB">
                      <a:shade val="45000"/>
                      <a:satMod val="135000"/>
                    </a:srgbClr>
                    <a:prstClr val="white"/>
                  </a:duotone>
                  <a:alphaModFix amt="6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sp>
              <p:nvSpPr>
                <p:cNvPr id="257" name="Freeform: Shape 99">
                  <a:extLst>
                    <a:ext uri="{FF2B5EF4-FFF2-40B4-BE49-F238E27FC236}">
                      <a16:creationId xmlns:a16="http://schemas.microsoft.com/office/drawing/2014/main" id="{15160A38-4FB6-1445-8306-91AE7D736891}"/>
                    </a:ext>
                  </a:extLst>
                </p:cNvPr>
                <p:cNvSpPr/>
                <p:nvPr/>
              </p:nvSpPr>
              <p:spPr>
                <a:xfrm rot="7495001">
                  <a:off x="6016695" y="1476789"/>
                  <a:ext cx="1783777" cy="2275494"/>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441573"/>
                    <a:gd name="connsiteY0" fmla="*/ 0 h 3126182"/>
                    <a:gd name="connsiteX1" fmla="*/ 2060307 w 2441573"/>
                    <a:gd name="connsiteY1" fmla="*/ 2963149 h 3126182"/>
                    <a:gd name="connsiteX2" fmla="*/ 2263245 w 2441573"/>
                    <a:gd name="connsiteY2" fmla="*/ 3126032 h 3126182"/>
                    <a:gd name="connsiteX3" fmla="*/ 2441573 w 2441573"/>
                    <a:gd name="connsiteY3" fmla="*/ 2913329 h 3126182"/>
                    <a:gd name="connsiteX0" fmla="*/ 0 w 2447432"/>
                    <a:gd name="connsiteY0" fmla="*/ 0 h 3122093"/>
                    <a:gd name="connsiteX1" fmla="*/ 2066166 w 2447432"/>
                    <a:gd name="connsiteY1" fmla="*/ 2959060 h 3122093"/>
                    <a:gd name="connsiteX2" fmla="*/ 2269104 w 2447432"/>
                    <a:gd name="connsiteY2" fmla="*/ 3121943 h 3122093"/>
                    <a:gd name="connsiteX3" fmla="*/ 2447432 w 2447432"/>
                    <a:gd name="connsiteY3" fmla="*/ 2909240 h 3122093"/>
                  </a:gdLst>
                  <a:ahLst/>
                  <a:cxnLst>
                    <a:cxn ang="0">
                      <a:pos x="connsiteX0" y="connsiteY0"/>
                    </a:cxn>
                    <a:cxn ang="0">
                      <a:pos x="connsiteX1" y="connsiteY1"/>
                    </a:cxn>
                    <a:cxn ang="0">
                      <a:pos x="connsiteX2" y="connsiteY2"/>
                    </a:cxn>
                    <a:cxn ang="0">
                      <a:pos x="connsiteX3" y="connsiteY3"/>
                    </a:cxn>
                  </a:cxnLst>
                  <a:rect l="l" t="t" r="r" b="b"/>
                  <a:pathLst>
                    <a:path w="2447432" h="3122093">
                      <a:moveTo>
                        <a:pt x="0" y="0"/>
                      </a:moveTo>
                      <a:lnTo>
                        <a:pt x="2066166" y="2959060"/>
                      </a:lnTo>
                      <a:cubicBezTo>
                        <a:pt x="2127872" y="3047287"/>
                        <a:pt x="2174634" y="3107220"/>
                        <a:pt x="2269104" y="3121943"/>
                      </a:cubicBezTo>
                      <a:cubicBezTo>
                        <a:pt x="2360491" y="3125889"/>
                        <a:pt x="2399123" y="3052339"/>
                        <a:pt x="2447432" y="2909240"/>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58" name="Isosceles Triangle 49">
                  <a:extLst>
                    <a:ext uri="{FF2B5EF4-FFF2-40B4-BE49-F238E27FC236}">
                      <a16:creationId xmlns:a16="http://schemas.microsoft.com/office/drawing/2014/main" id="{7DF1B2BB-1B3F-7544-B75C-FCE57C43535A}"/>
                    </a:ext>
                  </a:extLst>
                </p:cNvPr>
                <p:cNvSpPr/>
                <p:nvPr/>
              </p:nvSpPr>
              <p:spPr>
                <a:xfrm rot="10800000">
                  <a:off x="5702955" y="2634004"/>
                  <a:ext cx="2677932" cy="1951740"/>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 name="connsiteX0" fmla="*/ 73321 w 1217961"/>
                    <a:gd name="connsiteY0" fmla="*/ 1065392 h 1066803"/>
                    <a:gd name="connsiteX1" fmla="*/ 14054 w 1217961"/>
                    <a:gd name="connsiteY1" fmla="*/ 965203 h 1066803"/>
                    <a:gd name="connsiteX2" fmla="*/ 548865 w 1217961"/>
                    <a:gd name="connsiteY2" fmla="*/ 45159 h 1066803"/>
                    <a:gd name="connsiteX3" fmla="*/ 665987 w 1217961"/>
                    <a:gd name="connsiteY3" fmla="*/ 39515 h 1066803"/>
                    <a:gd name="connsiteX4" fmla="*/ 1202210 w 1217961"/>
                    <a:gd name="connsiteY4" fmla="*/ 962381 h 1066803"/>
                    <a:gd name="connsiteX5" fmla="*/ 1148587 w 1217961"/>
                    <a:gd name="connsiteY5" fmla="*/ 1066803 h 1066803"/>
                    <a:gd name="connsiteX6" fmla="*/ 73321 w 1217961"/>
                    <a:gd name="connsiteY6" fmla="*/ 1065392 h 1066803"/>
                    <a:gd name="connsiteX0" fmla="*/ 73321 w 1217961"/>
                    <a:gd name="connsiteY0" fmla="*/ 1074785 h 1076196"/>
                    <a:gd name="connsiteX1" fmla="*/ 14054 w 1217961"/>
                    <a:gd name="connsiteY1" fmla="*/ 974596 h 1076196"/>
                    <a:gd name="connsiteX2" fmla="*/ 548865 w 1217961"/>
                    <a:gd name="connsiteY2" fmla="*/ 54552 h 1076196"/>
                    <a:gd name="connsiteX3" fmla="*/ 665987 w 1217961"/>
                    <a:gd name="connsiteY3" fmla="*/ 48908 h 1076196"/>
                    <a:gd name="connsiteX4" fmla="*/ 1202210 w 1217961"/>
                    <a:gd name="connsiteY4" fmla="*/ 971774 h 1076196"/>
                    <a:gd name="connsiteX5" fmla="*/ 1148587 w 1217961"/>
                    <a:gd name="connsiteY5" fmla="*/ 1076196 h 1076196"/>
                    <a:gd name="connsiteX6" fmla="*/ 73321 w 1217961"/>
                    <a:gd name="connsiteY6" fmla="*/ 1074785 h 1076196"/>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3997 h 1085408"/>
                    <a:gd name="connsiteX1" fmla="*/ 14054 w 1217961"/>
                    <a:gd name="connsiteY1" fmla="*/ 983808 h 1085408"/>
                    <a:gd name="connsiteX2" fmla="*/ 548865 w 1217961"/>
                    <a:gd name="connsiteY2" fmla="*/ 63764 h 1085408"/>
                    <a:gd name="connsiteX3" fmla="*/ 665987 w 1217961"/>
                    <a:gd name="connsiteY3" fmla="*/ 58120 h 1085408"/>
                    <a:gd name="connsiteX4" fmla="*/ 1202210 w 1217961"/>
                    <a:gd name="connsiteY4" fmla="*/ 980986 h 1085408"/>
                    <a:gd name="connsiteX5" fmla="*/ 1148587 w 1217961"/>
                    <a:gd name="connsiteY5" fmla="*/ 1085408 h 1085408"/>
                    <a:gd name="connsiteX6" fmla="*/ 73321 w 1217961"/>
                    <a:gd name="connsiteY6" fmla="*/ 1083997 h 1085408"/>
                    <a:gd name="connsiteX0" fmla="*/ 73321 w 1217961"/>
                    <a:gd name="connsiteY0" fmla="*/ 1081476 h 1082887"/>
                    <a:gd name="connsiteX1" fmla="*/ 14054 w 1217961"/>
                    <a:gd name="connsiteY1" fmla="*/ 981287 h 1082887"/>
                    <a:gd name="connsiteX2" fmla="*/ 548865 w 1217961"/>
                    <a:gd name="connsiteY2" fmla="*/ 61243 h 1082887"/>
                    <a:gd name="connsiteX3" fmla="*/ 668113 w 1217961"/>
                    <a:gd name="connsiteY3" fmla="*/ 60687 h 1082887"/>
                    <a:gd name="connsiteX4" fmla="*/ 1202210 w 1217961"/>
                    <a:gd name="connsiteY4" fmla="*/ 978465 h 1082887"/>
                    <a:gd name="connsiteX5" fmla="*/ 1148587 w 1217961"/>
                    <a:gd name="connsiteY5" fmla="*/ 1082887 h 1082887"/>
                    <a:gd name="connsiteX6" fmla="*/ 73321 w 1217961"/>
                    <a:gd name="connsiteY6" fmla="*/ 1081476 h 1082887"/>
                    <a:gd name="connsiteX0" fmla="*/ 73321 w 1217961"/>
                    <a:gd name="connsiteY0" fmla="*/ 1083832 h 1085243"/>
                    <a:gd name="connsiteX1" fmla="*/ 14054 w 1217961"/>
                    <a:gd name="connsiteY1" fmla="*/ 983643 h 1085243"/>
                    <a:gd name="connsiteX2" fmla="*/ 548865 w 1217961"/>
                    <a:gd name="connsiteY2" fmla="*/ 63599 h 1085243"/>
                    <a:gd name="connsiteX3" fmla="*/ 668113 w 1217961"/>
                    <a:gd name="connsiteY3" fmla="*/ 63043 h 1085243"/>
                    <a:gd name="connsiteX4" fmla="*/ 1202210 w 1217961"/>
                    <a:gd name="connsiteY4" fmla="*/ 980821 h 1085243"/>
                    <a:gd name="connsiteX5" fmla="*/ 1148587 w 1217961"/>
                    <a:gd name="connsiteY5" fmla="*/ 1085243 h 1085243"/>
                    <a:gd name="connsiteX6" fmla="*/ 73321 w 1217961"/>
                    <a:gd name="connsiteY6" fmla="*/ 1083832 h 1085243"/>
                    <a:gd name="connsiteX0" fmla="*/ 73321 w 1225037"/>
                    <a:gd name="connsiteY0" fmla="*/ 1083832 h 1085243"/>
                    <a:gd name="connsiteX1" fmla="*/ 14054 w 1225037"/>
                    <a:gd name="connsiteY1" fmla="*/ 983643 h 1085243"/>
                    <a:gd name="connsiteX2" fmla="*/ 548865 w 1225037"/>
                    <a:gd name="connsiteY2" fmla="*/ 63599 h 1085243"/>
                    <a:gd name="connsiteX3" fmla="*/ 668113 w 1225037"/>
                    <a:gd name="connsiteY3" fmla="*/ 63043 h 1085243"/>
                    <a:gd name="connsiteX4" fmla="*/ 1202210 w 1225037"/>
                    <a:gd name="connsiteY4" fmla="*/ 980821 h 1085243"/>
                    <a:gd name="connsiteX5" fmla="*/ 1148587 w 1225037"/>
                    <a:gd name="connsiteY5" fmla="*/ 1085243 h 1085243"/>
                    <a:gd name="connsiteX6" fmla="*/ 73321 w 1225037"/>
                    <a:gd name="connsiteY6" fmla="*/ 1083832 h 1085243"/>
                    <a:gd name="connsiteX0" fmla="*/ 73321 w 1228692"/>
                    <a:gd name="connsiteY0" fmla="*/ 1083832 h 1085243"/>
                    <a:gd name="connsiteX1" fmla="*/ 14054 w 1228692"/>
                    <a:gd name="connsiteY1" fmla="*/ 983643 h 1085243"/>
                    <a:gd name="connsiteX2" fmla="*/ 548865 w 1228692"/>
                    <a:gd name="connsiteY2" fmla="*/ 63599 h 1085243"/>
                    <a:gd name="connsiteX3" fmla="*/ 668113 w 1228692"/>
                    <a:gd name="connsiteY3" fmla="*/ 63043 h 1085243"/>
                    <a:gd name="connsiteX4" fmla="*/ 1202210 w 1228692"/>
                    <a:gd name="connsiteY4" fmla="*/ 980821 h 1085243"/>
                    <a:gd name="connsiteX5" fmla="*/ 1148587 w 1228692"/>
                    <a:gd name="connsiteY5" fmla="*/ 1085243 h 1085243"/>
                    <a:gd name="connsiteX6" fmla="*/ 73321 w 1228692"/>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84013 w 1239384"/>
                    <a:gd name="connsiteY0" fmla="*/ 1083832 h 1085243"/>
                    <a:gd name="connsiteX1" fmla="*/ 24746 w 1239384"/>
                    <a:gd name="connsiteY1" fmla="*/ 983643 h 1085243"/>
                    <a:gd name="connsiteX2" fmla="*/ 559557 w 1239384"/>
                    <a:gd name="connsiteY2" fmla="*/ 63599 h 1085243"/>
                    <a:gd name="connsiteX3" fmla="*/ 678805 w 1239384"/>
                    <a:gd name="connsiteY3" fmla="*/ 63043 h 1085243"/>
                    <a:gd name="connsiteX4" fmla="*/ 1212902 w 1239384"/>
                    <a:gd name="connsiteY4" fmla="*/ 980821 h 1085243"/>
                    <a:gd name="connsiteX5" fmla="*/ 1159279 w 1239384"/>
                    <a:gd name="connsiteY5" fmla="*/ 1085243 h 1085243"/>
                    <a:gd name="connsiteX6" fmla="*/ 84013 w 1239384"/>
                    <a:gd name="connsiteY6" fmla="*/ 1083832 h 1085243"/>
                    <a:gd name="connsiteX0" fmla="*/ 77972 w 1233343"/>
                    <a:gd name="connsiteY0" fmla="*/ 1083832 h 1085243"/>
                    <a:gd name="connsiteX1" fmla="*/ 18705 w 1233343"/>
                    <a:gd name="connsiteY1" fmla="*/ 983643 h 1085243"/>
                    <a:gd name="connsiteX2" fmla="*/ 553516 w 1233343"/>
                    <a:gd name="connsiteY2" fmla="*/ 63599 h 1085243"/>
                    <a:gd name="connsiteX3" fmla="*/ 672764 w 1233343"/>
                    <a:gd name="connsiteY3" fmla="*/ 63043 h 1085243"/>
                    <a:gd name="connsiteX4" fmla="*/ 1206861 w 1233343"/>
                    <a:gd name="connsiteY4" fmla="*/ 980821 h 1085243"/>
                    <a:gd name="connsiteX5" fmla="*/ 1153238 w 1233343"/>
                    <a:gd name="connsiteY5" fmla="*/ 1085243 h 1085243"/>
                    <a:gd name="connsiteX6" fmla="*/ 77972 w 1233343"/>
                    <a:gd name="connsiteY6" fmla="*/ 1083832 h 1085243"/>
                    <a:gd name="connsiteX0" fmla="*/ 59604 w 1245272"/>
                    <a:gd name="connsiteY0" fmla="*/ 1085740 h 1085740"/>
                    <a:gd name="connsiteX1" fmla="*/ 30634 w 1245272"/>
                    <a:gd name="connsiteY1" fmla="*/ 983643 h 1085740"/>
                    <a:gd name="connsiteX2" fmla="*/ 565445 w 1245272"/>
                    <a:gd name="connsiteY2" fmla="*/ 63599 h 1085740"/>
                    <a:gd name="connsiteX3" fmla="*/ 684693 w 1245272"/>
                    <a:gd name="connsiteY3" fmla="*/ 63043 h 1085740"/>
                    <a:gd name="connsiteX4" fmla="*/ 1218790 w 1245272"/>
                    <a:gd name="connsiteY4" fmla="*/ 980821 h 1085740"/>
                    <a:gd name="connsiteX5" fmla="*/ 1165167 w 1245272"/>
                    <a:gd name="connsiteY5" fmla="*/ 1085243 h 1085740"/>
                    <a:gd name="connsiteX6" fmla="*/ 59604 w 1245272"/>
                    <a:gd name="connsiteY6" fmla="*/ 1085740 h 1085740"/>
                    <a:gd name="connsiteX0" fmla="*/ 59604 w 1248881"/>
                    <a:gd name="connsiteY0" fmla="*/ 1085740 h 1085740"/>
                    <a:gd name="connsiteX1" fmla="*/ 30634 w 1248881"/>
                    <a:gd name="connsiteY1" fmla="*/ 983643 h 1085740"/>
                    <a:gd name="connsiteX2" fmla="*/ 565445 w 1248881"/>
                    <a:gd name="connsiteY2" fmla="*/ 63599 h 1085740"/>
                    <a:gd name="connsiteX3" fmla="*/ 684693 w 1248881"/>
                    <a:gd name="connsiteY3" fmla="*/ 63043 h 1085740"/>
                    <a:gd name="connsiteX4" fmla="*/ 1218790 w 1248881"/>
                    <a:gd name="connsiteY4" fmla="*/ 980821 h 1085740"/>
                    <a:gd name="connsiteX5" fmla="*/ 1176329 w 1248881"/>
                    <a:gd name="connsiteY5" fmla="*/ 1085243 h 1085740"/>
                    <a:gd name="connsiteX6" fmla="*/ 59604 w 1248881"/>
                    <a:gd name="connsiteY6" fmla="*/ 1085740 h 1085740"/>
                    <a:gd name="connsiteX0" fmla="*/ 59604 w 1245001"/>
                    <a:gd name="connsiteY0" fmla="*/ 1085740 h 1085740"/>
                    <a:gd name="connsiteX1" fmla="*/ 30634 w 1245001"/>
                    <a:gd name="connsiteY1" fmla="*/ 983643 h 1085740"/>
                    <a:gd name="connsiteX2" fmla="*/ 565445 w 1245001"/>
                    <a:gd name="connsiteY2" fmla="*/ 63599 h 1085740"/>
                    <a:gd name="connsiteX3" fmla="*/ 684693 w 1245001"/>
                    <a:gd name="connsiteY3" fmla="*/ 63043 h 1085740"/>
                    <a:gd name="connsiteX4" fmla="*/ 1218790 w 1245001"/>
                    <a:gd name="connsiteY4" fmla="*/ 980821 h 1085740"/>
                    <a:gd name="connsiteX5" fmla="*/ 1176329 w 1245001"/>
                    <a:gd name="connsiteY5" fmla="*/ 1085243 h 1085740"/>
                    <a:gd name="connsiteX6" fmla="*/ 59604 w 1245001"/>
                    <a:gd name="connsiteY6" fmla="*/ 1085740 h 108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001" h="1085740">
                      <a:moveTo>
                        <a:pt x="59604" y="1085740"/>
                      </a:moveTo>
                      <a:cubicBezTo>
                        <a:pt x="-28245" y="1084303"/>
                        <a:pt x="-1821" y="1042439"/>
                        <a:pt x="30634" y="983643"/>
                      </a:cubicBezTo>
                      <a:lnTo>
                        <a:pt x="565445" y="63599"/>
                      </a:lnTo>
                      <a:cubicBezTo>
                        <a:pt x="616178" y="-21717"/>
                        <a:pt x="633593" y="-20498"/>
                        <a:pt x="684693" y="63043"/>
                      </a:cubicBezTo>
                      <a:lnTo>
                        <a:pt x="1218790" y="980821"/>
                      </a:lnTo>
                      <a:cubicBezTo>
                        <a:pt x="1268197" y="1067972"/>
                        <a:pt x="1244247" y="1086197"/>
                        <a:pt x="1176329" y="1085243"/>
                      </a:cubicBezTo>
                      <a:lnTo>
                        <a:pt x="59604" y="1085740"/>
                      </a:lnTo>
                      <a:close/>
                    </a:path>
                  </a:pathLst>
                </a:custGeom>
                <a:solidFill>
                  <a:srgbClr val="0D274D">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59" name="Rectangle: Rounded Corners 622">
                  <a:extLst>
                    <a:ext uri="{FF2B5EF4-FFF2-40B4-BE49-F238E27FC236}">
                      <a16:creationId xmlns:a16="http://schemas.microsoft.com/office/drawing/2014/main" id="{CA16182E-BC9C-F947-99ED-44FC9E2902D0}"/>
                    </a:ext>
                  </a:extLst>
                </p:cNvPr>
                <p:cNvSpPr/>
                <p:nvPr/>
              </p:nvSpPr>
              <p:spPr>
                <a:xfrm>
                  <a:off x="5574499" y="3117309"/>
                  <a:ext cx="1308345" cy="294686"/>
                </a:xfrm>
                <a:prstGeom prst="roundRect">
                  <a:avLst/>
                </a:prstGeom>
                <a:solidFill>
                  <a:srgbClr val="0D274D"/>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pic>
              <p:nvPicPr>
                <p:cNvPr id="260" name="Picture 661" descr="A close up of a mountain&#10;&#10;Description automatically generated">
                  <a:extLst>
                    <a:ext uri="{FF2B5EF4-FFF2-40B4-BE49-F238E27FC236}">
                      <a16:creationId xmlns:a16="http://schemas.microsoft.com/office/drawing/2014/main" id="{CE977DB9-C136-DD48-BB1A-30C8D185930E}"/>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936991" y="3093380"/>
                  <a:ext cx="2081140" cy="1036944"/>
                </a:xfrm>
                <a:prstGeom prst="rect">
                  <a:avLst/>
                </a:prstGeom>
              </p:spPr>
            </p:pic>
            <p:pic>
              <p:nvPicPr>
                <p:cNvPr id="261" name="Picture 654" descr="A close up of a mountain&#10;&#10;Description automatically generated">
                  <a:extLst>
                    <a:ext uri="{FF2B5EF4-FFF2-40B4-BE49-F238E27FC236}">
                      <a16:creationId xmlns:a16="http://schemas.microsoft.com/office/drawing/2014/main" id="{1EBF444B-8EAF-4C45-9499-103ADB5E8D5B}"/>
                    </a:ext>
                  </a:extLst>
                </p:cNvPr>
                <p:cNvPicPr>
                  <a:picLocks noChangeAspect="1"/>
                </p:cNvPicPr>
                <p:nvPr/>
              </p:nvPicPr>
              <p:blipFill>
                <a:blip r:embed="rId11" cstate="screen">
                  <a:duotone>
                    <a:prstClr val="black"/>
                    <a:srgbClr val="9E9EA2">
                      <a:tint val="45000"/>
                      <a:satMod val="400000"/>
                    </a:srgbClr>
                  </a:duotone>
                  <a:extLst>
                    <a:ext uri="{BEBA8EAE-BF5A-486C-A8C5-ECC9F3942E4B}">
                      <a14:imgProps xmlns:a14="http://schemas.microsoft.com/office/drawing/2010/main">
                        <a14:imgLayer r:embed="rId12">
                          <a14:imgEffect>
                            <a14:brightnessContrast bright="-12000"/>
                          </a14:imgEffect>
                        </a14:imgLayer>
                      </a14:imgProps>
                    </a:ext>
                    <a:ext uri="{28A0092B-C50C-407E-A947-70E740481C1C}">
                      <a14:useLocalDpi xmlns:a14="http://schemas.microsoft.com/office/drawing/2010/main"/>
                    </a:ext>
                  </a:extLst>
                </a:blip>
                <a:stretch>
                  <a:fillRect/>
                </a:stretch>
              </p:blipFill>
              <p:spPr>
                <a:xfrm>
                  <a:off x="5428845" y="2799167"/>
                  <a:ext cx="2066449" cy="1029624"/>
                </a:xfrm>
                <a:prstGeom prst="rect">
                  <a:avLst/>
                </a:prstGeom>
              </p:spPr>
            </p:pic>
            <p:pic>
              <p:nvPicPr>
                <p:cNvPr id="262" name="Picture 656" descr="A close up of a mountain&#10;&#10;Description automatically generated">
                  <a:extLst>
                    <a:ext uri="{FF2B5EF4-FFF2-40B4-BE49-F238E27FC236}">
                      <a16:creationId xmlns:a16="http://schemas.microsoft.com/office/drawing/2014/main" id="{2BED80F4-17E0-D844-8C6F-3064DADACA66}"/>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022011" y="3051945"/>
                  <a:ext cx="2081140" cy="1036944"/>
                </a:xfrm>
                <a:prstGeom prst="rect">
                  <a:avLst/>
                </a:prstGeom>
              </p:spPr>
            </p:pic>
            <p:pic>
              <p:nvPicPr>
                <p:cNvPr id="263" name="Picture 108" descr="A close up of a mountain&#10;&#10;Description automatically generated">
                  <a:extLst>
                    <a:ext uri="{FF2B5EF4-FFF2-40B4-BE49-F238E27FC236}">
                      <a16:creationId xmlns:a16="http://schemas.microsoft.com/office/drawing/2014/main" id="{E79945A2-CF76-AB4E-A5B8-B647E5FEAEB5}"/>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781454" y="2797676"/>
                  <a:ext cx="2081140" cy="1036944"/>
                </a:xfrm>
                <a:prstGeom prst="rect">
                  <a:avLst/>
                </a:prstGeom>
              </p:spPr>
            </p:pic>
            <p:pic>
              <p:nvPicPr>
                <p:cNvPr id="264" name="Picture 7" descr="A close up of a mountain&#10;&#10;Description automatically generated">
                  <a:extLst>
                    <a:ext uri="{FF2B5EF4-FFF2-40B4-BE49-F238E27FC236}">
                      <a16:creationId xmlns:a16="http://schemas.microsoft.com/office/drawing/2014/main" id="{1AC718AC-5786-EC49-BECA-C6A16597ACE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243141" y="3187103"/>
                  <a:ext cx="2331539" cy="1161707"/>
                </a:xfrm>
                <a:prstGeom prst="rect">
                  <a:avLst/>
                </a:prstGeom>
              </p:spPr>
            </p:pic>
            <p:pic>
              <p:nvPicPr>
                <p:cNvPr id="265" name="Picture 668" descr="A close up of a mountain&#10;&#10;Description automatically generated">
                  <a:extLst>
                    <a:ext uri="{FF2B5EF4-FFF2-40B4-BE49-F238E27FC236}">
                      <a16:creationId xmlns:a16="http://schemas.microsoft.com/office/drawing/2014/main" id="{DF6BBA33-2184-6E4D-AAEB-0C54122A37CC}"/>
                    </a:ext>
                  </a:extLst>
                </p:cNvPr>
                <p:cNvPicPr>
                  <a:picLocks noChangeAspect="1"/>
                </p:cNvPicPr>
                <p:nvPr/>
              </p:nvPicPr>
              <p:blipFill>
                <a:blip r:embed="rId14" cstate="screen">
                  <a:duotone>
                    <a:prstClr val="black"/>
                    <a:srgbClr val="9E9EA2">
                      <a:tint val="45000"/>
                      <a:satMod val="400000"/>
                    </a:srgbClr>
                  </a:duotone>
                  <a:extLst>
                    <a:ext uri="{BEBA8EAE-BF5A-486C-A8C5-ECC9F3942E4B}">
                      <a14:imgProps xmlns:a14="http://schemas.microsoft.com/office/drawing/2010/main">
                        <a14:imgLayer r:embed="rId15">
                          <a14:imgEffect>
                            <a14:brightnessContrast bright="-23000"/>
                          </a14:imgEffect>
                        </a14:imgLayer>
                      </a14:imgProps>
                    </a:ext>
                    <a:ext uri="{28A0092B-C50C-407E-A947-70E740481C1C}">
                      <a14:useLocalDpi xmlns:a14="http://schemas.microsoft.com/office/drawing/2010/main"/>
                    </a:ext>
                  </a:extLst>
                </a:blip>
                <a:stretch>
                  <a:fillRect/>
                </a:stretch>
              </p:blipFill>
              <p:spPr>
                <a:xfrm flipH="1">
                  <a:off x="6266028" y="2789445"/>
                  <a:ext cx="1723254" cy="858624"/>
                </a:xfrm>
                <a:prstGeom prst="rect">
                  <a:avLst/>
                </a:prstGeom>
              </p:spPr>
            </p:pic>
            <p:sp>
              <p:nvSpPr>
                <p:cNvPr id="266" name="Freeform: Shape 100">
                  <a:extLst>
                    <a:ext uri="{FF2B5EF4-FFF2-40B4-BE49-F238E27FC236}">
                      <a16:creationId xmlns:a16="http://schemas.microsoft.com/office/drawing/2014/main" id="{B96D3C4C-1742-914C-AB6A-07DF155E4670}"/>
                    </a:ext>
                  </a:extLst>
                </p:cNvPr>
                <p:cNvSpPr/>
                <p:nvPr/>
              </p:nvSpPr>
              <p:spPr>
                <a:xfrm rot="14974915">
                  <a:off x="7072221" y="2565312"/>
                  <a:ext cx="1546999" cy="1954387"/>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81537"/>
                    <a:gd name="connsiteX1" fmla="*/ 1771170 w 2151073"/>
                    <a:gd name="connsiteY1" fmla="*/ 2540617 h 2681537"/>
                    <a:gd name="connsiteX2" fmla="*/ 1984865 w 2151073"/>
                    <a:gd name="connsiteY2" fmla="*/ 2681470 h 2681537"/>
                    <a:gd name="connsiteX3" fmla="*/ 2151073 w 2151073"/>
                    <a:gd name="connsiteY3" fmla="*/ 2488845 h 2681537"/>
                    <a:gd name="connsiteX0" fmla="*/ 0 w 2151073"/>
                    <a:gd name="connsiteY0" fmla="*/ 0 h 2691658"/>
                    <a:gd name="connsiteX1" fmla="*/ 1771170 w 2151073"/>
                    <a:gd name="connsiteY1" fmla="*/ 2540617 h 2691658"/>
                    <a:gd name="connsiteX2" fmla="*/ 1974513 w 2151073"/>
                    <a:gd name="connsiteY2" fmla="*/ 2691601 h 2691658"/>
                    <a:gd name="connsiteX3" fmla="*/ 2151073 w 2151073"/>
                    <a:gd name="connsiteY3" fmla="*/ 2488845 h 2691658"/>
                    <a:gd name="connsiteX0" fmla="*/ 0 w 2151073"/>
                    <a:gd name="connsiteY0" fmla="*/ 0 h 2691603"/>
                    <a:gd name="connsiteX1" fmla="*/ 1771170 w 2151073"/>
                    <a:gd name="connsiteY1" fmla="*/ 2540617 h 2691603"/>
                    <a:gd name="connsiteX2" fmla="*/ 1974513 w 2151073"/>
                    <a:gd name="connsiteY2" fmla="*/ 2691601 h 2691603"/>
                    <a:gd name="connsiteX3" fmla="*/ 2151073 w 2151073"/>
                    <a:gd name="connsiteY3" fmla="*/ 2488845 h 2691603"/>
                    <a:gd name="connsiteX0" fmla="*/ 0 w 2151073"/>
                    <a:gd name="connsiteY0" fmla="*/ 0 h 2691768"/>
                    <a:gd name="connsiteX1" fmla="*/ 1771170 w 2151073"/>
                    <a:gd name="connsiteY1" fmla="*/ 2540617 h 2691768"/>
                    <a:gd name="connsiteX2" fmla="*/ 1974513 w 2151073"/>
                    <a:gd name="connsiteY2" fmla="*/ 2691601 h 2691768"/>
                    <a:gd name="connsiteX3" fmla="*/ 2151073 w 2151073"/>
                    <a:gd name="connsiteY3" fmla="*/ 2488845 h 2691768"/>
                    <a:gd name="connsiteX0" fmla="*/ 0 w 2155162"/>
                    <a:gd name="connsiteY0" fmla="*/ 0 h 2691783"/>
                    <a:gd name="connsiteX1" fmla="*/ 1771170 w 2155162"/>
                    <a:gd name="connsiteY1" fmla="*/ 2540617 h 2691783"/>
                    <a:gd name="connsiteX2" fmla="*/ 1974513 w 2155162"/>
                    <a:gd name="connsiteY2" fmla="*/ 2691601 h 2691783"/>
                    <a:gd name="connsiteX3" fmla="*/ 2155162 w 2155162"/>
                    <a:gd name="connsiteY3" fmla="*/ 2494703 h 2691783"/>
                    <a:gd name="connsiteX0" fmla="*/ 0 w 2155162"/>
                    <a:gd name="connsiteY0" fmla="*/ 0 h 2691789"/>
                    <a:gd name="connsiteX1" fmla="*/ 1771170 w 2155162"/>
                    <a:gd name="connsiteY1" fmla="*/ 2540617 h 2691789"/>
                    <a:gd name="connsiteX2" fmla="*/ 1974513 w 2155162"/>
                    <a:gd name="connsiteY2" fmla="*/ 2691601 h 2691789"/>
                    <a:gd name="connsiteX3" fmla="*/ 2155162 w 2155162"/>
                    <a:gd name="connsiteY3" fmla="*/ 2494703 h 2691789"/>
                    <a:gd name="connsiteX0" fmla="*/ 0 w 2152436"/>
                    <a:gd name="connsiteY0" fmla="*/ 0 h 2691778"/>
                    <a:gd name="connsiteX1" fmla="*/ 1771170 w 2152436"/>
                    <a:gd name="connsiteY1" fmla="*/ 2540617 h 2691778"/>
                    <a:gd name="connsiteX2" fmla="*/ 1974513 w 2152436"/>
                    <a:gd name="connsiteY2" fmla="*/ 2691601 h 2691778"/>
                    <a:gd name="connsiteX3" fmla="*/ 2152436 w 2152436"/>
                    <a:gd name="connsiteY3" fmla="*/ 2490797 h 2691778"/>
                    <a:gd name="connsiteX0" fmla="*/ 0 w 2152436"/>
                    <a:gd name="connsiteY0" fmla="*/ 0 h 2703650"/>
                    <a:gd name="connsiteX1" fmla="*/ 1771170 w 2152436"/>
                    <a:gd name="connsiteY1" fmla="*/ 2540617 h 2703650"/>
                    <a:gd name="connsiteX2" fmla="*/ 1974108 w 2152436"/>
                    <a:gd name="connsiteY2" fmla="*/ 2703500 h 2703650"/>
                    <a:gd name="connsiteX3" fmla="*/ 2152436 w 2152436"/>
                    <a:gd name="connsiteY3" fmla="*/ 2490797 h 2703650"/>
                    <a:gd name="connsiteX0" fmla="*/ 0 w 2103307"/>
                    <a:gd name="connsiteY0" fmla="*/ 0 h 2671810"/>
                    <a:gd name="connsiteX1" fmla="*/ 1722041 w 2103307"/>
                    <a:gd name="connsiteY1" fmla="*/ 2508777 h 2671810"/>
                    <a:gd name="connsiteX2" fmla="*/ 1924979 w 2103307"/>
                    <a:gd name="connsiteY2" fmla="*/ 2671660 h 2671810"/>
                    <a:gd name="connsiteX3" fmla="*/ 2103307 w 2103307"/>
                    <a:gd name="connsiteY3" fmla="*/ 2458957 h 2671810"/>
                    <a:gd name="connsiteX0" fmla="*/ 0 w 2110833"/>
                    <a:gd name="connsiteY0" fmla="*/ 0 h 2672071"/>
                    <a:gd name="connsiteX1" fmla="*/ 1729567 w 2110833"/>
                    <a:gd name="connsiteY1" fmla="*/ 2509038 h 2672071"/>
                    <a:gd name="connsiteX2" fmla="*/ 1932505 w 2110833"/>
                    <a:gd name="connsiteY2" fmla="*/ 2671921 h 2672071"/>
                    <a:gd name="connsiteX3" fmla="*/ 2110833 w 2110833"/>
                    <a:gd name="connsiteY3" fmla="*/ 2459218 h 2672071"/>
                    <a:gd name="connsiteX0" fmla="*/ 0 w 2122561"/>
                    <a:gd name="connsiteY0" fmla="*/ 0 h 2681518"/>
                    <a:gd name="connsiteX1" fmla="*/ 1741295 w 2122561"/>
                    <a:gd name="connsiteY1" fmla="*/ 2518485 h 2681518"/>
                    <a:gd name="connsiteX2" fmla="*/ 1944233 w 2122561"/>
                    <a:gd name="connsiteY2" fmla="*/ 2681368 h 2681518"/>
                    <a:gd name="connsiteX3" fmla="*/ 2122561 w 2122561"/>
                    <a:gd name="connsiteY3" fmla="*/ 2468665 h 2681518"/>
                  </a:gdLst>
                  <a:ahLst/>
                  <a:cxnLst>
                    <a:cxn ang="0">
                      <a:pos x="connsiteX0" y="connsiteY0"/>
                    </a:cxn>
                    <a:cxn ang="0">
                      <a:pos x="connsiteX1" y="connsiteY1"/>
                    </a:cxn>
                    <a:cxn ang="0">
                      <a:pos x="connsiteX2" y="connsiteY2"/>
                    </a:cxn>
                    <a:cxn ang="0">
                      <a:pos x="connsiteX3" y="connsiteY3"/>
                    </a:cxn>
                  </a:cxnLst>
                  <a:rect l="l" t="t" r="r" b="b"/>
                  <a:pathLst>
                    <a:path w="2122561" h="2681518">
                      <a:moveTo>
                        <a:pt x="0" y="0"/>
                      </a:moveTo>
                      <a:lnTo>
                        <a:pt x="1741295" y="2518485"/>
                      </a:lnTo>
                      <a:cubicBezTo>
                        <a:pt x="1803001" y="2606712"/>
                        <a:pt x="1849763" y="2666645"/>
                        <a:pt x="1944233" y="2681368"/>
                      </a:cubicBezTo>
                      <a:cubicBezTo>
                        <a:pt x="2035620" y="2685314"/>
                        <a:pt x="2074252" y="2611764"/>
                        <a:pt x="2122561" y="2468665"/>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67" name="Picture 6" descr="A close up of a mountain&#10;&#10;Description automatically generated">
                  <a:extLst>
                    <a:ext uri="{FF2B5EF4-FFF2-40B4-BE49-F238E27FC236}">
                      <a16:creationId xmlns:a16="http://schemas.microsoft.com/office/drawing/2014/main" id="{B8940615-1546-2941-800C-2561FD20433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5358005" y="3189191"/>
                  <a:ext cx="2331539" cy="1161707"/>
                </a:xfrm>
                <a:prstGeom prst="rect">
                  <a:avLst/>
                </a:prstGeom>
              </p:spPr>
            </p:pic>
            <p:sp>
              <p:nvSpPr>
                <p:cNvPr id="268" name="Freeform: Shape 86">
                  <a:extLst>
                    <a:ext uri="{FF2B5EF4-FFF2-40B4-BE49-F238E27FC236}">
                      <a16:creationId xmlns:a16="http://schemas.microsoft.com/office/drawing/2014/main" id="{179609B8-F1A2-AE4C-B3F8-46B0D2B90AC8}"/>
                    </a:ext>
                  </a:extLst>
                </p:cNvPr>
                <p:cNvSpPr>
                  <a:spLocks noChangeAspect="1"/>
                </p:cNvSpPr>
                <p:nvPr/>
              </p:nvSpPr>
              <p:spPr>
                <a:xfrm rot="16200000">
                  <a:off x="6147270" y="3399089"/>
                  <a:ext cx="1017776" cy="197557"/>
                </a:xfrm>
                <a:custGeom>
                  <a:avLst/>
                  <a:gdLst>
                    <a:gd name="connsiteX0" fmla="*/ 1755943 w 1791496"/>
                    <a:gd name="connsiteY0" fmla="*/ 276636 h 347742"/>
                    <a:gd name="connsiteX1" fmla="*/ 1791496 w 1791496"/>
                    <a:gd name="connsiteY1" fmla="*/ 312189 h 347742"/>
                    <a:gd name="connsiteX2" fmla="*/ 1755943 w 1791496"/>
                    <a:gd name="connsiteY2" fmla="*/ 347742 h 347742"/>
                    <a:gd name="connsiteX3" fmla="*/ 1720390 w 1791496"/>
                    <a:gd name="connsiteY3" fmla="*/ 312189 h 347742"/>
                    <a:gd name="connsiteX4" fmla="*/ 1755943 w 1791496"/>
                    <a:gd name="connsiteY4" fmla="*/ 276636 h 347742"/>
                    <a:gd name="connsiteX5" fmla="*/ 1612854 w 1791496"/>
                    <a:gd name="connsiteY5" fmla="*/ 276636 h 347742"/>
                    <a:gd name="connsiteX6" fmla="*/ 1648407 w 1791496"/>
                    <a:gd name="connsiteY6" fmla="*/ 312189 h 347742"/>
                    <a:gd name="connsiteX7" fmla="*/ 1612854 w 1791496"/>
                    <a:gd name="connsiteY7" fmla="*/ 347742 h 347742"/>
                    <a:gd name="connsiteX8" fmla="*/ 1577301 w 1791496"/>
                    <a:gd name="connsiteY8" fmla="*/ 312189 h 347742"/>
                    <a:gd name="connsiteX9" fmla="*/ 1612854 w 1791496"/>
                    <a:gd name="connsiteY9" fmla="*/ 276636 h 347742"/>
                    <a:gd name="connsiteX10" fmla="*/ 1469760 w 1791496"/>
                    <a:gd name="connsiteY10" fmla="*/ 276636 h 347742"/>
                    <a:gd name="connsiteX11" fmla="*/ 1505313 w 1791496"/>
                    <a:gd name="connsiteY11" fmla="*/ 312189 h 347742"/>
                    <a:gd name="connsiteX12" fmla="*/ 1469760 w 1791496"/>
                    <a:gd name="connsiteY12" fmla="*/ 347742 h 347742"/>
                    <a:gd name="connsiteX13" fmla="*/ 1434207 w 1791496"/>
                    <a:gd name="connsiteY13" fmla="*/ 312189 h 347742"/>
                    <a:gd name="connsiteX14" fmla="*/ 1469760 w 1791496"/>
                    <a:gd name="connsiteY14" fmla="*/ 276636 h 347742"/>
                    <a:gd name="connsiteX15" fmla="*/ 1326667 w 1791496"/>
                    <a:gd name="connsiteY15" fmla="*/ 276636 h 347742"/>
                    <a:gd name="connsiteX16" fmla="*/ 1362220 w 1791496"/>
                    <a:gd name="connsiteY16" fmla="*/ 312189 h 347742"/>
                    <a:gd name="connsiteX17" fmla="*/ 1326667 w 1791496"/>
                    <a:gd name="connsiteY17" fmla="*/ 347742 h 347742"/>
                    <a:gd name="connsiteX18" fmla="*/ 1291114 w 1791496"/>
                    <a:gd name="connsiteY18" fmla="*/ 312189 h 347742"/>
                    <a:gd name="connsiteX19" fmla="*/ 1326667 w 1791496"/>
                    <a:gd name="connsiteY19" fmla="*/ 276636 h 347742"/>
                    <a:gd name="connsiteX20" fmla="*/ 1183573 w 1791496"/>
                    <a:gd name="connsiteY20" fmla="*/ 276636 h 347742"/>
                    <a:gd name="connsiteX21" fmla="*/ 1219126 w 1791496"/>
                    <a:gd name="connsiteY21" fmla="*/ 312189 h 347742"/>
                    <a:gd name="connsiteX22" fmla="*/ 1183573 w 1791496"/>
                    <a:gd name="connsiteY22" fmla="*/ 347742 h 347742"/>
                    <a:gd name="connsiteX23" fmla="*/ 1148020 w 1791496"/>
                    <a:gd name="connsiteY23" fmla="*/ 312189 h 347742"/>
                    <a:gd name="connsiteX24" fmla="*/ 1183573 w 1791496"/>
                    <a:gd name="connsiteY24" fmla="*/ 276636 h 347742"/>
                    <a:gd name="connsiteX25" fmla="*/ 1040480 w 1791496"/>
                    <a:gd name="connsiteY25" fmla="*/ 276636 h 347742"/>
                    <a:gd name="connsiteX26" fmla="*/ 1076033 w 1791496"/>
                    <a:gd name="connsiteY26" fmla="*/ 312189 h 347742"/>
                    <a:gd name="connsiteX27" fmla="*/ 1040480 w 1791496"/>
                    <a:gd name="connsiteY27" fmla="*/ 347742 h 347742"/>
                    <a:gd name="connsiteX28" fmla="*/ 1004927 w 1791496"/>
                    <a:gd name="connsiteY28" fmla="*/ 312189 h 347742"/>
                    <a:gd name="connsiteX29" fmla="*/ 1040480 w 1791496"/>
                    <a:gd name="connsiteY29" fmla="*/ 276636 h 347742"/>
                    <a:gd name="connsiteX30" fmla="*/ 897387 w 1791496"/>
                    <a:gd name="connsiteY30" fmla="*/ 276636 h 347742"/>
                    <a:gd name="connsiteX31" fmla="*/ 932940 w 1791496"/>
                    <a:gd name="connsiteY31" fmla="*/ 312189 h 347742"/>
                    <a:gd name="connsiteX32" fmla="*/ 897387 w 1791496"/>
                    <a:gd name="connsiteY32" fmla="*/ 347742 h 347742"/>
                    <a:gd name="connsiteX33" fmla="*/ 861834 w 1791496"/>
                    <a:gd name="connsiteY33" fmla="*/ 312189 h 347742"/>
                    <a:gd name="connsiteX34" fmla="*/ 897387 w 1791496"/>
                    <a:gd name="connsiteY34" fmla="*/ 276636 h 347742"/>
                    <a:gd name="connsiteX35" fmla="*/ 754293 w 1791496"/>
                    <a:gd name="connsiteY35" fmla="*/ 276636 h 347742"/>
                    <a:gd name="connsiteX36" fmla="*/ 789846 w 1791496"/>
                    <a:gd name="connsiteY36" fmla="*/ 312189 h 347742"/>
                    <a:gd name="connsiteX37" fmla="*/ 754293 w 1791496"/>
                    <a:gd name="connsiteY37" fmla="*/ 347742 h 347742"/>
                    <a:gd name="connsiteX38" fmla="*/ 718740 w 1791496"/>
                    <a:gd name="connsiteY38" fmla="*/ 312189 h 347742"/>
                    <a:gd name="connsiteX39" fmla="*/ 754293 w 1791496"/>
                    <a:gd name="connsiteY39" fmla="*/ 276636 h 347742"/>
                    <a:gd name="connsiteX40" fmla="*/ 611200 w 1791496"/>
                    <a:gd name="connsiteY40" fmla="*/ 276636 h 347742"/>
                    <a:gd name="connsiteX41" fmla="*/ 646753 w 1791496"/>
                    <a:gd name="connsiteY41" fmla="*/ 312189 h 347742"/>
                    <a:gd name="connsiteX42" fmla="*/ 611200 w 1791496"/>
                    <a:gd name="connsiteY42" fmla="*/ 347742 h 347742"/>
                    <a:gd name="connsiteX43" fmla="*/ 575647 w 1791496"/>
                    <a:gd name="connsiteY43" fmla="*/ 312189 h 347742"/>
                    <a:gd name="connsiteX44" fmla="*/ 611200 w 1791496"/>
                    <a:gd name="connsiteY44" fmla="*/ 276636 h 347742"/>
                    <a:gd name="connsiteX45" fmla="*/ 468107 w 1791496"/>
                    <a:gd name="connsiteY45" fmla="*/ 276636 h 347742"/>
                    <a:gd name="connsiteX46" fmla="*/ 503660 w 1791496"/>
                    <a:gd name="connsiteY46" fmla="*/ 312189 h 347742"/>
                    <a:gd name="connsiteX47" fmla="*/ 468107 w 1791496"/>
                    <a:gd name="connsiteY47" fmla="*/ 347742 h 347742"/>
                    <a:gd name="connsiteX48" fmla="*/ 432554 w 1791496"/>
                    <a:gd name="connsiteY48" fmla="*/ 312189 h 347742"/>
                    <a:gd name="connsiteX49" fmla="*/ 468107 w 1791496"/>
                    <a:gd name="connsiteY49" fmla="*/ 276636 h 347742"/>
                    <a:gd name="connsiteX50" fmla="*/ 325015 w 1791496"/>
                    <a:gd name="connsiteY50" fmla="*/ 276636 h 347742"/>
                    <a:gd name="connsiteX51" fmla="*/ 360568 w 1791496"/>
                    <a:gd name="connsiteY51" fmla="*/ 312189 h 347742"/>
                    <a:gd name="connsiteX52" fmla="*/ 325015 w 1791496"/>
                    <a:gd name="connsiteY52" fmla="*/ 347742 h 347742"/>
                    <a:gd name="connsiteX53" fmla="*/ 289462 w 1791496"/>
                    <a:gd name="connsiteY53" fmla="*/ 312189 h 347742"/>
                    <a:gd name="connsiteX54" fmla="*/ 325015 w 1791496"/>
                    <a:gd name="connsiteY54" fmla="*/ 276636 h 347742"/>
                    <a:gd name="connsiteX55" fmla="*/ 181926 w 1791496"/>
                    <a:gd name="connsiteY55" fmla="*/ 276636 h 347742"/>
                    <a:gd name="connsiteX56" fmla="*/ 217479 w 1791496"/>
                    <a:gd name="connsiteY56" fmla="*/ 312189 h 347742"/>
                    <a:gd name="connsiteX57" fmla="*/ 181926 w 1791496"/>
                    <a:gd name="connsiteY57" fmla="*/ 347742 h 347742"/>
                    <a:gd name="connsiteX58" fmla="*/ 146373 w 1791496"/>
                    <a:gd name="connsiteY58" fmla="*/ 312189 h 347742"/>
                    <a:gd name="connsiteX59" fmla="*/ 181926 w 1791496"/>
                    <a:gd name="connsiteY59" fmla="*/ 276636 h 347742"/>
                    <a:gd name="connsiteX60" fmla="*/ 35553 w 1791496"/>
                    <a:gd name="connsiteY60" fmla="*/ 276636 h 347742"/>
                    <a:gd name="connsiteX61" fmla="*/ 71106 w 1791496"/>
                    <a:gd name="connsiteY61" fmla="*/ 312189 h 347742"/>
                    <a:gd name="connsiteX62" fmla="*/ 35553 w 1791496"/>
                    <a:gd name="connsiteY62" fmla="*/ 347742 h 347742"/>
                    <a:gd name="connsiteX63" fmla="*/ 0 w 1791496"/>
                    <a:gd name="connsiteY63" fmla="*/ 312189 h 347742"/>
                    <a:gd name="connsiteX64" fmla="*/ 35553 w 1791496"/>
                    <a:gd name="connsiteY64" fmla="*/ 276636 h 347742"/>
                    <a:gd name="connsiteX65" fmla="*/ 1755943 w 1791496"/>
                    <a:gd name="connsiteY65" fmla="*/ 138318 h 347742"/>
                    <a:gd name="connsiteX66" fmla="*/ 1791496 w 1791496"/>
                    <a:gd name="connsiteY66" fmla="*/ 173871 h 347742"/>
                    <a:gd name="connsiteX67" fmla="*/ 1755943 w 1791496"/>
                    <a:gd name="connsiteY67" fmla="*/ 209424 h 347742"/>
                    <a:gd name="connsiteX68" fmla="*/ 1720390 w 1791496"/>
                    <a:gd name="connsiteY68" fmla="*/ 173871 h 347742"/>
                    <a:gd name="connsiteX69" fmla="*/ 1755943 w 1791496"/>
                    <a:gd name="connsiteY69" fmla="*/ 138318 h 347742"/>
                    <a:gd name="connsiteX70" fmla="*/ 1612854 w 1791496"/>
                    <a:gd name="connsiteY70" fmla="*/ 138318 h 347742"/>
                    <a:gd name="connsiteX71" fmla="*/ 1648407 w 1791496"/>
                    <a:gd name="connsiteY71" fmla="*/ 173871 h 347742"/>
                    <a:gd name="connsiteX72" fmla="*/ 1612854 w 1791496"/>
                    <a:gd name="connsiteY72" fmla="*/ 209424 h 347742"/>
                    <a:gd name="connsiteX73" fmla="*/ 1577301 w 1791496"/>
                    <a:gd name="connsiteY73" fmla="*/ 173871 h 347742"/>
                    <a:gd name="connsiteX74" fmla="*/ 1612854 w 1791496"/>
                    <a:gd name="connsiteY74" fmla="*/ 138318 h 347742"/>
                    <a:gd name="connsiteX75" fmla="*/ 1469760 w 1791496"/>
                    <a:gd name="connsiteY75" fmla="*/ 138318 h 347742"/>
                    <a:gd name="connsiteX76" fmla="*/ 1505313 w 1791496"/>
                    <a:gd name="connsiteY76" fmla="*/ 173871 h 347742"/>
                    <a:gd name="connsiteX77" fmla="*/ 1469760 w 1791496"/>
                    <a:gd name="connsiteY77" fmla="*/ 209424 h 347742"/>
                    <a:gd name="connsiteX78" fmla="*/ 1434207 w 1791496"/>
                    <a:gd name="connsiteY78" fmla="*/ 173871 h 347742"/>
                    <a:gd name="connsiteX79" fmla="*/ 1469760 w 1791496"/>
                    <a:gd name="connsiteY79" fmla="*/ 138318 h 347742"/>
                    <a:gd name="connsiteX80" fmla="*/ 1326667 w 1791496"/>
                    <a:gd name="connsiteY80" fmla="*/ 138318 h 347742"/>
                    <a:gd name="connsiteX81" fmla="*/ 1362220 w 1791496"/>
                    <a:gd name="connsiteY81" fmla="*/ 173871 h 347742"/>
                    <a:gd name="connsiteX82" fmla="*/ 1326667 w 1791496"/>
                    <a:gd name="connsiteY82" fmla="*/ 209424 h 347742"/>
                    <a:gd name="connsiteX83" fmla="*/ 1291114 w 1791496"/>
                    <a:gd name="connsiteY83" fmla="*/ 173871 h 347742"/>
                    <a:gd name="connsiteX84" fmla="*/ 1326667 w 1791496"/>
                    <a:gd name="connsiteY84" fmla="*/ 138318 h 347742"/>
                    <a:gd name="connsiteX85" fmla="*/ 1183573 w 1791496"/>
                    <a:gd name="connsiteY85" fmla="*/ 138318 h 347742"/>
                    <a:gd name="connsiteX86" fmla="*/ 1219126 w 1791496"/>
                    <a:gd name="connsiteY86" fmla="*/ 173871 h 347742"/>
                    <a:gd name="connsiteX87" fmla="*/ 1183573 w 1791496"/>
                    <a:gd name="connsiteY87" fmla="*/ 209424 h 347742"/>
                    <a:gd name="connsiteX88" fmla="*/ 1148020 w 1791496"/>
                    <a:gd name="connsiteY88" fmla="*/ 173871 h 347742"/>
                    <a:gd name="connsiteX89" fmla="*/ 1183573 w 1791496"/>
                    <a:gd name="connsiteY89" fmla="*/ 138318 h 347742"/>
                    <a:gd name="connsiteX90" fmla="*/ 1040480 w 1791496"/>
                    <a:gd name="connsiteY90" fmla="*/ 138318 h 347742"/>
                    <a:gd name="connsiteX91" fmla="*/ 1076033 w 1791496"/>
                    <a:gd name="connsiteY91" fmla="*/ 173871 h 347742"/>
                    <a:gd name="connsiteX92" fmla="*/ 1040480 w 1791496"/>
                    <a:gd name="connsiteY92" fmla="*/ 209424 h 347742"/>
                    <a:gd name="connsiteX93" fmla="*/ 1004927 w 1791496"/>
                    <a:gd name="connsiteY93" fmla="*/ 173871 h 347742"/>
                    <a:gd name="connsiteX94" fmla="*/ 1040480 w 1791496"/>
                    <a:gd name="connsiteY94" fmla="*/ 138318 h 347742"/>
                    <a:gd name="connsiteX95" fmla="*/ 897387 w 1791496"/>
                    <a:gd name="connsiteY95" fmla="*/ 138318 h 347742"/>
                    <a:gd name="connsiteX96" fmla="*/ 932940 w 1791496"/>
                    <a:gd name="connsiteY96" fmla="*/ 173871 h 347742"/>
                    <a:gd name="connsiteX97" fmla="*/ 897387 w 1791496"/>
                    <a:gd name="connsiteY97" fmla="*/ 209424 h 347742"/>
                    <a:gd name="connsiteX98" fmla="*/ 861834 w 1791496"/>
                    <a:gd name="connsiteY98" fmla="*/ 173871 h 347742"/>
                    <a:gd name="connsiteX99" fmla="*/ 897387 w 1791496"/>
                    <a:gd name="connsiteY99" fmla="*/ 138318 h 347742"/>
                    <a:gd name="connsiteX100" fmla="*/ 754293 w 1791496"/>
                    <a:gd name="connsiteY100" fmla="*/ 138318 h 347742"/>
                    <a:gd name="connsiteX101" fmla="*/ 789846 w 1791496"/>
                    <a:gd name="connsiteY101" fmla="*/ 173871 h 347742"/>
                    <a:gd name="connsiteX102" fmla="*/ 754293 w 1791496"/>
                    <a:gd name="connsiteY102" fmla="*/ 209424 h 347742"/>
                    <a:gd name="connsiteX103" fmla="*/ 718740 w 1791496"/>
                    <a:gd name="connsiteY103" fmla="*/ 173871 h 347742"/>
                    <a:gd name="connsiteX104" fmla="*/ 754293 w 1791496"/>
                    <a:gd name="connsiteY104" fmla="*/ 138318 h 347742"/>
                    <a:gd name="connsiteX105" fmla="*/ 611200 w 1791496"/>
                    <a:gd name="connsiteY105" fmla="*/ 138318 h 347742"/>
                    <a:gd name="connsiteX106" fmla="*/ 646753 w 1791496"/>
                    <a:gd name="connsiteY106" fmla="*/ 173871 h 347742"/>
                    <a:gd name="connsiteX107" fmla="*/ 611200 w 1791496"/>
                    <a:gd name="connsiteY107" fmla="*/ 209424 h 347742"/>
                    <a:gd name="connsiteX108" fmla="*/ 575647 w 1791496"/>
                    <a:gd name="connsiteY108" fmla="*/ 173871 h 347742"/>
                    <a:gd name="connsiteX109" fmla="*/ 611200 w 1791496"/>
                    <a:gd name="connsiteY109" fmla="*/ 138318 h 347742"/>
                    <a:gd name="connsiteX110" fmla="*/ 468107 w 1791496"/>
                    <a:gd name="connsiteY110" fmla="*/ 138318 h 347742"/>
                    <a:gd name="connsiteX111" fmla="*/ 503660 w 1791496"/>
                    <a:gd name="connsiteY111" fmla="*/ 173871 h 347742"/>
                    <a:gd name="connsiteX112" fmla="*/ 468107 w 1791496"/>
                    <a:gd name="connsiteY112" fmla="*/ 209424 h 347742"/>
                    <a:gd name="connsiteX113" fmla="*/ 432554 w 1791496"/>
                    <a:gd name="connsiteY113" fmla="*/ 173871 h 347742"/>
                    <a:gd name="connsiteX114" fmla="*/ 468107 w 1791496"/>
                    <a:gd name="connsiteY114" fmla="*/ 138318 h 347742"/>
                    <a:gd name="connsiteX115" fmla="*/ 325015 w 1791496"/>
                    <a:gd name="connsiteY115" fmla="*/ 138318 h 347742"/>
                    <a:gd name="connsiteX116" fmla="*/ 360568 w 1791496"/>
                    <a:gd name="connsiteY116" fmla="*/ 173871 h 347742"/>
                    <a:gd name="connsiteX117" fmla="*/ 325015 w 1791496"/>
                    <a:gd name="connsiteY117" fmla="*/ 209424 h 347742"/>
                    <a:gd name="connsiteX118" fmla="*/ 289462 w 1791496"/>
                    <a:gd name="connsiteY118" fmla="*/ 173871 h 347742"/>
                    <a:gd name="connsiteX119" fmla="*/ 325015 w 1791496"/>
                    <a:gd name="connsiteY119" fmla="*/ 138318 h 347742"/>
                    <a:gd name="connsiteX120" fmla="*/ 181926 w 1791496"/>
                    <a:gd name="connsiteY120" fmla="*/ 138318 h 347742"/>
                    <a:gd name="connsiteX121" fmla="*/ 217479 w 1791496"/>
                    <a:gd name="connsiteY121" fmla="*/ 173871 h 347742"/>
                    <a:gd name="connsiteX122" fmla="*/ 181926 w 1791496"/>
                    <a:gd name="connsiteY122" fmla="*/ 209424 h 347742"/>
                    <a:gd name="connsiteX123" fmla="*/ 146373 w 1791496"/>
                    <a:gd name="connsiteY123" fmla="*/ 173871 h 347742"/>
                    <a:gd name="connsiteX124" fmla="*/ 181926 w 1791496"/>
                    <a:gd name="connsiteY124" fmla="*/ 138318 h 347742"/>
                    <a:gd name="connsiteX125" fmla="*/ 35553 w 1791496"/>
                    <a:gd name="connsiteY125" fmla="*/ 138318 h 347742"/>
                    <a:gd name="connsiteX126" fmla="*/ 71106 w 1791496"/>
                    <a:gd name="connsiteY126" fmla="*/ 173871 h 347742"/>
                    <a:gd name="connsiteX127" fmla="*/ 35553 w 1791496"/>
                    <a:gd name="connsiteY127" fmla="*/ 209424 h 347742"/>
                    <a:gd name="connsiteX128" fmla="*/ 0 w 1791496"/>
                    <a:gd name="connsiteY128" fmla="*/ 173871 h 347742"/>
                    <a:gd name="connsiteX129" fmla="*/ 35553 w 1791496"/>
                    <a:gd name="connsiteY129" fmla="*/ 138318 h 347742"/>
                    <a:gd name="connsiteX130" fmla="*/ 1755943 w 1791496"/>
                    <a:gd name="connsiteY130" fmla="*/ 0 h 347742"/>
                    <a:gd name="connsiteX131" fmla="*/ 1791496 w 1791496"/>
                    <a:gd name="connsiteY131" fmla="*/ 35553 h 347742"/>
                    <a:gd name="connsiteX132" fmla="*/ 1755943 w 1791496"/>
                    <a:gd name="connsiteY132" fmla="*/ 71106 h 347742"/>
                    <a:gd name="connsiteX133" fmla="*/ 1720390 w 1791496"/>
                    <a:gd name="connsiteY133" fmla="*/ 35553 h 347742"/>
                    <a:gd name="connsiteX134" fmla="*/ 1755943 w 1791496"/>
                    <a:gd name="connsiteY134" fmla="*/ 0 h 347742"/>
                    <a:gd name="connsiteX135" fmla="*/ 1612854 w 1791496"/>
                    <a:gd name="connsiteY135" fmla="*/ 0 h 347742"/>
                    <a:gd name="connsiteX136" fmla="*/ 1648407 w 1791496"/>
                    <a:gd name="connsiteY136" fmla="*/ 35553 h 347742"/>
                    <a:gd name="connsiteX137" fmla="*/ 1612854 w 1791496"/>
                    <a:gd name="connsiteY137" fmla="*/ 71106 h 347742"/>
                    <a:gd name="connsiteX138" fmla="*/ 1577301 w 1791496"/>
                    <a:gd name="connsiteY138" fmla="*/ 35553 h 347742"/>
                    <a:gd name="connsiteX139" fmla="*/ 1612854 w 1791496"/>
                    <a:gd name="connsiteY139" fmla="*/ 0 h 347742"/>
                    <a:gd name="connsiteX140" fmla="*/ 1469760 w 1791496"/>
                    <a:gd name="connsiteY140" fmla="*/ 0 h 347742"/>
                    <a:gd name="connsiteX141" fmla="*/ 1505313 w 1791496"/>
                    <a:gd name="connsiteY141" fmla="*/ 35553 h 347742"/>
                    <a:gd name="connsiteX142" fmla="*/ 1469760 w 1791496"/>
                    <a:gd name="connsiteY142" fmla="*/ 71106 h 347742"/>
                    <a:gd name="connsiteX143" fmla="*/ 1434207 w 1791496"/>
                    <a:gd name="connsiteY143" fmla="*/ 35553 h 347742"/>
                    <a:gd name="connsiteX144" fmla="*/ 1469760 w 1791496"/>
                    <a:gd name="connsiteY144" fmla="*/ 0 h 347742"/>
                    <a:gd name="connsiteX145" fmla="*/ 1326667 w 1791496"/>
                    <a:gd name="connsiteY145" fmla="*/ 0 h 347742"/>
                    <a:gd name="connsiteX146" fmla="*/ 1362220 w 1791496"/>
                    <a:gd name="connsiteY146" fmla="*/ 35553 h 347742"/>
                    <a:gd name="connsiteX147" fmla="*/ 1326667 w 1791496"/>
                    <a:gd name="connsiteY147" fmla="*/ 71106 h 347742"/>
                    <a:gd name="connsiteX148" fmla="*/ 1291114 w 1791496"/>
                    <a:gd name="connsiteY148" fmla="*/ 35553 h 347742"/>
                    <a:gd name="connsiteX149" fmla="*/ 1326667 w 1791496"/>
                    <a:gd name="connsiteY149" fmla="*/ 0 h 347742"/>
                    <a:gd name="connsiteX150" fmla="*/ 1183573 w 1791496"/>
                    <a:gd name="connsiteY150" fmla="*/ 0 h 347742"/>
                    <a:gd name="connsiteX151" fmla="*/ 1219126 w 1791496"/>
                    <a:gd name="connsiteY151" fmla="*/ 35553 h 347742"/>
                    <a:gd name="connsiteX152" fmla="*/ 1183573 w 1791496"/>
                    <a:gd name="connsiteY152" fmla="*/ 71106 h 347742"/>
                    <a:gd name="connsiteX153" fmla="*/ 1148020 w 1791496"/>
                    <a:gd name="connsiteY153" fmla="*/ 35553 h 347742"/>
                    <a:gd name="connsiteX154" fmla="*/ 1183573 w 1791496"/>
                    <a:gd name="connsiteY154" fmla="*/ 0 h 347742"/>
                    <a:gd name="connsiteX155" fmla="*/ 1040480 w 1791496"/>
                    <a:gd name="connsiteY155" fmla="*/ 0 h 347742"/>
                    <a:gd name="connsiteX156" fmla="*/ 1076033 w 1791496"/>
                    <a:gd name="connsiteY156" fmla="*/ 35553 h 347742"/>
                    <a:gd name="connsiteX157" fmla="*/ 1040480 w 1791496"/>
                    <a:gd name="connsiteY157" fmla="*/ 71106 h 347742"/>
                    <a:gd name="connsiteX158" fmla="*/ 1004927 w 1791496"/>
                    <a:gd name="connsiteY158" fmla="*/ 35553 h 347742"/>
                    <a:gd name="connsiteX159" fmla="*/ 1040480 w 1791496"/>
                    <a:gd name="connsiteY159" fmla="*/ 0 h 347742"/>
                    <a:gd name="connsiteX160" fmla="*/ 897387 w 1791496"/>
                    <a:gd name="connsiteY160" fmla="*/ 0 h 347742"/>
                    <a:gd name="connsiteX161" fmla="*/ 932940 w 1791496"/>
                    <a:gd name="connsiteY161" fmla="*/ 35553 h 347742"/>
                    <a:gd name="connsiteX162" fmla="*/ 897387 w 1791496"/>
                    <a:gd name="connsiteY162" fmla="*/ 71106 h 347742"/>
                    <a:gd name="connsiteX163" fmla="*/ 861834 w 1791496"/>
                    <a:gd name="connsiteY163" fmla="*/ 35553 h 347742"/>
                    <a:gd name="connsiteX164" fmla="*/ 897387 w 1791496"/>
                    <a:gd name="connsiteY164" fmla="*/ 0 h 347742"/>
                    <a:gd name="connsiteX165" fmla="*/ 754293 w 1791496"/>
                    <a:gd name="connsiteY165" fmla="*/ 0 h 347742"/>
                    <a:gd name="connsiteX166" fmla="*/ 789846 w 1791496"/>
                    <a:gd name="connsiteY166" fmla="*/ 35553 h 347742"/>
                    <a:gd name="connsiteX167" fmla="*/ 754293 w 1791496"/>
                    <a:gd name="connsiteY167" fmla="*/ 71106 h 347742"/>
                    <a:gd name="connsiteX168" fmla="*/ 718740 w 1791496"/>
                    <a:gd name="connsiteY168" fmla="*/ 35553 h 347742"/>
                    <a:gd name="connsiteX169" fmla="*/ 754293 w 1791496"/>
                    <a:gd name="connsiteY169" fmla="*/ 0 h 347742"/>
                    <a:gd name="connsiteX170" fmla="*/ 611200 w 1791496"/>
                    <a:gd name="connsiteY170" fmla="*/ 0 h 347742"/>
                    <a:gd name="connsiteX171" fmla="*/ 646753 w 1791496"/>
                    <a:gd name="connsiteY171" fmla="*/ 35553 h 347742"/>
                    <a:gd name="connsiteX172" fmla="*/ 611200 w 1791496"/>
                    <a:gd name="connsiteY172" fmla="*/ 71106 h 347742"/>
                    <a:gd name="connsiteX173" fmla="*/ 575647 w 1791496"/>
                    <a:gd name="connsiteY173" fmla="*/ 35553 h 347742"/>
                    <a:gd name="connsiteX174" fmla="*/ 611200 w 1791496"/>
                    <a:gd name="connsiteY174" fmla="*/ 0 h 347742"/>
                    <a:gd name="connsiteX175" fmla="*/ 468107 w 1791496"/>
                    <a:gd name="connsiteY175" fmla="*/ 0 h 347742"/>
                    <a:gd name="connsiteX176" fmla="*/ 503660 w 1791496"/>
                    <a:gd name="connsiteY176" fmla="*/ 35553 h 347742"/>
                    <a:gd name="connsiteX177" fmla="*/ 468107 w 1791496"/>
                    <a:gd name="connsiteY177" fmla="*/ 71106 h 347742"/>
                    <a:gd name="connsiteX178" fmla="*/ 432554 w 1791496"/>
                    <a:gd name="connsiteY178" fmla="*/ 35553 h 347742"/>
                    <a:gd name="connsiteX179" fmla="*/ 468107 w 1791496"/>
                    <a:gd name="connsiteY179" fmla="*/ 0 h 347742"/>
                    <a:gd name="connsiteX180" fmla="*/ 325015 w 1791496"/>
                    <a:gd name="connsiteY180" fmla="*/ 0 h 347742"/>
                    <a:gd name="connsiteX181" fmla="*/ 360568 w 1791496"/>
                    <a:gd name="connsiteY181" fmla="*/ 35553 h 347742"/>
                    <a:gd name="connsiteX182" fmla="*/ 325015 w 1791496"/>
                    <a:gd name="connsiteY182" fmla="*/ 71106 h 347742"/>
                    <a:gd name="connsiteX183" fmla="*/ 289462 w 1791496"/>
                    <a:gd name="connsiteY183" fmla="*/ 35553 h 347742"/>
                    <a:gd name="connsiteX184" fmla="*/ 325015 w 1791496"/>
                    <a:gd name="connsiteY184" fmla="*/ 0 h 347742"/>
                    <a:gd name="connsiteX185" fmla="*/ 181926 w 1791496"/>
                    <a:gd name="connsiteY185" fmla="*/ 0 h 347742"/>
                    <a:gd name="connsiteX186" fmla="*/ 217479 w 1791496"/>
                    <a:gd name="connsiteY186" fmla="*/ 35553 h 347742"/>
                    <a:gd name="connsiteX187" fmla="*/ 181926 w 1791496"/>
                    <a:gd name="connsiteY187" fmla="*/ 71106 h 347742"/>
                    <a:gd name="connsiteX188" fmla="*/ 146373 w 1791496"/>
                    <a:gd name="connsiteY188" fmla="*/ 35553 h 347742"/>
                    <a:gd name="connsiteX189" fmla="*/ 181926 w 1791496"/>
                    <a:gd name="connsiteY189" fmla="*/ 0 h 347742"/>
                    <a:gd name="connsiteX190" fmla="*/ 35553 w 1791496"/>
                    <a:gd name="connsiteY190" fmla="*/ 0 h 347742"/>
                    <a:gd name="connsiteX191" fmla="*/ 71106 w 1791496"/>
                    <a:gd name="connsiteY191" fmla="*/ 35553 h 347742"/>
                    <a:gd name="connsiteX192" fmla="*/ 35553 w 1791496"/>
                    <a:gd name="connsiteY192" fmla="*/ 71106 h 347742"/>
                    <a:gd name="connsiteX193" fmla="*/ 0 w 1791496"/>
                    <a:gd name="connsiteY193" fmla="*/ 35553 h 347742"/>
                    <a:gd name="connsiteX194" fmla="*/ 35553 w 1791496"/>
                    <a:gd name="connsiteY194" fmla="*/ 0 h 347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Lst>
                  <a:rect l="l" t="t" r="r" b="b"/>
                  <a:pathLst>
                    <a:path w="1791496" h="347742">
                      <a:moveTo>
                        <a:pt x="1755943" y="276636"/>
                      </a:moveTo>
                      <a:cubicBezTo>
                        <a:pt x="1775578" y="276636"/>
                        <a:pt x="1791496" y="292554"/>
                        <a:pt x="1791496" y="312189"/>
                      </a:cubicBezTo>
                      <a:cubicBezTo>
                        <a:pt x="1791496" y="331824"/>
                        <a:pt x="1775578" y="347742"/>
                        <a:pt x="1755943" y="347742"/>
                      </a:cubicBezTo>
                      <a:cubicBezTo>
                        <a:pt x="1736308" y="347742"/>
                        <a:pt x="1720390" y="331824"/>
                        <a:pt x="1720390" y="312189"/>
                      </a:cubicBezTo>
                      <a:cubicBezTo>
                        <a:pt x="1720390" y="292554"/>
                        <a:pt x="1736308" y="276636"/>
                        <a:pt x="1755943" y="276636"/>
                      </a:cubicBezTo>
                      <a:close/>
                      <a:moveTo>
                        <a:pt x="1612854" y="276636"/>
                      </a:moveTo>
                      <a:cubicBezTo>
                        <a:pt x="1632489" y="276636"/>
                        <a:pt x="1648407" y="292554"/>
                        <a:pt x="1648407" y="312189"/>
                      </a:cubicBezTo>
                      <a:cubicBezTo>
                        <a:pt x="1648407" y="331824"/>
                        <a:pt x="1632489" y="347742"/>
                        <a:pt x="1612854" y="347742"/>
                      </a:cubicBezTo>
                      <a:cubicBezTo>
                        <a:pt x="1593219" y="347742"/>
                        <a:pt x="1577301" y="331824"/>
                        <a:pt x="1577301" y="312189"/>
                      </a:cubicBezTo>
                      <a:cubicBezTo>
                        <a:pt x="1577301" y="292554"/>
                        <a:pt x="1593219" y="276636"/>
                        <a:pt x="1612854" y="276636"/>
                      </a:cubicBezTo>
                      <a:close/>
                      <a:moveTo>
                        <a:pt x="1469760" y="276636"/>
                      </a:moveTo>
                      <a:cubicBezTo>
                        <a:pt x="1489395" y="276636"/>
                        <a:pt x="1505313" y="292554"/>
                        <a:pt x="1505313" y="312189"/>
                      </a:cubicBezTo>
                      <a:cubicBezTo>
                        <a:pt x="1505313" y="331824"/>
                        <a:pt x="1489395" y="347742"/>
                        <a:pt x="1469760" y="347742"/>
                      </a:cubicBezTo>
                      <a:cubicBezTo>
                        <a:pt x="1450125" y="347742"/>
                        <a:pt x="1434207" y="331824"/>
                        <a:pt x="1434207" y="312189"/>
                      </a:cubicBezTo>
                      <a:cubicBezTo>
                        <a:pt x="1434207" y="292554"/>
                        <a:pt x="1450125" y="276636"/>
                        <a:pt x="1469760" y="276636"/>
                      </a:cubicBezTo>
                      <a:close/>
                      <a:moveTo>
                        <a:pt x="1326667" y="276636"/>
                      </a:moveTo>
                      <a:cubicBezTo>
                        <a:pt x="1346302" y="276636"/>
                        <a:pt x="1362220" y="292554"/>
                        <a:pt x="1362220" y="312189"/>
                      </a:cubicBezTo>
                      <a:cubicBezTo>
                        <a:pt x="1362220" y="331824"/>
                        <a:pt x="1346302" y="347742"/>
                        <a:pt x="1326667" y="347742"/>
                      </a:cubicBezTo>
                      <a:cubicBezTo>
                        <a:pt x="1307032" y="347742"/>
                        <a:pt x="1291114" y="331824"/>
                        <a:pt x="1291114" y="312189"/>
                      </a:cubicBezTo>
                      <a:cubicBezTo>
                        <a:pt x="1291114" y="292554"/>
                        <a:pt x="1307032" y="276636"/>
                        <a:pt x="1326667" y="276636"/>
                      </a:cubicBezTo>
                      <a:close/>
                      <a:moveTo>
                        <a:pt x="1183573" y="276636"/>
                      </a:moveTo>
                      <a:cubicBezTo>
                        <a:pt x="1203208" y="276636"/>
                        <a:pt x="1219126" y="292554"/>
                        <a:pt x="1219126" y="312189"/>
                      </a:cubicBezTo>
                      <a:cubicBezTo>
                        <a:pt x="1219126" y="331824"/>
                        <a:pt x="1203208" y="347742"/>
                        <a:pt x="1183573" y="347742"/>
                      </a:cubicBezTo>
                      <a:cubicBezTo>
                        <a:pt x="1163938" y="347742"/>
                        <a:pt x="1148020" y="331824"/>
                        <a:pt x="1148020" y="312189"/>
                      </a:cubicBezTo>
                      <a:cubicBezTo>
                        <a:pt x="1148020" y="292554"/>
                        <a:pt x="1163938" y="276636"/>
                        <a:pt x="1183573" y="276636"/>
                      </a:cubicBezTo>
                      <a:close/>
                      <a:moveTo>
                        <a:pt x="1040480" y="276636"/>
                      </a:moveTo>
                      <a:cubicBezTo>
                        <a:pt x="1060115" y="276636"/>
                        <a:pt x="1076033" y="292554"/>
                        <a:pt x="1076033" y="312189"/>
                      </a:cubicBezTo>
                      <a:cubicBezTo>
                        <a:pt x="1076033" y="331824"/>
                        <a:pt x="1060115" y="347742"/>
                        <a:pt x="1040480" y="347742"/>
                      </a:cubicBezTo>
                      <a:cubicBezTo>
                        <a:pt x="1020845" y="347742"/>
                        <a:pt x="1004927" y="331824"/>
                        <a:pt x="1004927" y="312189"/>
                      </a:cubicBezTo>
                      <a:cubicBezTo>
                        <a:pt x="1004927" y="292554"/>
                        <a:pt x="1020845" y="276636"/>
                        <a:pt x="1040480" y="276636"/>
                      </a:cubicBezTo>
                      <a:close/>
                      <a:moveTo>
                        <a:pt x="897387" y="276636"/>
                      </a:moveTo>
                      <a:cubicBezTo>
                        <a:pt x="917022" y="276636"/>
                        <a:pt x="932940" y="292554"/>
                        <a:pt x="932940" y="312189"/>
                      </a:cubicBezTo>
                      <a:cubicBezTo>
                        <a:pt x="932940" y="331824"/>
                        <a:pt x="917022" y="347742"/>
                        <a:pt x="897387" y="347742"/>
                      </a:cubicBezTo>
                      <a:cubicBezTo>
                        <a:pt x="877752" y="347742"/>
                        <a:pt x="861834" y="331824"/>
                        <a:pt x="861834" y="312189"/>
                      </a:cubicBezTo>
                      <a:cubicBezTo>
                        <a:pt x="861834" y="292554"/>
                        <a:pt x="877752" y="276636"/>
                        <a:pt x="897387" y="276636"/>
                      </a:cubicBezTo>
                      <a:close/>
                      <a:moveTo>
                        <a:pt x="754293" y="276636"/>
                      </a:moveTo>
                      <a:cubicBezTo>
                        <a:pt x="773928" y="276636"/>
                        <a:pt x="789846" y="292554"/>
                        <a:pt x="789846" y="312189"/>
                      </a:cubicBezTo>
                      <a:cubicBezTo>
                        <a:pt x="789846" y="331824"/>
                        <a:pt x="773928" y="347742"/>
                        <a:pt x="754293" y="347742"/>
                      </a:cubicBezTo>
                      <a:cubicBezTo>
                        <a:pt x="734658" y="347742"/>
                        <a:pt x="718740" y="331824"/>
                        <a:pt x="718740" y="312189"/>
                      </a:cubicBezTo>
                      <a:cubicBezTo>
                        <a:pt x="718740" y="292554"/>
                        <a:pt x="734658" y="276636"/>
                        <a:pt x="754293" y="276636"/>
                      </a:cubicBezTo>
                      <a:close/>
                      <a:moveTo>
                        <a:pt x="611200" y="276636"/>
                      </a:moveTo>
                      <a:cubicBezTo>
                        <a:pt x="630835" y="276636"/>
                        <a:pt x="646753" y="292554"/>
                        <a:pt x="646753" y="312189"/>
                      </a:cubicBezTo>
                      <a:cubicBezTo>
                        <a:pt x="646753" y="331824"/>
                        <a:pt x="630835" y="347742"/>
                        <a:pt x="611200" y="347742"/>
                      </a:cubicBezTo>
                      <a:cubicBezTo>
                        <a:pt x="591565" y="347742"/>
                        <a:pt x="575647" y="331824"/>
                        <a:pt x="575647" y="312189"/>
                      </a:cubicBezTo>
                      <a:cubicBezTo>
                        <a:pt x="575647" y="292554"/>
                        <a:pt x="591565" y="276636"/>
                        <a:pt x="611200" y="276636"/>
                      </a:cubicBezTo>
                      <a:close/>
                      <a:moveTo>
                        <a:pt x="468107" y="276636"/>
                      </a:moveTo>
                      <a:cubicBezTo>
                        <a:pt x="487742" y="276636"/>
                        <a:pt x="503660" y="292554"/>
                        <a:pt x="503660" y="312189"/>
                      </a:cubicBezTo>
                      <a:cubicBezTo>
                        <a:pt x="503660" y="331824"/>
                        <a:pt x="487742" y="347742"/>
                        <a:pt x="468107" y="347742"/>
                      </a:cubicBezTo>
                      <a:cubicBezTo>
                        <a:pt x="448472" y="347742"/>
                        <a:pt x="432554" y="331824"/>
                        <a:pt x="432554" y="312189"/>
                      </a:cubicBezTo>
                      <a:cubicBezTo>
                        <a:pt x="432554" y="292554"/>
                        <a:pt x="448472" y="276636"/>
                        <a:pt x="468107" y="276636"/>
                      </a:cubicBezTo>
                      <a:close/>
                      <a:moveTo>
                        <a:pt x="325015" y="276636"/>
                      </a:moveTo>
                      <a:cubicBezTo>
                        <a:pt x="344650" y="276636"/>
                        <a:pt x="360568" y="292554"/>
                        <a:pt x="360568" y="312189"/>
                      </a:cubicBezTo>
                      <a:cubicBezTo>
                        <a:pt x="360568" y="331824"/>
                        <a:pt x="344650" y="347742"/>
                        <a:pt x="325015" y="347742"/>
                      </a:cubicBezTo>
                      <a:cubicBezTo>
                        <a:pt x="305380" y="347742"/>
                        <a:pt x="289462" y="331824"/>
                        <a:pt x="289462" y="312189"/>
                      </a:cubicBezTo>
                      <a:cubicBezTo>
                        <a:pt x="289462" y="292554"/>
                        <a:pt x="305380" y="276636"/>
                        <a:pt x="325015" y="276636"/>
                      </a:cubicBezTo>
                      <a:close/>
                      <a:moveTo>
                        <a:pt x="181926" y="276636"/>
                      </a:moveTo>
                      <a:cubicBezTo>
                        <a:pt x="201561" y="276636"/>
                        <a:pt x="217479" y="292554"/>
                        <a:pt x="217479" y="312189"/>
                      </a:cubicBezTo>
                      <a:cubicBezTo>
                        <a:pt x="217479" y="331824"/>
                        <a:pt x="201561" y="347742"/>
                        <a:pt x="181926" y="347742"/>
                      </a:cubicBezTo>
                      <a:cubicBezTo>
                        <a:pt x="162291" y="347742"/>
                        <a:pt x="146373" y="331824"/>
                        <a:pt x="146373" y="312189"/>
                      </a:cubicBezTo>
                      <a:cubicBezTo>
                        <a:pt x="146373" y="292554"/>
                        <a:pt x="162291" y="276636"/>
                        <a:pt x="181926" y="276636"/>
                      </a:cubicBezTo>
                      <a:close/>
                      <a:moveTo>
                        <a:pt x="35553" y="276636"/>
                      </a:moveTo>
                      <a:cubicBezTo>
                        <a:pt x="55188" y="276636"/>
                        <a:pt x="71106" y="292554"/>
                        <a:pt x="71106" y="312189"/>
                      </a:cubicBezTo>
                      <a:cubicBezTo>
                        <a:pt x="71106" y="331824"/>
                        <a:pt x="55188" y="347742"/>
                        <a:pt x="35553" y="347742"/>
                      </a:cubicBezTo>
                      <a:cubicBezTo>
                        <a:pt x="15918" y="347742"/>
                        <a:pt x="0" y="331824"/>
                        <a:pt x="0" y="312189"/>
                      </a:cubicBezTo>
                      <a:cubicBezTo>
                        <a:pt x="0" y="292554"/>
                        <a:pt x="15918" y="276636"/>
                        <a:pt x="35553" y="276636"/>
                      </a:cubicBezTo>
                      <a:close/>
                      <a:moveTo>
                        <a:pt x="1755943" y="138318"/>
                      </a:moveTo>
                      <a:cubicBezTo>
                        <a:pt x="1775578" y="138318"/>
                        <a:pt x="1791496" y="154236"/>
                        <a:pt x="1791496" y="173871"/>
                      </a:cubicBezTo>
                      <a:cubicBezTo>
                        <a:pt x="1791496" y="193506"/>
                        <a:pt x="1775578" y="209424"/>
                        <a:pt x="1755943" y="209424"/>
                      </a:cubicBezTo>
                      <a:cubicBezTo>
                        <a:pt x="1736308" y="209424"/>
                        <a:pt x="1720390" y="193506"/>
                        <a:pt x="1720390" y="173871"/>
                      </a:cubicBezTo>
                      <a:cubicBezTo>
                        <a:pt x="1720390" y="154236"/>
                        <a:pt x="1736308" y="138318"/>
                        <a:pt x="1755943" y="138318"/>
                      </a:cubicBezTo>
                      <a:close/>
                      <a:moveTo>
                        <a:pt x="1612854" y="138318"/>
                      </a:moveTo>
                      <a:cubicBezTo>
                        <a:pt x="1632489" y="138318"/>
                        <a:pt x="1648407" y="154236"/>
                        <a:pt x="1648407" y="173871"/>
                      </a:cubicBezTo>
                      <a:cubicBezTo>
                        <a:pt x="1648407" y="193506"/>
                        <a:pt x="1632489" y="209424"/>
                        <a:pt x="1612854" y="209424"/>
                      </a:cubicBezTo>
                      <a:cubicBezTo>
                        <a:pt x="1593219" y="209424"/>
                        <a:pt x="1577301" y="193506"/>
                        <a:pt x="1577301" y="173871"/>
                      </a:cubicBezTo>
                      <a:cubicBezTo>
                        <a:pt x="1577301" y="154236"/>
                        <a:pt x="1593219" y="138318"/>
                        <a:pt x="1612854" y="138318"/>
                      </a:cubicBezTo>
                      <a:close/>
                      <a:moveTo>
                        <a:pt x="1469760" y="138318"/>
                      </a:moveTo>
                      <a:cubicBezTo>
                        <a:pt x="1489395" y="138318"/>
                        <a:pt x="1505313" y="154236"/>
                        <a:pt x="1505313" y="173871"/>
                      </a:cubicBezTo>
                      <a:cubicBezTo>
                        <a:pt x="1505313" y="193506"/>
                        <a:pt x="1489395" y="209424"/>
                        <a:pt x="1469760" y="209424"/>
                      </a:cubicBezTo>
                      <a:cubicBezTo>
                        <a:pt x="1450125" y="209424"/>
                        <a:pt x="1434207" y="193506"/>
                        <a:pt x="1434207" y="173871"/>
                      </a:cubicBezTo>
                      <a:cubicBezTo>
                        <a:pt x="1434207" y="154236"/>
                        <a:pt x="1450125" y="138318"/>
                        <a:pt x="1469760" y="138318"/>
                      </a:cubicBezTo>
                      <a:close/>
                      <a:moveTo>
                        <a:pt x="1326667" y="138318"/>
                      </a:moveTo>
                      <a:cubicBezTo>
                        <a:pt x="1346302" y="138318"/>
                        <a:pt x="1362220" y="154236"/>
                        <a:pt x="1362220" y="173871"/>
                      </a:cubicBezTo>
                      <a:cubicBezTo>
                        <a:pt x="1362220" y="193506"/>
                        <a:pt x="1346302" y="209424"/>
                        <a:pt x="1326667" y="209424"/>
                      </a:cubicBezTo>
                      <a:cubicBezTo>
                        <a:pt x="1307032" y="209424"/>
                        <a:pt x="1291114" y="193506"/>
                        <a:pt x="1291114" y="173871"/>
                      </a:cubicBezTo>
                      <a:cubicBezTo>
                        <a:pt x="1291114" y="154236"/>
                        <a:pt x="1307032" y="138318"/>
                        <a:pt x="1326667" y="138318"/>
                      </a:cubicBezTo>
                      <a:close/>
                      <a:moveTo>
                        <a:pt x="1183573" y="138318"/>
                      </a:moveTo>
                      <a:cubicBezTo>
                        <a:pt x="1203208" y="138318"/>
                        <a:pt x="1219126" y="154236"/>
                        <a:pt x="1219126" y="173871"/>
                      </a:cubicBezTo>
                      <a:cubicBezTo>
                        <a:pt x="1219126" y="193506"/>
                        <a:pt x="1203208" y="209424"/>
                        <a:pt x="1183573" y="209424"/>
                      </a:cubicBezTo>
                      <a:cubicBezTo>
                        <a:pt x="1163938" y="209424"/>
                        <a:pt x="1148020" y="193506"/>
                        <a:pt x="1148020" y="173871"/>
                      </a:cubicBezTo>
                      <a:cubicBezTo>
                        <a:pt x="1148020" y="154236"/>
                        <a:pt x="1163938" y="138318"/>
                        <a:pt x="1183573" y="138318"/>
                      </a:cubicBezTo>
                      <a:close/>
                      <a:moveTo>
                        <a:pt x="1040480" y="138318"/>
                      </a:moveTo>
                      <a:cubicBezTo>
                        <a:pt x="1060115" y="138318"/>
                        <a:pt x="1076033" y="154236"/>
                        <a:pt x="1076033" y="173871"/>
                      </a:cubicBezTo>
                      <a:cubicBezTo>
                        <a:pt x="1076033" y="193506"/>
                        <a:pt x="1060115" y="209424"/>
                        <a:pt x="1040480" y="209424"/>
                      </a:cubicBezTo>
                      <a:cubicBezTo>
                        <a:pt x="1020845" y="209424"/>
                        <a:pt x="1004927" y="193506"/>
                        <a:pt x="1004927" y="173871"/>
                      </a:cubicBezTo>
                      <a:cubicBezTo>
                        <a:pt x="1004927" y="154236"/>
                        <a:pt x="1020845" y="138318"/>
                        <a:pt x="1040480" y="138318"/>
                      </a:cubicBezTo>
                      <a:close/>
                      <a:moveTo>
                        <a:pt x="897387" y="138318"/>
                      </a:moveTo>
                      <a:cubicBezTo>
                        <a:pt x="917022" y="138318"/>
                        <a:pt x="932940" y="154236"/>
                        <a:pt x="932940" y="173871"/>
                      </a:cubicBezTo>
                      <a:cubicBezTo>
                        <a:pt x="932940" y="193506"/>
                        <a:pt x="917022" y="209424"/>
                        <a:pt x="897387" y="209424"/>
                      </a:cubicBezTo>
                      <a:cubicBezTo>
                        <a:pt x="877752" y="209424"/>
                        <a:pt x="861834" y="193506"/>
                        <a:pt x="861834" y="173871"/>
                      </a:cubicBezTo>
                      <a:cubicBezTo>
                        <a:pt x="861834" y="154236"/>
                        <a:pt x="877752" y="138318"/>
                        <a:pt x="897387" y="138318"/>
                      </a:cubicBezTo>
                      <a:close/>
                      <a:moveTo>
                        <a:pt x="754293" y="138318"/>
                      </a:moveTo>
                      <a:cubicBezTo>
                        <a:pt x="773928" y="138318"/>
                        <a:pt x="789846" y="154236"/>
                        <a:pt x="789846" y="173871"/>
                      </a:cubicBezTo>
                      <a:cubicBezTo>
                        <a:pt x="789846" y="193506"/>
                        <a:pt x="773928" y="209424"/>
                        <a:pt x="754293" y="209424"/>
                      </a:cubicBezTo>
                      <a:cubicBezTo>
                        <a:pt x="734658" y="209424"/>
                        <a:pt x="718740" y="193506"/>
                        <a:pt x="718740" y="173871"/>
                      </a:cubicBezTo>
                      <a:cubicBezTo>
                        <a:pt x="718740" y="154236"/>
                        <a:pt x="734658" y="138318"/>
                        <a:pt x="754293" y="138318"/>
                      </a:cubicBezTo>
                      <a:close/>
                      <a:moveTo>
                        <a:pt x="611200" y="138318"/>
                      </a:moveTo>
                      <a:cubicBezTo>
                        <a:pt x="630835" y="138318"/>
                        <a:pt x="646753" y="154236"/>
                        <a:pt x="646753" y="173871"/>
                      </a:cubicBezTo>
                      <a:cubicBezTo>
                        <a:pt x="646753" y="193506"/>
                        <a:pt x="630835" y="209424"/>
                        <a:pt x="611200" y="209424"/>
                      </a:cubicBezTo>
                      <a:cubicBezTo>
                        <a:pt x="591565" y="209424"/>
                        <a:pt x="575647" y="193506"/>
                        <a:pt x="575647" y="173871"/>
                      </a:cubicBezTo>
                      <a:cubicBezTo>
                        <a:pt x="575647" y="154236"/>
                        <a:pt x="591565" y="138318"/>
                        <a:pt x="611200" y="138318"/>
                      </a:cubicBezTo>
                      <a:close/>
                      <a:moveTo>
                        <a:pt x="468107" y="138318"/>
                      </a:moveTo>
                      <a:cubicBezTo>
                        <a:pt x="487742" y="138318"/>
                        <a:pt x="503660" y="154236"/>
                        <a:pt x="503660" y="173871"/>
                      </a:cubicBezTo>
                      <a:cubicBezTo>
                        <a:pt x="503660" y="193506"/>
                        <a:pt x="487742" y="209424"/>
                        <a:pt x="468107" y="209424"/>
                      </a:cubicBezTo>
                      <a:cubicBezTo>
                        <a:pt x="448472" y="209424"/>
                        <a:pt x="432554" y="193506"/>
                        <a:pt x="432554" y="173871"/>
                      </a:cubicBezTo>
                      <a:cubicBezTo>
                        <a:pt x="432554" y="154236"/>
                        <a:pt x="448472" y="138318"/>
                        <a:pt x="468107" y="138318"/>
                      </a:cubicBezTo>
                      <a:close/>
                      <a:moveTo>
                        <a:pt x="325015" y="138318"/>
                      </a:moveTo>
                      <a:cubicBezTo>
                        <a:pt x="344650" y="138318"/>
                        <a:pt x="360568" y="154236"/>
                        <a:pt x="360568" y="173871"/>
                      </a:cubicBezTo>
                      <a:cubicBezTo>
                        <a:pt x="360568" y="193506"/>
                        <a:pt x="344650" y="209424"/>
                        <a:pt x="325015" y="209424"/>
                      </a:cubicBezTo>
                      <a:cubicBezTo>
                        <a:pt x="305380" y="209424"/>
                        <a:pt x="289462" y="193506"/>
                        <a:pt x="289462" y="173871"/>
                      </a:cubicBezTo>
                      <a:cubicBezTo>
                        <a:pt x="289462" y="154236"/>
                        <a:pt x="305380" y="138318"/>
                        <a:pt x="325015" y="138318"/>
                      </a:cubicBezTo>
                      <a:close/>
                      <a:moveTo>
                        <a:pt x="181926" y="138318"/>
                      </a:moveTo>
                      <a:cubicBezTo>
                        <a:pt x="201561" y="138318"/>
                        <a:pt x="217479" y="154236"/>
                        <a:pt x="217479" y="173871"/>
                      </a:cubicBezTo>
                      <a:cubicBezTo>
                        <a:pt x="217479" y="193506"/>
                        <a:pt x="201561" y="209424"/>
                        <a:pt x="181926" y="209424"/>
                      </a:cubicBezTo>
                      <a:cubicBezTo>
                        <a:pt x="162291" y="209424"/>
                        <a:pt x="146373" y="193506"/>
                        <a:pt x="146373" y="173871"/>
                      </a:cubicBezTo>
                      <a:cubicBezTo>
                        <a:pt x="146373" y="154236"/>
                        <a:pt x="162291" y="138318"/>
                        <a:pt x="181926" y="138318"/>
                      </a:cubicBezTo>
                      <a:close/>
                      <a:moveTo>
                        <a:pt x="35553" y="138318"/>
                      </a:moveTo>
                      <a:cubicBezTo>
                        <a:pt x="55188" y="138318"/>
                        <a:pt x="71106" y="154236"/>
                        <a:pt x="71106" y="173871"/>
                      </a:cubicBezTo>
                      <a:cubicBezTo>
                        <a:pt x="71106" y="193506"/>
                        <a:pt x="55188" y="209424"/>
                        <a:pt x="35553" y="209424"/>
                      </a:cubicBezTo>
                      <a:cubicBezTo>
                        <a:pt x="15918" y="209424"/>
                        <a:pt x="0" y="193506"/>
                        <a:pt x="0" y="173871"/>
                      </a:cubicBezTo>
                      <a:cubicBezTo>
                        <a:pt x="0" y="154236"/>
                        <a:pt x="15918" y="138318"/>
                        <a:pt x="35553" y="138318"/>
                      </a:cubicBezTo>
                      <a:close/>
                      <a:moveTo>
                        <a:pt x="1755943" y="0"/>
                      </a:moveTo>
                      <a:cubicBezTo>
                        <a:pt x="1775578" y="0"/>
                        <a:pt x="1791496" y="15918"/>
                        <a:pt x="1791496" y="35553"/>
                      </a:cubicBezTo>
                      <a:cubicBezTo>
                        <a:pt x="1791496" y="55188"/>
                        <a:pt x="1775578" y="71106"/>
                        <a:pt x="1755943" y="71106"/>
                      </a:cubicBezTo>
                      <a:cubicBezTo>
                        <a:pt x="1736308" y="71106"/>
                        <a:pt x="1720390" y="55188"/>
                        <a:pt x="1720390" y="35553"/>
                      </a:cubicBezTo>
                      <a:cubicBezTo>
                        <a:pt x="1720390" y="15918"/>
                        <a:pt x="1736308" y="0"/>
                        <a:pt x="1755943" y="0"/>
                      </a:cubicBezTo>
                      <a:close/>
                      <a:moveTo>
                        <a:pt x="1612854" y="0"/>
                      </a:moveTo>
                      <a:cubicBezTo>
                        <a:pt x="1632489" y="0"/>
                        <a:pt x="1648407" y="15918"/>
                        <a:pt x="1648407" y="35553"/>
                      </a:cubicBezTo>
                      <a:cubicBezTo>
                        <a:pt x="1648407" y="55188"/>
                        <a:pt x="1632489" y="71106"/>
                        <a:pt x="1612854" y="71106"/>
                      </a:cubicBezTo>
                      <a:cubicBezTo>
                        <a:pt x="1593219" y="71106"/>
                        <a:pt x="1577301" y="55188"/>
                        <a:pt x="1577301" y="35553"/>
                      </a:cubicBezTo>
                      <a:cubicBezTo>
                        <a:pt x="1577301" y="15918"/>
                        <a:pt x="1593219" y="0"/>
                        <a:pt x="1612854" y="0"/>
                      </a:cubicBezTo>
                      <a:close/>
                      <a:moveTo>
                        <a:pt x="1469760" y="0"/>
                      </a:moveTo>
                      <a:cubicBezTo>
                        <a:pt x="1489395" y="0"/>
                        <a:pt x="1505313" y="15918"/>
                        <a:pt x="1505313" y="35553"/>
                      </a:cubicBezTo>
                      <a:cubicBezTo>
                        <a:pt x="1505313" y="55188"/>
                        <a:pt x="1489395" y="71106"/>
                        <a:pt x="1469760" y="71106"/>
                      </a:cubicBezTo>
                      <a:cubicBezTo>
                        <a:pt x="1450125" y="71106"/>
                        <a:pt x="1434207" y="55188"/>
                        <a:pt x="1434207" y="35553"/>
                      </a:cubicBezTo>
                      <a:cubicBezTo>
                        <a:pt x="1434207" y="15918"/>
                        <a:pt x="1450125" y="0"/>
                        <a:pt x="1469760" y="0"/>
                      </a:cubicBezTo>
                      <a:close/>
                      <a:moveTo>
                        <a:pt x="1326667" y="0"/>
                      </a:moveTo>
                      <a:cubicBezTo>
                        <a:pt x="1346302" y="0"/>
                        <a:pt x="1362220" y="15918"/>
                        <a:pt x="1362220" y="35553"/>
                      </a:cubicBezTo>
                      <a:cubicBezTo>
                        <a:pt x="1362220" y="55188"/>
                        <a:pt x="1346302" y="71106"/>
                        <a:pt x="1326667" y="71106"/>
                      </a:cubicBezTo>
                      <a:cubicBezTo>
                        <a:pt x="1307032" y="71106"/>
                        <a:pt x="1291114" y="55188"/>
                        <a:pt x="1291114" y="35553"/>
                      </a:cubicBezTo>
                      <a:cubicBezTo>
                        <a:pt x="1291114" y="15918"/>
                        <a:pt x="1307032" y="0"/>
                        <a:pt x="1326667" y="0"/>
                      </a:cubicBezTo>
                      <a:close/>
                      <a:moveTo>
                        <a:pt x="1183573" y="0"/>
                      </a:moveTo>
                      <a:cubicBezTo>
                        <a:pt x="1203208" y="0"/>
                        <a:pt x="1219126" y="15918"/>
                        <a:pt x="1219126" y="35553"/>
                      </a:cubicBezTo>
                      <a:cubicBezTo>
                        <a:pt x="1219126" y="55188"/>
                        <a:pt x="1203208" y="71106"/>
                        <a:pt x="1183573" y="71106"/>
                      </a:cubicBezTo>
                      <a:cubicBezTo>
                        <a:pt x="1163938" y="71106"/>
                        <a:pt x="1148020" y="55188"/>
                        <a:pt x="1148020" y="35553"/>
                      </a:cubicBezTo>
                      <a:cubicBezTo>
                        <a:pt x="1148020" y="15918"/>
                        <a:pt x="1163938" y="0"/>
                        <a:pt x="1183573" y="0"/>
                      </a:cubicBezTo>
                      <a:close/>
                      <a:moveTo>
                        <a:pt x="1040480" y="0"/>
                      </a:moveTo>
                      <a:cubicBezTo>
                        <a:pt x="1060115" y="0"/>
                        <a:pt x="1076033" y="15918"/>
                        <a:pt x="1076033" y="35553"/>
                      </a:cubicBezTo>
                      <a:cubicBezTo>
                        <a:pt x="1076033" y="55188"/>
                        <a:pt x="1060115" y="71106"/>
                        <a:pt x="1040480" y="71106"/>
                      </a:cubicBezTo>
                      <a:cubicBezTo>
                        <a:pt x="1020845" y="71106"/>
                        <a:pt x="1004927" y="55188"/>
                        <a:pt x="1004927" y="35553"/>
                      </a:cubicBezTo>
                      <a:cubicBezTo>
                        <a:pt x="1004927" y="15918"/>
                        <a:pt x="1020845" y="0"/>
                        <a:pt x="1040480" y="0"/>
                      </a:cubicBezTo>
                      <a:close/>
                      <a:moveTo>
                        <a:pt x="897387" y="0"/>
                      </a:moveTo>
                      <a:cubicBezTo>
                        <a:pt x="917022" y="0"/>
                        <a:pt x="932940" y="15918"/>
                        <a:pt x="932940" y="35553"/>
                      </a:cubicBezTo>
                      <a:cubicBezTo>
                        <a:pt x="932940" y="55188"/>
                        <a:pt x="917022" y="71106"/>
                        <a:pt x="897387" y="71106"/>
                      </a:cubicBezTo>
                      <a:cubicBezTo>
                        <a:pt x="877752" y="71106"/>
                        <a:pt x="861834" y="55188"/>
                        <a:pt x="861834" y="35553"/>
                      </a:cubicBezTo>
                      <a:cubicBezTo>
                        <a:pt x="861834" y="15918"/>
                        <a:pt x="877752" y="0"/>
                        <a:pt x="897387" y="0"/>
                      </a:cubicBezTo>
                      <a:close/>
                      <a:moveTo>
                        <a:pt x="754293" y="0"/>
                      </a:moveTo>
                      <a:cubicBezTo>
                        <a:pt x="773928" y="0"/>
                        <a:pt x="789846" y="15918"/>
                        <a:pt x="789846" y="35553"/>
                      </a:cubicBezTo>
                      <a:cubicBezTo>
                        <a:pt x="789846" y="55188"/>
                        <a:pt x="773928" y="71106"/>
                        <a:pt x="754293" y="71106"/>
                      </a:cubicBezTo>
                      <a:cubicBezTo>
                        <a:pt x="734658" y="71106"/>
                        <a:pt x="718740" y="55188"/>
                        <a:pt x="718740" y="35553"/>
                      </a:cubicBezTo>
                      <a:cubicBezTo>
                        <a:pt x="718740" y="15918"/>
                        <a:pt x="734658" y="0"/>
                        <a:pt x="754293" y="0"/>
                      </a:cubicBezTo>
                      <a:close/>
                      <a:moveTo>
                        <a:pt x="611200" y="0"/>
                      </a:moveTo>
                      <a:cubicBezTo>
                        <a:pt x="630835" y="0"/>
                        <a:pt x="646753" y="15918"/>
                        <a:pt x="646753" y="35553"/>
                      </a:cubicBezTo>
                      <a:cubicBezTo>
                        <a:pt x="646753" y="55188"/>
                        <a:pt x="630835" y="71106"/>
                        <a:pt x="611200" y="71106"/>
                      </a:cubicBezTo>
                      <a:cubicBezTo>
                        <a:pt x="591565" y="71106"/>
                        <a:pt x="575647" y="55188"/>
                        <a:pt x="575647" y="35553"/>
                      </a:cubicBezTo>
                      <a:cubicBezTo>
                        <a:pt x="575647" y="15918"/>
                        <a:pt x="591565" y="0"/>
                        <a:pt x="611200" y="0"/>
                      </a:cubicBezTo>
                      <a:close/>
                      <a:moveTo>
                        <a:pt x="468107" y="0"/>
                      </a:moveTo>
                      <a:cubicBezTo>
                        <a:pt x="487742" y="0"/>
                        <a:pt x="503660" y="15918"/>
                        <a:pt x="503660" y="35553"/>
                      </a:cubicBezTo>
                      <a:cubicBezTo>
                        <a:pt x="503660" y="55188"/>
                        <a:pt x="487742" y="71106"/>
                        <a:pt x="468107" y="71106"/>
                      </a:cubicBezTo>
                      <a:cubicBezTo>
                        <a:pt x="448472" y="71106"/>
                        <a:pt x="432554" y="55188"/>
                        <a:pt x="432554" y="35553"/>
                      </a:cubicBezTo>
                      <a:cubicBezTo>
                        <a:pt x="432554" y="15918"/>
                        <a:pt x="448472" y="0"/>
                        <a:pt x="468107" y="0"/>
                      </a:cubicBezTo>
                      <a:close/>
                      <a:moveTo>
                        <a:pt x="325015" y="0"/>
                      </a:moveTo>
                      <a:cubicBezTo>
                        <a:pt x="344650" y="0"/>
                        <a:pt x="360568" y="15918"/>
                        <a:pt x="360568" y="35553"/>
                      </a:cubicBezTo>
                      <a:cubicBezTo>
                        <a:pt x="360568" y="55188"/>
                        <a:pt x="344650" y="71106"/>
                        <a:pt x="325015" y="71106"/>
                      </a:cubicBezTo>
                      <a:cubicBezTo>
                        <a:pt x="305380" y="71106"/>
                        <a:pt x="289462" y="55188"/>
                        <a:pt x="289462" y="35553"/>
                      </a:cubicBezTo>
                      <a:cubicBezTo>
                        <a:pt x="289462" y="15918"/>
                        <a:pt x="305380" y="0"/>
                        <a:pt x="325015" y="0"/>
                      </a:cubicBezTo>
                      <a:close/>
                      <a:moveTo>
                        <a:pt x="181926" y="0"/>
                      </a:moveTo>
                      <a:cubicBezTo>
                        <a:pt x="201561" y="0"/>
                        <a:pt x="217479" y="15918"/>
                        <a:pt x="217479" y="35553"/>
                      </a:cubicBezTo>
                      <a:cubicBezTo>
                        <a:pt x="217479" y="55188"/>
                        <a:pt x="201561" y="71106"/>
                        <a:pt x="181926" y="71106"/>
                      </a:cubicBezTo>
                      <a:cubicBezTo>
                        <a:pt x="162291" y="71106"/>
                        <a:pt x="146373" y="55188"/>
                        <a:pt x="146373" y="35553"/>
                      </a:cubicBezTo>
                      <a:cubicBezTo>
                        <a:pt x="146373" y="15918"/>
                        <a:pt x="162291" y="0"/>
                        <a:pt x="181926" y="0"/>
                      </a:cubicBezTo>
                      <a:close/>
                      <a:moveTo>
                        <a:pt x="35553" y="0"/>
                      </a:moveTo>
                      <a:cubicBezTo>
                        <a:pt x="55188" y="0"/>
                        <a:pt x="71106" y="15918"/>
                        <a:pt x="71106" y="35553"/>
                      </a:cubicBezTo>
                      <a:cubicBezTo>
                        <a:pt x="71106" y="55188"/>
                        <a:pt x="55188" y="71106"/>
                        <a:pt x="35553" y="71106"/>
                      </a:cubicBezTo>
                      <a:cubicBezTo>
                        <a:pt x="15918" y="71106"/>
                        <a:pt x="0" y="55188"/>
                        <a:pt x="0" y="35553"/>
                      </a:cubicBezTo>
                      <a:cubicBezTo>
                        <a:pt x="0" y="15918"/>
                        <a:pt x="15918" y="0"/>
                        <a:pt x="35553" y="0"/>
                      </a:cubicBezTo>
                      <a:close/>
                    </a:path>
                  </a:pathLst>
                </a:custGeom>
                <a:solidFill>
                  <a:srgbClr val="0D274D"/>
                </a:solidFill>
                <a:ln w="25400" cap="flat" cmpd="sng" algn="ctr">
                  <a:noFill/>
                  <a:prstDash val="solid"/>
                </a:ln>
                <a:effectLst/>
              </p:spPr>
              <p:txBody>
                <a:bodyPr wrap="square" rtlCol="0" anchor="ctr">
                  <a:noAutofit/>
                </a:bodyPr>
                <a:lstStyle/>
                <a:p>
                  <a:pPr algn="ctr" defTabSz="914378">
                    <a:defRPr/>
                  </a:pPr>
                  <a:endParaRPr lang="en-US" sz="1600" kern="0">
                    <a:solidFill>
                      <a:srgbClr val="0D274D"/>
                    </a:solidFill>
                    <a:latin typeface="CiscoSansTT ExtraLight"/>
                    <a:ea typeface="ＭＳ Ｐゴシック" charset="0"/>
                  </a:endParaRPr>
                </a:p>
              </p:txBody>
            </p:sp>
            <p:pic>
              <p:nvPicPr>
                <p:cNvPr id="269" name="Picture 105" descr="A close up of a mountain&#10;&#10;Description automatically generated">
                  <a:extLst>
                    <a:ext uri="{FF2B5EF4-FFF2-40B4-BE49-F238E27FC236}">
                      <a16:creationId xmlns:a16="http://schemas.microsoft.com/office/drawing/2014/main" id="{8E9B8CCA-F7D8-CD41-A2D0-75F459E59F13}"/>
                    </a:ext>
                  </a:extLst>
                </p:cNvPr>
                <p:cNvPicPr>
                  <a:picLocks noChangeAspect="1"/>
                </p:cNvPicPr>
                <p:nvPr/>
              </p:nvPicPr>
              <p:blipFill>
                <a:blip r:embed="rId16"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045884" y="3243453"/>
                  <a:ext cx="1790804" cy="892282"/>
                </a:xfrm>
                <a:prstGeom prst="rect">
                  <a:avLst/>
                </a:prstGeom>
              </p:spPr>
            </p:pic>
            <p:sp>
              <p:nvSpPr>
                <p:cNvPr id="270" name="Isosceles Triangle 49">
                  <a:extLst>
                    <a:ext uri="{FF2B5EF4-FFF2-40B4-BE49-F238E27FC236}">
                      <a16:creationId xmlns:a16="http://schemas.microsoft.com/office/drawing/2014/main" id="{0720C0E9-A7B4-314E-833C-71B3E31B8DB1}"/>
                    </a:ext>
                  </a:extLst>
                </p:cNvPr>
                <p:cNvSpPr/>
                <p:nvPr/>
              </p:nvSpPr>
              <p:spPr>
                <a:xfrm>
                  <a:off x="6481784" y="2480006"/>
                  <a:ext cx="535395" cy="466962"/>
                </a:xfrm>
                <a:custGeom>
                  <a:avLst/>
                  <a:gdLst>
                    <a:gd name="connsiteX0" fmla="*/ 0 w 1303984"/>
                    <a:gd name="connsiteY0" fmla="*/ 1124127 h 1124127"/>
                    <a:gd name="connsiteX1" fmla="*/ 651992 w 1303984"/>
                    <a:gd name="connsiteY1" fmla="*/ 0 h 1124127"/>
                    <a:gd name="connsiteX2" fmla="*/ 1303984 w 1303984"/>
                    <a:gd name="connsiteY2" fmla="*/ 1124127 h 1124127"/>
                    <a:gd name="connsiteX3" fmla="*/ 0 w 1303984"/>
                    <a:gd name="connsiteY3" fmla="*/ 1124127 h 1124127"/>
                    <a:gd name="connsiteX0" fmla="*/ 0 w 1303984"/>
                    <a:gd name="connsiteY0" fmla="*/ 1124127 h 1124127"/>
                    <a:gd name="connsiteX1" fmla="*/ 651992 w 1303984"/>
                    <a:gd name="connsiteY1" fmla="*/ 0 h 1124127"/>
                    <a:gd name="connsiteX2" fmla="*/ 721932 w 1303984"/>
                    <a:gd name="connsiteY2" fmla="*/ 116865 h 1124127"/>
                    <a:gd name="connsiteX3" fmla="*/ 1303984 w 1303984"/>
                    <a:gd name="connsiteY3" fmla="*/ 1124127 h 1124127"/>
                    <a:gd name="connsiteX4" fmla="*/ 0 w 1303984"/>
                    <a:gd name="connsiteY4" fmla="*/ 1124127 h 1124127"/>
                    <a:gd name="connsiteX0" fmla="*/ 0 w 1303984"/>
                    <a:gd name="connsiteY0" fmla="*/ 1124127 h 1124127"/>
                    <a:gd name="connsiteX1" fmla="*/ 583643 w 1303984"/>
                    <a:gd name="connsiteY1" fmla="*/ 118276 h 1124127"/>
                    <a:gd name="connsiteX2" fmla="*/ 651992 w 1303984"/>
                    <a:gd name="connsiteY2" fmla="*/ 0 h 1124127"/>
                    <a:gd name="connsiteX3" fmla="*/ 721932 w 1303984"/>
                    <a:gd name="connsiteY3" fmla="*/ 116865 h 1124127"/>
                    <a:gd name="connsiteX4" fmla="*/ 1303984 w 1303984"/>
                    <a:gd name="connsiteY4" fmla="*/ 1124127 h 1124127"/>
                    <a:gd name="connsiteX5" fmla="*/ 0 w 1303984"/>
                    <a:gd name="connsiteY5" fmla="*/ 1124127 h 1124127"/>
                    <a:gd name="connsiteX0" fmla="*/ 0 w 1303984"/>
                    <a:gd name="connsiteY0" fmla="*/ 1007262 h 1007262"/>
                    <a:gd name="connsiteX1" fmla="*/ 583643 w 1303984"/>
                    <a:gd name="connsiteY1" fmla="*/ 1411 h 1007262"/>
                    <a:gd name="connsiteX2" fmla="*/ 721932 w 1303984"/>
                    <a:gd name="connsiteY2" fmla="*/ 0 h 1007262"/>
                    <a:gd name="connsiteX3" fmla="*/ 1303984 w 1303984"/>
                    <a:gd name="connsiteY3" fmla="*/ 1007262 h 1007262"/>
                    <a:gd name="connsiteX4" fmla="*/ 0 w 1303984"/>
                    <a:gd name="connsiteY4" fmla="*/ 1007262 h 1007262"/>
                    <a:gd name="connsiteX0" fmla="*/ 0 w 1303984"/>
                    <a:gd name="connsiteY0" fmla="*/ 1038935 h 1038935"/>
                    <a:gd name="connsiteX1" fmla="*/ 583643 w 1303984"/>
                    <a:gd name="connsiteY1" fmla="*/ 33084 h 1038935"/>
                    <a:gd name="connsiteX2" fmla="*/ 721932 w 1303984"/>
                    <a:gd name="connsiteY2" fmla="*/ 31673 h 1038935"/>
                    <a:gd name="connsiteX3" fmla="*/ 1303984 w 1303984"/>
                    <a:gd name="connsiteY3" fmla="*/ 1038935 h 1038935"/>
                    <a:gd name="connsiteX4" fmla="*/ 0 w 1303984"/>
                    <a:gd name="connsiteY4" fmla="*/ 1038935 h 1038935"/>
                    <a:gd name="connsiteX0" fmla="*/ 0 w 1303984"/>
                    <a:gd name="connsiteY0" fmla="*/ 1061592 h 1061592"/>
                    <a:gd name="connsiteX1" fmla="*/ 583643 w 1303984"/>
                    <a:gd name="connsiteY1" fmla="*/ 55741 h 1061592"/>
                    <a:gd name="connsiteX2" fmla="*/ 721932 w 1303984"/>
                    <a:gd name="connsiteY2" fmla="*/ 54330 h 1061592"/>
                    <a:gd name="connsiteX3" fmla="*/ 1303984 w 1303984"/>
                    <a:gd name="connsiteY3" fmla="*/ 1061592 h 1061592"/>
                    <a:gd name="connsiteX4" fmla="*/ 0 w 1303984"/>
                    <a:gd name="connsiteY4"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0 w 1303984"/>
                    <a:gd name="connsiteY5" fmla="*/ 1061592 h 1061592"/>
                    <a:gd name="connsiteX0" fmla="*/ 0 w 1303984"/>
                    <a:gd name="connsiteY0" fmla="*/ 1061592 h 1061592"/>
                    <a:gd name="connsiteX1" fmla="*/ 60121 w 1303984"/>
                    <a:gd name="connsiteY1" fmla="*/ 960263 h 1061592"/>
                    <a:gd name="connsiteX2" fmla="*/ 583643 w 1303984"/>
                    <a:gd name="connsiteY2" fmla="*/ 55741 h 1061592"/>
                    <a:gd name="connsiteX3" fmla="*/ 721932 w 1303984"/>
                    <a:gd name="connsiteY3" fmla="*/ 54330 h 1061592"/>
                    <a:gd name="connsiteX4" fmla="*/ 1303984 w 1303984"/>
                    <a:gd name="connsiteY4" fmla="*/ 1061592 h 1061592"/>
                    <a:gd name="connsiteX5" fmla="*/ 119388 w 1303984"/>
                    <a:gd name="connsiteY5" fmla="*/ 1060452 h 1061592"/>
                    <a:gd name="connsiteX6" fmla="*/ 0 w 1303984"/>
                    <a:gd name="connsiteY6" fmla="*/ 1061592 h 1061592"/>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303984 w 1303984"/>
                    <a:gd name="connsiteY4" fmla="*/ 1061592 h 1061863"/>
                    <a:gd name="connsiteX5" fmla="*/ 1194654 w 1303984"/>
                    <a:gd name="connsiteY5" fmla="*/ 1061863 h 1061863"/>
                    <a:gd name="connsiteX6" fmla="*/ 119388 w 1303984"/>
                    <a:gd name="connsiteY6" fmla="*/ 1060452 h 1061863"/>
                    <a:gd name="connsiteX7" fmla="*/ 0 w 1303984"/>
                    <a:gd name="connsiteY7" fmla="*/ 1061592 h 1061863"/>
                    <a:gd name="connsiteX0" fmla="*/ 0 w 1303984"/>
                    <a:gd name="connsiteY0" fmla="*/ 1061592 h 1061863"/>
                    <a:gd name="connsiteX1" fmla="*/ 60121 w 1303984"/>
                    <a:gd name="connsiteY1" fmla="*/ 960263 h 1061863"/>
                    <a:gd name="connsiteX2" fmla="*/ 583643 w 1303984"/>
                    <a:gd name="connsiteY2" fmla="*/ 55741 h 1061863"/>
                    <a:gd name="connsiteX3" fmla="*/ 721932 w 1303984"/>
                    <a:gd name="connsiteY3" fmla="*/ 54330 h 1061863"/>
                    <a:gd name="connsiteX4" fmla="*/ 1258154 w 1303984"/>
                    <a:gd name="connsiteY4" fmla="*/ 972963 h 1061863"/>
                    <a:gd name="connsiteX5" fmla="*/ 1303984 w 1303984"/>
                    <a:gd name="connsiteY5" fmla="*/ 1061592 h 1061863"/>
                    <a:gd name="connsiteX6" fmla="*/ 1194654 w 1303984"/>
                    <a:gd name="connsiteY6" fmla="*/ 1061863 h 1061863"/>
                    <a:gd name="connsiteX7" fmla="*/ 119388 w 1303984"/>
                    <a:gd name="connsiteY7" fmla="*/ 1060452 h 1061863"/>
                    <a:gd name="connsiteX8" fmla="*/ 0 w 1303984"/>
                    <a:gd name="connsiteY8" fmla="*/ 106159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43863 w 1243863"/>
                    <a:gd name="connsiteY5" fmla="*/ 1061592 h 1061863"/>
                    <a:gd name="connsiteX6" fmla="*/ 1134533 w 1243863"/>
                    <a:gd name="connsiteY6" fmla="*/ 1061863 h 1061863"/>
                    <a:gd name="connsiteX7" fmla="*/ 59267 w 1243863"/>
                    <a:gd name="connsiteY7" fmla="*/ 1060452 h 1061863"/>
                    <a:gd name="connsiteX0" fmla="*/ 59267 w 1243863"/>
                    <a:gd name="connsiteY0" fmla="*/ 1060452 h 1061863"/>
                    <a:gd name="connsiteX1" fmla="*/ 0 w 1243863"/>
                    <a:gd name="connsiteY1" fmla="*/ 960263 h 1061863"/>
                    <a:gd name="connsiteX2" fmla="*/ 523522 w 1243863"/>
                    <a:gd name="connsiteY2" fmla="*/ 55741 h 1061863"/>
                    <a:gd name="connsiteX3" fmla="*/ 661811 w 1243863"/>
                    <a:gd name="connsiteY3" fmla="*/ 54330 h 1061863"/>
                    <a:gd name="connsiteX4" fmla="*/ 1198033 w 1243863"/>
                    <a:gd name="connsiteY4" fmla="*/ 972963 h 1061863"/>
                    <a:gd name="connsiteX5" fmla="*/ 1234722 w 1243863"/>
                    <a:gd name="connsiteY5" fmla="*/ 1042108 h 1061863"/>
                    <a:gd name="connsiteX6" fmla="*/ 1243863 w 1243863"/>
                    <a:gd name="connsiteY6" fmla="*/ 1061592 h 1061863"/>
                    <a:gd name="connsiteX7" fmla="*/ 1134533 w 1243863"/>
                    <a:gd name="connsiteY7" fmla="*/ 1061863 h 1061863"/>
                    <a:gd name="connsiteX8" fmla="*/ 59267 w 1243863"/>
                    <a:gd name="connsiteY8" fmla="*/ 1060452 h 1061863"/>
                    <a:gd name="connsiteX0" fmla="*/ 71800 w 1256396"/>
                    <a:gd name="connsiteY0" fmla="*/ 1060452 h 1061863"/>
                    <a:gd name="connsiteX1" fmla="*/ 12533 w 1256396"/>
                    <a:gd name="connsiteY1" fmla="*/ 960263 h 1061863"/>
                    <a:gd name="connsiteX2" fmla="*/ 536055 w 1256396"/>
                    <a:gd name="connsiteY2" fmla="*/ 55741 h 1061863"/>
                    <a:gd name="connsiteX3" fmla="*/ 674344 w 1256396"/>
                    <a:gd name="connsiteY3" fmla="*/ 54330 h 1061863"/>
                    <a:gd name="connsiteX4" fmla="*/ 1210566 w 1256396"/>
                    <a:gd name="connsiteY4" fmla="*/ 972963 h 1061863"/>
                    <a:gd name="connsiteX5" fmla="*/ 1247255 w 1256396"/>
                    <a:gd name="connsiteY5" fmla="*/ 1042108 h 1061863"/>
                    <a:gd name="connsiteX6" fmla="*/ 1256396 w 1256396"/>
                    <a:gd name="connsiteY6" fmla="*/ 1061592 h 1061863"/>
                    <a:gd name="connsiteX7" fmla="*/ 1147066 w 1256396"/>
                    <a:gd name="connsiteY7" fmla="*/ 1061863 h 1061863"/>
                    <a:gd name="connsiteX8" fmla="*/ 71800 w 1256396"/>
                    <a:gd name="connsiteY8" fmla="*/ 1060452 h 1061863"/>
                    <a:gd name="connsiteX0" fmla="*/ 79691 w 1264287"/>
                    <a:gd name="connsiteY0" fmla="*/ 1060452 h 1061863"/>
                    <a:gd name="connsiteX1" fmla="*/ 20424 w 1264287"/>
                    <a:gd name="connsiteY1" fmla="*/ 960263 h 1061863"/>
                    <a:gd name="connsiteX2" fmla="*/ 543946 w 1264287"/>
                    <a:gd name="connsiteY2" fmla="*/ 55741 h 1061863"/>
                    <a:gd name="connsiteX3" fmla="*/ 682235 w 1264287"/>
                    <a:gd name="connsiteY3" fmla="*/ 54330 h 1061863"/>
                    <a:gd name="connsiteX4" fmla="*/ 1218457 w 1264287"/>
                    <a:gd name="connsiteY4" fmla="*/ 972963 h 1061863"/>
                    <a:gd name="connsiteX5" fmla="*/ 1255146 w 1264287"/>
                    <a:gd name="connsiteY5" fmla="*/ 1042108 h 1061863"/>
                    <a:gd name="connsiteX6" fmla="*/ 1264287 w 1264287"/>
                    <a:gd name="connsiteY6" fmla="*/ 1061592 h 1061863"/>
                    <a:gd name="connsiteX7" fmla="*/ 1154957 w 1264287"/>
                    <a:gd name="connsiteY7" fmla="*/ 1061863 h 1061863"/>
                    <a:gd name="connsiteX8" fmla="*/ 79691 w 1264287"/>
                    <a:gd name="connsiteY8" fmla="*/ 1060452 h 1061863"/>
                    <a:gd name="connsiteX0" fmla="*/ 79691 w 1255146"/>
                    <a:gd name="connsiteY0" fmla="*/ 1060452 h 1061863"/>
                    <a:gd name="connsiteX1" fmla="*/ 20424 w 1255146"/>
                    <a:gd name="connsiteY1" fmla="*/ 960263 h 1061863"/>
                    <a:gd name="connsiteX2" fmla="*/ 543946 w 1255146"/>
                    <a:gd name="connsiteY2" fmla="*/ 55741 h 1061863"/>
                    <a:gd name="connsiteX3" fmla="*/ 682235 w 1255146"/>
                    <a:gd name="connsiteY3" fmla="*/ 54330 h 1061863"/>
                    <a:gd name="connsiteX4" fmla="*/ 1218457 w 1255146"/>
                    <a:gd name="connsiteY4" fmla="*/ 972963 h 1061863"/>
                    <a:gd name="connsiteX5" fmla="*/ 1255146 w 1255146"/>
                    <a:gd name="connsiteY5" fmla="*/ 1042108 h 1061863"/>
                    <a:gd name="connsiteX6" fmla="*/ 1154957 w 1255146"/>
                    <a:gd name="connsiteY6" fmla="*/ 1061863 h 1061863"/>
                    <a:gd name="connsiteX7" fmla="*/ 79691 w 1255146"/>
                    <a:gd name="connsiteY7" fmla="*/ 1060452 h 1061863"/>
                    <a:gd name="connsiteX0" fmla="*/ 79691 w 1218457"/>
                    <a:gd name="connsiteY0" fmla="*/ 1060452 h 1061863"/>
                    <a:gd name="connsiteX1" fmla="*/ 20424 w 1218457"/>
                    <a:gd name="connsiteY1" fmla="*/ 960263 h 1061863"/>
                    <a:gd name="connsiteX2" fmla="*/ 543946 w 1218457"/>
                    <a:gd name="connsiteY2" fmla="*/ 55741 h 1061863"/>
                    <a:gd name="connsiteX3" fmla="*/ 682235 w 1218457"/>
                    <a:gd name="connsiteY3" fmla="*/ 54330 h 1061863"/>
                    <a:gd name="connsiteX4" fmla="*/ 1218457 w 1218457"/>
                    <a:gd name="connsiteY4" fmla="*/ 972963 h 1061863"/>
                    <a:gd name="connsiteX5" fmla="*/ 1154957 w 1218457"/>
                    <a:gd name="connsiteY5" fmla="*/ 1061863 h 1061863"/>
                    <a:gd name="connsiteX6" fmla="*/ 79691 w 1218457"/>
                    <a:gd name="connsiteY6" fmla="*/ 1060452 h 1061863"/>
                    <a:gd name="connsiteX0" fmla="*/ 79691 w 1231224"/>
                    <a:gd name="connsiteY0" fmla="*/ 1060452 h 1061863"/>
                    <a:gd name="connsiteX1" fmla="*/ 20424 w 1231224"/>
                    <a:gd name="connsiteY1" fmla="*/ 960263 h 1061863"/>
                    <a:gd name="connsiteX2" fmla="*/ 543946 w 1231224"/>
                    <a:gd name="connsiteY2" fmla="*/ 55741 h 1061863"/>
                    <a:gd name="connsiteX3" fmla="*/ 682235 w 1231224"/>
                    <a:gd name="connsiteY3" fmla="*/ 54330 h 1061863"/>
                    <a:gd name="connsiteX4" fmla="*/ 1218457 w 1231224"/>
                    <a:gd name="connsiteY4" fmla="*/ 972963 h 1061863"/>
                    <a:gd name="connsiteX5" fmla="*/ 1154957 w 1231224"/>
                    <a:gd name="connsiteY5" fmla="*/ 1061863 h 1061863"/>
                    <a:gd name="connsiteX6" fmla="*/ 79691 w 1231224"/>
                    <a:gd name="connsiteY6" fmla="*/ 1060452 h 1061863"/>
                    <a:gd name="connsiteX0" fmla="*/ 79691 w 1237470"/>
                    <a:gd name="connsiteY0" fmla="*/ 1060452 h 1061863"/>
                    <a:gd name="connsiteX1" fmla="*/ 20424 w 1237470"/>
                    <a:gd name="connsiteY1" fmla="*/ 960263 h 1061863"/>
                    <a:gd name="connsiteX2" fmla="*/ 543946 w 1237470"/>
                    <a:gd name="connsiteY2" fmla="*/ 55741 h 1061863"/>
                    <a:gd name="connsiteX3" fmla="*/ 682235 w 1237470"/>
                    <a:gd name="connsiteY3" fmla="*/ 54330 h 1061863"/>
                    <a:gd name="connsiteX4" fmla="*/ 1218457 w 1237470"/>
                    <a:gd name="connsiteY4" fmla="*/ 972963 h 1061863"/>
                    <a:gd name="connsiteX5" fmla="*/ 1154957 w 1237470"/>
                    <a:gd name="connsiteY5" fmla="*/ 1061863 h 1061863"/>
                    <a:gd name="connsiteX6" fmla="*/ 79691 w 1237470"/>
                    <a:gd name="connsiteY6" fmla="*/ 1060452 h 1061863"/>
                    <a:gd name="connsiteX0" fmla="*/ 79691 w 1237218"/>
                    <a:gd name="connsiteY0" fmla="*/ 1060452 h 1061863"/>
                    <a:gd name="connsiteX1" fmla="*/ 20424 w 1237218"/>
                    <a:gd name="connsiteY1" fmla="*/ 960263 h 1061863"/>
                    <a:gd name="connsiteX2" fmla="*/ 543946 w 1237218"/>
                    <a:gd name="connsiteY2" fmla="*/ 55741 h 1061863"/>
                    <a:gd name="connsiteX3" fmla="*/ 682235 w 1237218"/>
                    <a:gd name="connsiteY3" fmla="*/ 54330 h 1061863"/>
                    <a:gd name="connsiteX4" fmla="*/ 1218457 w 1237218"/>
                    <a:gd name="connsiteY4" fmla="*/ 972963 h 1061863"/>
                    <a:gd name="connsiteX5" fmla="*/ 1154957 w 1237218"/>
                    <a:gd name="connsiteY5" fmla="*/ 1061863 h 1061863"/>
                    <a:gd name="connsiteX6" fmla="*/ 79691 w 1237218"/>
                    <a:gd name="connsiteY6" fmla="*/ 1060452 h 1061863"/>
                    <a:gd name="connsiteX0" fmla="*/ 78292 w 1235819"/>
                    <a:gd name="connsiteY0" fmla="*/ 1060452 h 1061863"/>
                    <a:gd name="connsiteX1" fmla="*/ 19025 w 1235819"/>
                    <a:gd name="connsiteY1" fmla="*/ 960263 h 1061863"/>
                    <a:gd name="connsiteX2" fmla="*/ 542547 w 1235819"/>
                    <a:gd name="connsiteY2" fmla="*/ 55741 h 1061863"/>
                    <a:gd name="connsiteX3" fmla="*/ 680836 w 1235819"/>
                    <a:gd name="connsiteY3" fmla="*/ 54330 h 1061863"/>
                    <a:gd name="connsiteX4" fmla="*/ 1217058 w 1235819"/>
                    <a:gd name="connsiteY4" fmla="*/ 972963 h 1061863"/>
                    <a:gd name="connsiteX5" fmla="*/ 1153558 w 1235819"/>
                    <a:gd name="connsiteY5" fmla="*/ 1061863 h 1061863"/>
                    <a:gd name="connsiteX6" fmla="*/ 78292 w 1235819"/>
                    <a:gd name="connsiteY6" fmla="*/ 1060452 h 1061863"/>
                    <a:gd name="connsiteX0" fmla="*/ 73321 w 1230848"/>
                    <a:gd name="connsiteY0" fmla="*/ 1060452 h 1061863"/>
                    <a:gd name="connsiteX1" fmla="*/ 14054 w 1230848"/>
                    <a:gd name="connsiteY1" fmla="*/ 960263 h 1061863"/>
                    <a:gd name="connsiteX2" fmla="*/ 537576 w 1230848"/>
                    <a:gd name="connsiteY2" fmla="*/ 55741 h 1061863"/>
                    <a:gd name="connsiteX3" fmla="*/ 675865 w 1230848"/>
                    <a:gd name="connsiteY3" fmla="*/ 54330 h 1061863"/>
                    <a:gd name="connsiteX4" fmla="*/ 1212087 w 1230848"/>
                    <a:gd name="connsiteY4" fmla="*/ 972963 h 1061863"/>
                    <a:gd name="connsiteX5" fmla="*/ 1148587 w 1230848"/>
                    <a:gd name="connsiteY5" fmla="*/ 1061863 h 1061863"/>
                    <a:gd name="connsiteX6" fmla="*/ 73321 w 1230848"/>
                    <a:gd name="connsiteY6" fmla="*/ 1060452 h 1061863"/>
                    <a:gd name="connsiteX0" fmla="*/ 73321 w 1223150"/>
                    <a:gd name="connsiteY0" fmla="*/ 1060452 h 1061863"/>
                    <a:gd name="connsiteX1" fmla="*/ 14054 w 1223150"/>
                    <a:gd name="connsiteY1" fmla="*/ 960263 h 1061863"/>
                    <a:gd name="connsiteX2" fmla="*/ 537576 w 1223150"/>
                    <a:gd name="connsiteY2" fmla="*/ 55741 h 1061863"/>
                    <a:gd name="connsiteX3" fmla="*/ 675865 w 1223150"/>
                    <a:gd name="connsiteY3" fmla="*/ 54330 h 1061863"/>
                    <a:gd name="connsiteX4" fmla="*/ 1202210 w 1223150"/>
                    <a:gd name="connsiteY4" fmla="*/ 957441 h 1061863"/>
                    <a:gd name="connsiteX5" fmla="*/ 1148587 w 1223150"/>
                    <a:gd name="connsiteY5" fmla="*/ 1061863 h 1061863"/>
                    <a:gd name="connsiteX6" fmla="*/ 73321 w 1223150"/>
                    <a:gd name="connsiteY6" fmla="*/ 1060452 h 1061863"/>
                    <a:gd name="connsiteX0" fmla="*/ 73321 w 1223150"/>
                    <a:gd name="connsiteY0" fmla="*/ 1071408 h 1072819"/>
                    <a:gd name="connsiteX1" fmla="*/ 14054 w 1223150"/>
                    <a:gd name="connsiteY1" fmla="*/ 971219 h 1072819"/>
                    <a:gd name="connsiteX2" fmla="*/ 537576 w 1223150"/>
                    <a:gd name="connsiteY2" fmla="*/ 66697 h 1072819"/>
                    <a:gd name="connsiteX3" fmla="*/ 665987 w 1223150"/>
                    <a:gd name="connsiteY3" fmla="*/ 45531 h 1072819"/>
                    <a:gd name="connsiteX4" fmla="*/ 1202210 w 1223150"/>
                    <a:gd name="connsiteY4" fmla="*/ 968397 h 1072819"/>
                    <a:gd name="connsiteX5" fmla="*/ 1148587 w 1223150"/>
                    <a:gd name="connsiteY5" fmla="*/ 1072819 h 1072819"/>
                    <a:gd name="connsiteX6" fmla="*/ 73321 w 1223150"/>
                    <a:gd name="connsiteY6" fmla="*/ 1071408 h 1072819"/>
                    <a:gd name="connsiteX0" fmla="*/ 73321 w 1223150"/>
                    <a:gd name="connsiteY0" fmla="*/ 1078156 h 1079567"/>
                    <a:gd name="connsiteX1" fmla="*/ 14054 w 1223150"/>
                    <a:gd name="connsiteY1" fmla="*/ 977967 h 1079567"/>
                    <a:gd name="connsiteX2" fmla="*/ 548865 w 1223150"/>
                    <a:gd name="connsiteY2" fmla="*/ 57923 h 1079567"/>
                    <a:gd name="connsiteX3" fmla="*/ 665987 w 1223150"/>
                    <a:gd name="connsiteY3" fmla="*/ 52279 h 1079567"/>
                    <a:gd name="connsiteX4" fmla="*/ 1202210 w 1223150"/>
                    <a:gd name="connsiteY4" fmla="*/ 975145 h 1079567"/>
                    <a:gd name="connsiteX5" fmla="*/ 1148587 w 1223150"/>
                    <a:gd name="connsiteY5" fmla="*/ 1079567 h 1079567"/>
                    <a:gd name="connsiteX6" fmla="*/ 73321 w 1223150"/>
                    <a:gd name="connsiteY6" fmla="*/ 1078156 h 1079567"/>
                    <a:gd name="connsiteX0" fmla="*/ 73321 w 1223150"/>
                    <a:gd name="connsiteY0" fmla="*/ 1070238 h 1071649"/>
                    <a:gd name="connsiteX1" fmla="*/ 14054 w 1223150"/>
                    <a:gd name="connsiteY1" fmla="*/ 970049 h 1071649"/>
                    <a:gd name="connsiteX2" fmla="*/ 548865 w 1223150"/>
                    <a:gd name="connsiteY2" fmla="*/ 50005 h 1071649"/>
                    <a:gd name="connsiteX3" fmla="*/ 665987 w 1223150"/>
                    <a:gd name="connsiteY3" fmla="*/ 44361 h 1071649"/>
                    <a:gd name="connsiteX4" fmla="*/ 1202210 w 1223150"/>
                    <a:gd name="connsiteY4" fmla="*/ 967227 h 1071649"/>
                    <a:gd name="connsiteX5" fmla="*/ 1148587 w 1223150"/>
                    <a:gd name="connsiteY5" fmla="*/ 1071649 h 1071649"/>
                    <a:gd name="connsiteX6" fmla="*/ 73321 w 1223150"/>
                    <a:gd name="connsiteY6" fmla="*/ 1070238 h 1071649"/>
                    <a:gd name="connsiteX0" fmla="*/ 73321 w 1223150"/>
                    <a:gd name="connsiteY0" fmla="*/ 1065392 h 1066803"/>
                    <a:gd name="connsiteX1" fmla="*/ 14054 w 1223150"/>
                    <a:gd name="connsiteY1" fmla="*/ 965203 h 1066803"/>
                    <a:gd name="connsiteX2" fmla="*/ 548865 w 1223150"/>
                    <a:gd name="connsiteY2" fmla="*/ 45159 h 1066803"/>
                    <a:gd name="connsiteX3" fmla="*/ 665987 w 1223150"/>
                    <a:gd name="connsiteY3" fmla="*/ 39515 h 1066803"/>
                    <a:gd name="connsiteX4" fmla="*/ 1202210 w 1223150"/>
                    <a:gd name="connsiteY4" fmla="*/ 962381 h 1066803"/>
                    <a:gd name="connsiteX5" fmla="*/ 1148587 w 1223150"/>
                    <a:gd name="connsiteY5" fmla="*/ 1066803 h 1066803"/>
                    <a:gd name="connsiteX6" fmla="*/ 73321 w 1223150"/>
                    <a:gd name="connsiteY6" fmla="*/ 1065392 h 106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150" h="1066803">
                      <a:moveTo>
                        <a:pt x="73321" y="1065392"/>
                      </a:moveTo>
                      <a:cubicBezTo>
                        <a:pt x="6998" y="1065863"/>
                        <a:pt x="-18401" y="1023999"/>
                        <a:pt x="14054" y="965203"/>
                      </a:cubicBezTo>
                      <a:lnTo>
                        <a:pt x="548865" y="45159"/>
                      </a:lnTo>
                      <a:cubicBezTo>
                        <a:pt x="587905" y="-15989"/>
                        <a:pt x="629769" y="-12226"/>
                        <a:pt x="665987" y="39515"/>
                      </a:cubicBezTo>
                      <a:lnTo>
                        <a:pt x="1202210" y="962381"/>
                      </a:lnTo>
                      <a:cubicBezTo>
                        <a:pt x="1247365" y="1017414"/>
                        <a:pt x="1214910" y="1066803"/>
                        <a:pt x="1148587" y="1066803"/>
                      </a:cubicBezTo>
                      <a:lnTo>
                        <a:pt x="73321" y="1065392"/>
                      </a:lnTo>
                      <a:close/>
                    </a:path>
                  </a:pathLst>
                </a:custGeom>
                <a:solidFill>
                  <a:srgbClr val="9E9EA2">
                    <a:alpha val="60000"/>
                  </a:srgbClr>
                </a:solidFill>
                <a:ln w="12700"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71" name="Rectangle: Rounded Corners 666">
                  <a:extLst>
                    <a:ext uri="{FF2B5EF4-FFF2-40B4-BE49-F238E27FC236}">
                      <a16:creationId xmlns:a16="http://schemas.microsoft.com/office/drawing/2014/main" id="{0BCCAB91-3F25-2647-8749-1DCB778B9B0E}"/>
                    </a:ext>
                  </a:extLst>
                </p:cNvPr>
                <p:cNvSpPr/>
                <p:nvPr/>
              </p:nvSpPr>
              <p:spPr>
                <a:xfrm>
                  <a:off x="6194678" y="2106147"/>
                  <a:ext cx="483647" cy="355829"/>
                </a:xfrm>
                <a:prstGeom prst="roundRect">
                  <a:avLst/>
                </a:prstGeom>
                <a:solidFill>
                  <a:srgbClr val="00BCEB">
                    <a:alpha val="40000"/>
                  </a:srgbClr>
                </a:solidFill>
                <a:ln w="9525" cap="flat" cmpd="sng" algn="ctr">
                  <a:noFill/>
                  <a:prstDash val="solid"/>
                  <a:miter lim="800000"/>
                  <a:headEnd type="triangl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8">
                    <a:defRPr/>
                  </a:pPr>
                  <a:endParaRPr lang="en-US" sz="1600" kern="0">
                    <a:solidFill>
                      <a:srgbClr val="FFFFFF"/>
                    </a:solidFill>
                    <a:latin typeface="CiscoSansTT ExtraLight"/>
                    <a:ea typeface="ＭＳ Ｐゴシック" charset="0"/>
                  </a:endParaRPr>
                </a:p>
              </p:txBody>
            </p:sp>
            <p:sp>
              <p:nvSpPr>
                <p:cNvPr id="272" name="AutoShape 3">
                  <a:extLst>
                    <a:ext uri="{FF2B5EF4-FFF2-40B4-BE49-F238E27FC236}">
                      <a16:creationId xmlns:a16="http://schemas.microsoft.com/office/drawing/2014/main" id="{1339310A-A70B-E846-965C-8765AD6418B2}"/>
                    </a:ext>
                  </a:extLst>
                </p:cNvPr>
                <p:cNvSpPr>
                  <a:spLocks noChangeAspect="1" noChangeArrowheads="1" noTextEdit="1"/>
                </p:cNvSpPr>
                <p:nvPr/>
              </p:nvSpPr>
              <p:spPr bwMode="auto">
                <a:xfrm rot="15056671">
                  <a:off x="7384256" y="615156"/>
                  <a:ext cx="974769" cy="987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273" name="Freeform 5">
                  <a:extLst>
                    <a:ext uri="{FF2B5EF4-FFF2-40B4-BE49-F238E27FC236}">
                      <a16:creationId xmlns:a16="http://schemas.microsoft.com/office/drawing/2014/main" id="{49444A8F-034B-7347-9F4B-4E4112EC7528}"/>
                    </a:ext>
                  </a:extLst>
                </p:cNvPr>
                <p:cNvSpPr>
                  <a:spLocks/>
                </p:cNvSpPr>
                <p:nvPr/>
              </p:nvSpPr>
              <p:spPr bwMode="auto">
                <a:xfrm rot="21386774">
                  <a:off x="7308733" y="587389"/>
                  <a:ext cx="1025209" cy="1015053"/>
                </a:xfrm>
                <a:custGeom>
                  <a:avLst/>
                  <a:gdLst>
                    <a:gd name="T0" fmla="*/ 185 w 341"/>
                    <a:gd name="T1" fmla="*/ 339 h 342"/>
                    <a:gd name="T2" fmla="*/ 134 w 341"/>
                    <a:gd name="T3" fmla="*/ 331 h 342"/>
                    <a:gd name="T4" fmla="*/ 28 w 341"/>
                    <a:gd name="T5" fmla="*/ 121 h 342"/>
                    <a:gd name="T6" fmla="*/ 110 w 341"/>
                    <a:gd name="T7" fmla="*/ 24 h 342"/>
                    <a:gd name="T8" fmla="*/ 234 w 341"/>
                    <a:gd name="T9" fmla="*/ 13 h 342"/>
                    <a:gd name="T10" fmla="*/ 299 w 341"/>
                    <a:gd name="T11" fmla="*/ 53 h 342"/>
                    <a:gd name="T12" fmla="*/ 298 w 341"/>
                    <a:gd name="T13" fmla="*/ 54 h 342"/>
                    <a:gd name="T14" fmla="*/ 234 w 341"/>
                    <a:gd name="T15" fmla="*/ 15 h 342"/>
                    <a:gd name="T16" fmla="*/ 111 w 341"/>
                    <a:gd name="T17" fmla="*/ 25 h 342"/>
                    <a:gd name="T18" fmla="*/ 30 w 341"/>
                    <a:gd name="T19" fmla="*/ 122 h 342"/>
                    <a:gd name="T20" fmla="*/ 135 w 341"/>
                    <a:gd name="T21" fmla="*/ 329 h 342"/>
                    <a:gd name="T22" fmla="*/ 258 w 341"/>
                    <a:gd name="T23" fmla="*/ 319 h 342"/>
                    <a:gd name="T24" fmla="*/ 339 w 341"/>
                    <a:gd name="T25" fmla="*/ 222 h 342"/>
                    <a:gd name="T26" fmla="*/ 341 w 341"/>
                    <a:gd name="T27" fmla="*/ 223 h 342"/>
                    <a:gd name="T28" fmla="*/ 259 w 341"/>
                    <a:gd name="T29" fmla="*/ 320 h 342"/>
                    <a:gd name="T30" fmla="*/ 185 w 341"/>
                    <a:gd name="T31" fmla="*/ 33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1" h="342">
                      <a:moveTo>
                        <a:pt x="185" y="339"/>
                      </a:moveTo>
                      <a:cubicBezTo>
                        <a:pt x="168" y="339"/>
                        <a:pt x="151" y="336"/>
                        <a:pt x="134" y="331"/>
                      </a:cubicBezTo>
                      <a:cubicBezTo>
                        <a:pt x="48" y="303"/>
                        <a:pt x="0" y="209"/>
                        <a:pt x="28" y="121"/>
                      </a:cubicBezTo>
                      <a:cubicBezTo>
                        <a:pt x="41" y="79"/>
                        <a:pt x="70" y="44"/>
                        <a:pt x="110" y="24"/>
                      </a:cubicBezTo>
                      <a:cubicBezTo>
                        <a:pt x="149" y="3"/>
                        <a:pt x="193" y="0"/>
                        <a:pt x="234" y="13"/>
                      </a:cubicBezTo>
                      <a:cubicBezTo>
                        <a:pt x="259" y="21"/>
                        <a:pt x="281" y="35"/>
                        <a:pt x="299" y="53"/>
                      </a:cubicBezTo>
                      <a:cubicBezTo>
                        <a:pt x="298" y="54"/>
                        <a:pt x="298" y="54"/>
                        <a:pt x="298" y="54"/>
                      </a:cubicBezTo>
                      <a:cubicBezTo>
                        <a:pt x="280" y="37"/>
                        <a:pt x="258" y="23"/>
                        <a:pt x="234" y="15"/>
                      </a:cubicBezTo>
                      <a:cubicBezTo>
                        <a:pt x="193" y="2"/>
                        <a:pt x="149" y="6"/>
                        <a:pt x="111" y="25"/>
                      </a:cubicBezTo>
                      <a:cubicBezTo>
                        <a:pt x="72" y="45"/>
                        <a:pt x="43" y="80"/>
                        <a:pt x="30" y="122"/>
                      </a:cubicBezTo>
                      <a:cubicBezTo>
                        <a:pt x="2" y="208"/>
                        <a:pt x="50" y="301"/>
                        <a:pt x="135" y="329"/>
                      </a:cubicBezTo>
                      <a:cubicBezTo>
                        <a:pt x="176" y="342"/>
                        <a:pt x="220" y="338"/>
                        <a:pt x="258" y="319"/>
                      </a:cubicBezTo>
                      <a:cubicBezTo>
                        <a:pt x="297" y="299"/>
                        <a:pt x="326" y="264"/>
                        <a:pt x="339" y="222"/>
                      </a:cubicBezTo>
                      <a:cubicBezTo>
                        <a:pt x="341" y="223"/>
                        <a:pt x="341" y="223"/>
                        <a:pt x="341" y="223"/>
                      </a:cubicBezTo>
                      <a:cubicBezTo>
                        <a:pt x="328" y="265"/>
                        <a:pt x="299" y="300"/>
                        <a:pt x="259" y="320"/>
                      </a:cubicBezTo>
                      <a:cubicBezTo>
                        <a:pt x="236" y="333"/>
                        <a:pt x="210" y="339"/>
                        <a:pt x="185" y="339"/>
                      </a:cubicBezTo>
                      <a:close/>
                    </a:path>
                  </a:pathLst>
                </a:custGeom>
                <a:solidFill>
                  <a:srgbClr val="9E9EA2"/>
                </a:solidFill>
                <a:ln>
                  <a:noFill/>
                </a:ln>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sp>
              <p:nvSpPr>
                <p:cNvPr id="274" name="Freeform 6">
                  <a:extLst>
                    <a:ext uri="{FF2B5EF4-FFF2-40B4-BE49-F238E27FC236}">
                      <a16:creationId xmlns:a16="http://schemas.microsoft.com/office/drawing/2014/main" id="{A97D56A2-750E-874F-B619-42BFB217E7E8}"/>
                    </a:ext>
                  </a:extLst>
                </p:cNvPr>
                <p:cNvSpPr>
                  <a:spLocks/>
                </p:cNvSpPr>
                <p:nvPr/>
              </p:nvSpPr>
              <p:spPr bwMode="auto">
                <a:xfrm rot="15056671">
                  <a:off x="7972413" y="1399965"/>
                  <a:ext cx="60529" cy="313563"/>
                </a:xfrm>
                <a:custGeom>
                  <a:avLst/>
                  <a:gdLst>
                    <a:gd name="T0" fmla="*/ 9 w 20"/>
                    <a:gd name="T1" fmla="*/ 106 h 106"/>
                    <a:gd name="T2" fmla="*/ 14 w 20"/>
                    <a:gd name="T3" fmla="*/ 0 h 106"/>
                    <a:gd name="T4" fmla="*/ 20 w 20"/>
                    <a:gd name="T5" fmla="*/ 2 h 106"/>
                    <a:gd name="T6" fmla="*/ 16 w 20"/>
                    <a:gd name="T7" fmla="*/ 104 h 106"/>
                    <a:gd name="T8" fmla="*/ 9 w 20"/>
                    <a:gd name="T9" fmla="*/ 106 h 106"/>
                  </a:gdLst>
                  <a:ahLst/>
                  <a:cxnLst>
                    <a:cxn ang="0">
                      <a:pos x="T0" y="T1"/>
                    </a:cxn>
                    <a:cxn ang="0">
                      <a:pos x="T2" y="T3"/>
                    </a:cxn>
                    <a:cxn ang="0">
                      <a:pos x="T4" y="T5"/>
                    </a:cxn>
                    <a:cxn ang="0">
                      <a:pos x="T6" y="T7"/>
                    </a:cxn>
                    <a:cxn ang="0">
                      <a:pos x="T8" y="T9"/>
                    </a:cxn>
                  </a:cxnLst>
                  <a:rect l="0" t="0" r="r" b="b"/>
                  <a:pathLst>
                    <a:path w="20" h="106">
                      <a:moveTo>
                        <a:pt x="9" y="106"/>
                      </a:moveTo>
                      <a:cubicBezTo>
                        <a:pt x="0" y="71"/>
                        <a:pt x="1" y="34"/>
                        <a:pt x="14" y="0"/>
                      </a:cubicBezTo>
                      <a:cubicBezTo>
                        <a:pt x="20" y="2"/>
                        <a:pt x="20" y="2"/>
                        <a:pt x="20" y="2"/>
                      </a:cubicBezTo>
                      <a:cubicBezTo>
                        <a:pt x="8" y="35"/>
                        <a:pt x="7" y="71"/>
                        <a:pt x="16" y="104"/>
                      </a:cubicBezTo>
                      <a:lnTo>
                        <a:pt x="9" y="106"/>
                      </a:lnTo>
                      <a:close/>
                    </a:path>
                  </a:pathLst>
                </a:custGeom>
                <a:solidFill>
                  <a:srgbClr val="6EBE4A"/>
                </a:solidFill>
                <a:ln>
                  <a:noFill/>
                </a:ln>
              </p:spPr>
              <p:txBody>
                <a:bodyPr vert="horz" wrap="square" lIns="91440" tIns="45720" rIns="91440" bIns="45720" numCol="1" anchor="t" anchorCtr="0" compatLnSpc="1">
                  <a:prstTxWarp prst="textNoShape">
                    <a:avLst/>
                  </a:prstTxWarp>
                </a:bodyPr>
                <a:lstStyle/>
                <a:p>
                  <a:pPr defTabSz="457189" fontAlgn="base">
                    <a:spcBef>
                      <a:spcPct val="0"/>
                    </a:spcBef>
                    <a:spcAft>
                      <a:spcPct val="0"/>
                    </a:spcAft>
                    <a:defRPr/>
                  </a:pPr>
                  <a:endParaRPr lang="en-US" sz="1600" kern="0">
                    <a:solidFill>
                      <a:srgbClr val="FFFFFF"/>
                    </a:solidFill>
                    <a:latin typeface="Arial" charset="0"/>
                    <a:ea typeface="ＭＳ Ｐゴシック" charset="0"/>
                  </a:endParaRPr>
                </a:p>
              </p:txBody>
            </p:sp>
            <p:pic>
              <p:nvPicPr>
                <p:cNvPr id="275" name="Picture 578" descr="A close up of a persons hand&#10;&#10;Description automatically generated">
                  <a:extLst>
                    <a:ext uri="{FF2B5EF4-FFF2-40B4-BE49-F238E27FC236}">
                      <a16:creationId xmlns:a16="http://schemas.microsoft.com/office/drawing/2014/main" id="{2BE58C71-0198-EA4D-9664-0BE25585A6D0}"/>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6065948" y="399610"/>
                  <a:ext cx="2070387" cy="3307335"/>
                </a:xfrm>
                <a:prstGeom prst="rect">
                  <a:avLst/>
                </a:prstGeom>
              </p:spPr>
            </p:pic>
            <p:cxnSp>
              <p:nvCxnSpPr>
                <p:cNvPr id="277" name="Straight Connector 68">
                  <a:extLst>
                    <a:ext uri="{FF2B5EF4-FFF2-40B4-BE49-F238E27FC236}">
                      <a16:creationId xmlns:a16="http://schemas.microsoft.com/office/drawing/2014/main" id="{009DFB0F-FD9D-FC40-A1D8-70CF4CA25FA6}"/>
                    </a:ext>
                  </a:extLst>
                </p:cNvPr>
                <p:cNvCxnSpPr>
                  <a:cxnSpLocks/>
                </p:cNvCxnSpPr>
                <p:nvPr/>
              </p:nvCxnSpPr>
              <p:spPr>
                <a:xfrm flipV="1">
                  <a:off x="8053454" y="547273"/>
                  <a:ext cx="258188" cy="286562"/>
                </a:xfrm>
                <a:prstGeom prst="line">
                  <a:avLst/>
                </a:prstGeom>
                <a:noFill/>
                <a:ln w="25400" cap="flat" cmpd="sng" algn="ctr">
                  <a:solidFill>
                    <a:srgbClr val="6EBE4A"/>
                  </a:solidFill>
                  <a:prstDash val="solid"/>
                  <a:miter lim="800000"/>
                </a:ln>
                <a:effectLst/>
              </p:spPr>
            </p:cxnSp>
            <p:cxnSp>
              <p:nvCxnSpPr>
                <p:cNvPr id="278" name="Straight Connector 69">
                  <a:extLst>
                    <a:ext uri="{FF2B5EF4-FFF2-40B4-BE49-F238E27FC236}">
                      <a16:creationId xmlns:a16="http://schemas.microsoft.com/office/drawing/2014/main" id="{AD13DFC0-B475-0240-A596-10FED2F56714}"/>
                    </a:ext>
                  </a:extLst>
                </p:cNvPr>
                <p:cNvCxnSpPr>
                  <a:cxnSpLocks/>
                </p:cNvCxnSpPr>
                <p:nvPr/>
              </p:nvCxnSpPr>
              <p:spPr>
                <a:xfrm flipV="1">
                  <a:off x="8106909" y="892488"/>
                  <a:ext cx="365895" cy="111469"/>
                </a:xfrm>
                <a:prstGeom prst="line">
                  <a:avLst/>
                </a:prstGeom>
                <a:noFill/>
                <a:ln w="25400" cap="flat" cmpd="sng" algn="ctr">
                  <a:solidFill>
                    <a:srgbClr val="6EBE4A"/>
                  </a:solidFill>
                  <a:prstDash val="solid"/>
                  <a:miter lim="800000"/>
                </a:ln>
                <a:effectLst/>
              </p:spPr>
            </p:cxnSp>
            <p:cxnSp>
              <p:nvCxnSpPr>
                <p:cNvPr id="279" name="Straight Connector 70">
                  <a:extLst>
                    <a:ext uri="{FF2B5EF4-FFF2-40B4-BE49-F238E27FC236}">
                      <a16:creationId xmlns:a16="http://schemas.microsoft.com/office/drawing/2014/main" id="{0EB13A5C-4A72-7B4A-8FEF-5F11C9DBF09C}"/>
                    </a:ext>
                  </a:extLst>
                </p:cNvPr>
                <p:cNvCxnSpPr>
                  <a:cxnSpLocks/>
                </p:cNvCxnSpPr>
                <p:nvPr/>
              </p:nvCxnSpPr>
              <p:spPr>
                <a:xfrm>
                  <a:off x="8107268" y="1192221"/>
                  <a:ext cx="377947" cy="83227"/>
                </a:xfrm>
                <a:prstGeom prst="line">
                  <a:avLst/>
                </a:prstGeom>
                <a:noFill/>
                <a:ln w="25400" cap="flat" cmpd="sng" algn="ctr">
                  <a:solidFill>
                    <a:srgbClr val="6EBE4A"/>
                  </a:solidFill>
                  <a:prstDash val="solid"/>
                  <a:miter lim="800000"/>
                </a:ln>
                <a:effectLst/>
              </p:spPr>
            </p:cxnSp>
            <p:sp>
              <p:nvSpPr>
                <p:cNvPr id="280" name="Freeform: Shape 725">
                  <a:extLst>
                    <a:ext uri="{FF2B5EF4-FFF2-40B4-BE49-F238E27FC236}">
                      <a16:creationId xmlns:a16="http://schemas.microsoft.com/office/drawing/2014/main" id="{B2888F23-D37D-4247-A00F-B8BF1C6FDFBD}"/>
                    </a:ext>
                  </a:extLst>
                </p:cNvPr>
                <p:cNvSpPr/>
                <p:nvPr/>
              </p:nvSpPr>
              <p:spPr>
                <a:xfrm>
                  <a:off x="6364504" y="651554"/>
                  <a:ext cx="715873" cy="958758"/>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81" name="Freeform: Shape 726">
                  <a:extLst>
                    <a:ext uri="{FF2B5EF4-FFF2-40B4-BE49-F238E27FC236}">
                      <a16:creationId xmlns:a16="http://schemas.microsoft.com/office/drawing/2014/main" id="{8A4D4F2E-02C2-3647-94F3-1311B76471F4}"/>
                    </a:ext>
                  </a:extLst>
                </p:cNvPr>
                <p:cNvSpPr/>
                <p:nvPr/>
              </p:nvSpPr>
              <p:spPr>
                <a:xfrm>
                  <a:off x="6349495" y="678498"/>
                  <a:ext cx="600526" cy="80427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00BCEB"/>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sp>
              <p:nvSpPr>
                <p:cNvPr id="282" name="Freeform: Shape 727">
                  <a:extLst>
                    <a:ext uri="{FF2B5EF4-FFF2-40B4-BE49-F238E27FC236}">
                      <a16:creationId xmlns:a16="http://schemas.microsoft.com/office/drawing/2014/main" id="{AFC9B6A5-8015-1446-B2BA-6B1E6E38252D}"/>
                    </a:ext>
                  </a:extLst>
                </p:cNvPr>
                <p:cNvSpPr/>
                <p:nvPr/>
              </p:nvSpPr>
              <p:spPr>
                <a:xfrm>
                  <a:off x="6344685" y="705459"/>
                  <a:ext cx="472987" cy="633465"/>
                </a:xfrm>
                <a:custGeom>
                  <a:avLst/>
                  <a:gdLst>
                    <a:gd name="connsiteX0" fmla="*/ 0 w 829733"/>
                    <a:gd name="connsiteY0" fmla="*/ 1111250 h 1111250"/>
                    <a:gd name="connsiteX1" fmla="*/ 262467 w 829733"/>
                    <a:gd name="connsiteY1" fmla="*/ 463550 h 1111250"/>
                    <a:gd name="connsiteX2" fmla="*/ 378883 w 829733"/>
                    <a:gd name="connsiteY2" fmla="*/ 349250 h 1111250"/>
                    <a:gd name="connsiteX3" fmla="*/ 829733 w 829733"/>
                    <a:gd name="connsiteY3" fmla="*/ 0 h 1111250"/>
                    <a:gd name="connsiteX0" fmla="*/ 0 w 829733"/>
                    <a:gd name="connsiteY0" fmla="*/ 1111250 h 1111250"/>
                    <a:gd name="connsiteX1" fmla="*/ 262467 w 829733"/>
                    <a:gd name="connsiteY1" fmla="*/ 463550 h 1111250"/>
                    <a:gd name="connsiteX2" fmla="*/ 377825 w 829733"/>
                    <a:gd name="connsiteY2" fmla="*/ 334434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63550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2467 w 829733"/>
                    <a:gd name="connsiteY1" fmla="*/ 478367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 name="connsiteX0" fmla="*/ 0 w 829733"/>
                    <a:gd name="connsiteY0" fmla="*/ 1111250 h 1111250"/>
                    <a:gd name="connsiteX1" fmla="*/ 269876 w 829733"/>
                    <a:gd name="connsiteY1" fmla="*/ 468842 h 1111250"/>
                    <a:gd name="connsiteX2" fmla="*/ 376767 w 829733"/>
                    <a:gd name="connsiteY2" fmla="*/ 330200 h 1111250"/>
                    <a:gd name="connsiteX3" fmla="*/ 829733 w 829733"/>
                    <a:gd name="connsiteY3" fmla="*/ 0 h 1111250"/>
                  </a:gdLst>
                  <a:ahLst/>
                  <a:cxnLst>
                    <a:cxn ang="0">
                      <a:pos x="connsiteX0" y="connsiteY0"/>
                    </a:cxn>
                    <a:cxn ang="0">
                      <a:pos x="connsiteX1" y="connsiteY1"/>
                    </a:cxn>
                    <a:cxn ang="0">
                      <a:pos x="connsiteX2" y="connsiteY2"/>
                    </a:cxn>
                    <a:cxn ang="0">
                      <a:pos x="connsiteX3" y="connsiteY3"/>
                    </a:cxn>
                  </a:cxnLst>
                  <a:rect l="l" t="t" r="r" b="b"/>
                  <a:pathLst>
                    <a:path w="829733" h="1111250">
                      <a:moveTo>
                        <a:pt x="0" y="1111250"/>
                      </a:moveTo>
                      <a:cubicBezTo>
                        <a:pt x="99660" y="850900"/>
                        <a:pt x="240949" y="536575"/>
                        <a:pt x="269876" y="468842"/>
                      </a:cubicBezTo>
                      <a:cubicBezTo>
                        <a:pt x="298803" y="401109"/>
                        <a:pt x="302508" y="383998"/>
                        <a:pt x="376767" y="330200"/>
                      </a:cubicBezTo>
                      <a:lnTo>
                        <a:pt x="829733" y="0"/>
                      </a:lnTo>
                    </a:path>
                  </a:pathLst>
                </a:custGeom>
                <a:noFill/>
                <a:ln w="12700" cap="flat" cmpd="sng" algn="ctr">
                  <a:solidFill>
                    <a:srgbClr val="9E9EA2"/>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283" name="Picture 650" descr="A close up of a mountain&#10;&#10;Description automatically generated">
                  <a:extLst>
                    <a:ext uri="{FF2B5EF4-FFF2-40B4-BE49-F238E27FC236}">
                      <a16:creationId xmlns:a16="http://schemas.microsoft.com/office/drawing/2014/main" id="{6FEE6BD3-A2BB-DA42-8352-EE696090CD0E}"/>
                    </a:ext>
                  </a:extLst>
                </p:cNvPr>
                <p:cNvPicPr>
                  <a:picLocks noChangeAspect="1"/>
                </p:cNvPicPr>
                <p:nvPr/>
              </p:nvPicPr>
              <p:blipFill>
                <a:blip r:embed="rId13"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a:off x="6419647" y="3396261"/>
                  <a:ext cx="2331539" cy="1161707"/>
                </a:xfrm>
                <a:prstGeom prst="rect">
                  <a:avLst/>
                </a:prstGeom>
              </p:spPr>
            </p:pic>
            <p:pic>
              <p:nvPicPr>
                <p:cNvPr id="284" name="Picture 11" descr="A close up of a mountain&#10;&#10;Description automatically generated">
                  <a:extLst>
                    <a:ext uri="{FF2B5EF4-FFF2-40B4-BE49-F238E27FC236}">
                      <a16:creationId xmlns:a16="http://schemas.microsoft.com/office/drawing/2014/main" id="{8A2C4B40-6CC8-7D4E-A0B5-37E766D94F86}"/>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5791559" y="3408734"/>
                  <a:ext cx="2081140" cy="1036944"/>
                </a:xfrm>
                <a:prstGeom prst="rect">
                  <a:avLst/>
                </a:prstGeom>
              </p:spPr>
            </p:pic>
            <p:pic>
              <p:nvPicPr>
                <p:cNvPr id="285" name="Picture 651" descr="A close up of a mountain&#10;&#10;Description automatically generated">
                  <a:extLst>
                    <a:ext uri="{FF2B5EF4-FFF2-40B4-BE49-F238E27FC236}">
                      <a16:creationId xmlns:a16="http://schemas.microsoft.com/office/drawing/2014/main" id="{596AE97A-2B2B-F94D-BF72-63A6069BD34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flipH="1">
                  <a:off x="6530862" y="3536367"/>
                  <a:ext cx="2453510" cy="1161707"/>
                </a:xfrm>
                <a:prstGeom prst="rect">
                  <a:avLst/>
                </a:prstGeom>
              </p:spPr>
            </p:pic>
            <p:pic>
              <p:nvPicPr>
                <p:cNvPr id="286" name="Picture 652" descr="A close up of a mountain&#10;&#10;Description automatically generated">
                  <a:extLst>
                    <a:ext uri="{FF2B5EF4-FFF2-40B4-BE49-F238E27FC236}">
                      <a16:creationId xmlns:a16="http://schemas.microsoft.com/office/drawing/2014/main" id="{564C54C3-BEBC-C14E-B199-8B697CEAC3AC}"/>
                    </a:ext>
                  </a:extLst>
                </p:cNvPr>
                <p:cNvPicPr>
                  <a:picLocks noChangeAspect="1"/>
                </p:cNvPicPr>
                <p:nvPr/>
              </p:nvPicPr>
              <p:blipFill>
                <a:blip r:embed="rId10"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a:off x="6490681" y="3706945"/>
                  <a:ext cx="2081140" cy="1036944"/>
                </a:xfrm>
                <a:prstGeom prst="rect">
                  <a:avLst/>
                </a:prstGeom>
              </p:spPr>
            </p:pic>
            <p:pic>
              <p:nvPicPr>
                <p:cNvPr id="343" name="Picture 653" descr="A close up of a mountain&#10;&#10;Description automatically generated">
                  <a:extLst>
                    <a:ext uri="{FF2B5EF4-FFF2-40B4-BE49-F238E27FC236}">
                      <a16:creationId xmlns:a16="http://schemas.microsoft.com/office/drawing/2014/main" id="{63208DB1-DF30-7F4F-B1C3-3D5EA320E60A}"/>
                    </a:ext>
                  </a:extLst>
                </p:cNvPr>
                <p:cNvPicPr>
                  <a:picLocks noChangeAspect="1"/>
                </p:cNvPicPr>
                <p:nvPr/>
              </p:nvPicPr>
              <p:blipFill>
                <a:blip r:embed="rId18" cstate="screen">
                  <a:duotone>
                    <a:prstClr val="black"/>
                    <a:srgbClr val="00BCEB">
                      <a:tint val="45000"/>
                      <a:satMod val="400000"/>
                    </a:srgbClr>
                  </a:duotone>
                  <a:extLst>
                    <a:ext uri="{28A0092B-C50C-407E-A947-70E740481C1C}">
                      <a14:useLocalDpi xmlns:a14="http://schemas.microsoft.com/office/drawing/2010/main"/>
                    </a:ext>
                  </a:extLst>
                </a:blip>
                <a:stretch>
                  <a:fillRect/>
                </a:stretch>
              </p:blipFill>
              <p:spPr>
                <a:xfrm flipH="1">
                  <a:off x="6029946" y="3399660"/>
                  <a:ext cx="2453510" cy="1161707"/>
                </a:xfrm>
                <a:prstGeom prst="rect">
                  <a:avLst/>
                </a:prstGeom>
              </p:spPr>
            </p:pic>
            <p:pic>
              <p:nvPicPr>
                <p:cNvPr id="344" name="Picture 671" descr="A close up of a mountain&#10;&#10;Description automatically generated">
                  <a:extLst>
                    <a:ext uri="{FF2B5EF4-FFF2-40B4-BE49-F238E27FC236}">
                      <a16:creationId xmlns:a16="http://schemas.microsoft.com/office/drawing/2014/main" id="{1B812B12-427B-F741-A9A1-8D5347DACF52}"/>
                    </a:ext>
                  </a:extLst>
                </p:cNvPr>
                <p:cNvPicPr>
                  <a:picLocks noChangeAspect="1"/>
                </p:cNvPicPr>
                <p:nvPr/>
              </p:nvPicPr>
              <p:blipFill>
                <a:blip r:embed="rId19" cstate="screen">
                  <a:duotone>
                    <a:prstClr val="black"/>
                    <a:srgbClr val="9E9EA2">
                      <a:tint val="45000"/>
                      <a:satMod val="400000"/>
                    </a:srgbClr>
                  </a:duotone>
                  <a:extLst>
                    <a:ext uri="{28A0092B-C50C-407E-A947-70E740481C1C}">
                      <a14:useLocalDpi xmlns:a14="http://schemas.microsoft.com/office/drawing/2010/main"/>
                    </a:ext>
                  </a:extLst>
                </a:blip>
                <a:stretch>
                  <a:fillRect/>
                </a:stretch>
              </p:blipFill>
              <p:spPr>
                <a:xfrm flipH="1">
                  <a:off x="6635063" y="3439796"/>
                  <a:ext cx="1521937" cy="758317"/>
                </a:xfrm>
                <a:prstGeom prst="rect">
                  <a:avLst/>
                </a:prstGeom>
              </p:spPr>
            </p:pic>
            <p:sp>
              <p:nvSpPr>
                <p:cNvPr id="345" name="Freeform: Shape 98">
                  <a:extLst>
                    <a:ext uri="{FF2B5EF4-FFF2-40B4-BE49-F238E27FC236}">
                      <a16:creationId xmlns:a16="http://schemas.microsoft.com/office/drawing/2014/main" id="{5599052F-0644-694B-AB27-F7AE6AEA74C1}"/>
                    </a:ext>
                  </a:extLst>
                </p:cNvPr>
                <p:cNvSpPr/>
                <p:nvPr/>
              </p:nvSpPr>
              <p:spPr>
                <a:xfrm>
                  <a:off x="5587711" y="2779505"/>
                  <a:ext cx="1610981" cy="1954401"/>
                </a:xfrm>
                <a:custGeom>
                  <a:avLst/>
                  <a:gdLst>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583"/>
                    <a:gd name="connsiteX1" fmla="*/ 1723545 w 2210348"/>
                    <a:gd name="connsiteY1" fmla="*/ 2486642 h 2565583"/>
                    <a:gd name="connsiteX2" fmla="*/ 1980103 w 2210348"/>
                    <a:gd name="connsiteY2" fmla="*/ 2565583 h 2565583"/>
                    <a:gd name="connsiteX3" fmla="*/ 2210348 w 2210348"/>
                    <a:gd name="connsiteY3" fmla="*/ 2466907 h 2565583"/>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80103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5752"/>
                    <a:gd name="connsiteX1" fmla="*/ 1723545 w 2210348"/>
                    <a:gd name="connsiteY1" fmla="*/ 2486642 h 2565752"/>
                    <a:gd name="connsiteX2" fmla="*/ 1951528 w 2210348"/>
                    <a:gd name="connsiteY2" fmla="*/ 2565583 h 2565752"/>
                    <a:gd name="connsiteX3" fmla="*/ 2210348 w 2210348"/>
                    <a:gd name="connsiteY3" fmla="*/ 2466907 h 2565752"/>
                    <a:gd name="connsiteX0" fmla="*/ 0 w 2210348"/>
                    <a:gd name="connsiteY0" fmla="*/ 0 h 2566712"/>
                    <a:gd name="connsiteX1" fmla="*/ 1723545 w 2210348"/>
                    <a:gd name="connsiteY1" fmla="*/ 2486642 h 2566712"/>
                    <a:gd name="connsiteX2" fmla="*/ 1951528 w 2210348"/>
                    <a:gd name="connsiteY2" fmla="*/ 2565583 h 2566712"/>
                    <a:gd name="connsiteX3" fmla="*/ 2210348 w 2210348"/>
                    <a:gd name="connsiteY3" fmla="*/ 2466907 h 2566712"/>
                    <a:gd name="connsiteX0" fmla="*/ 0 w 2210348"/>
                    <a:gd name="connsiteY0" fmla="*/ 0 h 2618050"/>
                    <a:gd name="connsiteX1" fmla="*/ 1723545 w 2210348"/>
                    <a:gd name="connsiteY1" fmla="*/ 2486642 h 2618050"/>
                    <a:gd name="connsiteX2" fmla="*/ 1956290 w 2210348"/>
                    <a:gd name="connsiteY2" fmla="*/ 2617970 h 2618050"/>
                    <a:gd name="connsiteX3" fmla="*/ 2210348 w 2210348"/>
                    <a:gd name="connsiteY3" fmla="*/ 246690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50"/>
                    <a:gd name="connsiteX1" fmla="*/ 1723545 w 2181773"/>
                    <a:gd name="connsiteY1" fmla="*/ 2486642 h 2618050"/>
                    <a:gd name="connsiteX2" fmla="*/ 1956290 w 2181773"/>
                    <a:gd name="connsiteY2" fmla="*/ 2617970 h 2618050"/>
                    <a:gd name="connsiteX3" fmla="*/ 2181773 w 2181773"/>
                    <a:gd name="connsiteY3" fmla="*/ 2447857 h 2618050"/>
                    <a:gd name="connsiteX0" fmla="*/ 0 w 2181773"/>
                    <a:gd name="connsiteY0" fmla="*/ 0 h 2618037"/>
                    <a:gd name="connsiteX1" fmla="*/ 1742595 w 2181773"/>
                    <a:gd name="connsiteY1" fmla="*/ 2477117 h 2618037"/>
                    <a:gd name="connsiteX2" fmla="*/ 1956290 w 2181773"/>
                    <a:gd name="connsiteY2" fmla="*/ 2617970 h 2618037"/>
                    <a:gd name="connsiteX3" fmla="*/ 2181773 w 2181773"/>
                    <a:gd name="connsiteY3" fmla="*/ 2447857 h 2618037"/>
                    <a:gd name="connsiteX0" fmla="*/ 0 w 2210348"/>
                    <a:gd name="connsiteY0" fmla="*/ 0 h 2681537"/>
                    <a:gd name="connsiteX1" fmla="*/ 1771170 w 2210348"/>
                    <a:gd name="connsiteY1" fmla="*/ 2540617 h 2681537"/>
                    <a:gd name="connsiteX2" fmla="*/ 1984865 w 2210348"/>
                    <a:gd name="connsiteY2" fmla="*/ 2681470 h 2681537"/>
                    <a:gd name="connsiteX3" fmla="*/ 2210348 w 2210348"/>
                    <a:gd name="connsiteY3" fmla="*/ 2511357 h 2681537"/>
                  </a:gdLst>
                  <a:ahLst/>
                  <a:cxnLst>
                    <a:cxn ang="0">
                      <a:pos x="connsiteX0" y="connsiteY0"/>
                    </a:cxn>
                    <a:cxn ang="0">
                      <a:pos x="connsiteX1" y="connsiteY1"/>
                    </a:cxn>
                    <a:cxn ang="0">
                      <a:pos x="connsiteX2" y="connsiteY2"/>
                    </a:cxn>
                    <a:cxn ang="0">
                      <a:pos x="connsiteX3" y="connsiteY3"/>
                    </a:cxn>
                  </a:cxnLst>
                  <a:rect l="l" t="t" r="r" b="b"/>
                  <a:pathLst>
                    <a:path w="2210348" h="2681537">
                      <a:moveTo>
                        <a:pt x="0" y="0"/>
                      </a:moveTo>
                      <a:lnTo>
                        <a:pt x="1771170" y="2540617"/>
                      </a:lnTo>
                      <a:cubicBezTo>
                        <a:pt x="1832876" y="2628844"/>
                        <a:pt x="1899346" y="2683731"/>
                        <a:pt x="1984865" y="2681470"/>
                      </a:cubicBezTo>
                      <a:cubicBezTo>
                        <a:pt x="2085425" y="2681916"/>
                        <a:pt x="2133600" y="2622036"/>
                        <a:pt x="2210348" y="2511357"/>
                      </a:cubicBezTo>
                    </a:path>
                  </a:pathLst>
                </a:custGeom>
                <a:noFill/>
                <a:ln w="12700" cap="flat" cmpd="sng" algn="ctr">
                  <a:solidFill>
                    <a:srgbClr val="0D274D"/>
                  </a:solidFill>
                  <a:prstDash val="solid"/>
                </a:ln>
                <a:effectLst/>
              </p:spPr>
              <p:txBody>
                <a:bodyPr rtlCol="0" anchor="ctr"/>
                <a:lstStyle/>
                <a:p>
                  <a:pPr algn="ctr" defTabSz="457189" fontAlgn="base">
                    <a:spcBef>
                      <a:spcPct val="0"/>
                    </a:spcBef>
                    <a:spcAft>
                      <a:spcPct val="0"/>
                    </a:spcAft>
                    <a:defRPr/>
                  </a:pPr>
                  <a:endParaRPr lang="en-US" sz="1600" kern="0">
                    <a:solidFill>
                      <a:srgbClr val="0D274D"/>
                    </a:solidFill>
                    <a:latin typeface="CiscoSansTT ExtraLight"/>
                  </a:endParaRPr>
                </a:p>
              </p:txBody>
            </p:sp>
            <p:pic>
              <p:nvPicPr>
                <p:cNvPr id="346" name="Picture 188" descr="A picture containing sitting, black, dark, table&#10;&#10;Description automatically generated">
                  <a:extLst>
                    <a:ext uri="{FF2B5EF4-FFF2-40B4-BE49-F238E27FC236}">
                      <a16:creationId xmlns:a16="http://schemas.microsoft.com/office/drawing/2014/main" id="{0F9357BD-31FB-8E43-8CAA-673CBC384F58}"/>
                    </a:ext>
                  </a:extLst>
                </p:cNvPr>
                <p:cNvPicPr>
                  <a:picLocks noChangeAspect="1"/>
                </p:cNvPicPr>
                <p:nvPr/>
              </p:nvPicPr>
              <p:blipFill rotWithShape="1">
                <a:blip r:embed="rId9" cstate="screen">
                  <a:duotone>
                    <a:srgbClr val="00BCEB">
                      <a:shade val="45000"/>
                      <a:satMod val="135000"/>
                    </a:srgbClr>
                    <a:prstClr val="white"/>
                  </a:duotone>
                  <a:alphaModFix amt="30000"/>
                  <a:extLst>
                    <a:ext uri="{28A0092B-C50C-407E-A947-70E740481C1C}">
                      <a14:useLocalDpi xmlns:a14="http://schemas.microsoft.com/office/drawing/2010/main"/>
                    </a:ext>
                  </a:extLst>
                </a:blip>
                <a:srcRect/>
                <a:stretch/>
              </p:blipFill>
              <p:spPr>
                <a:xfrm>
                  <a:off x="7433927" y="661835"/>
                  <a:ext cx="870883" cy="862494"/>
                </a:xfrm>
                <a:prstGeom prst="rect">
                  <a:avLst/>
                </a:prstGeom>
              </p:spPr>
            </p:pic>
          </p:grpSp>
        </p:grpSp>
        <p:pic>
          <p:nvPicPr>
            <p:cNvPr id="251" name="Graphic 250">
              <a:extLst>
                <a:ext uri="{FF2B5EF4-FFF2-40B4-BE49-F238E27FC236}">
                  <a16:creationId xmlns:a16="http://schemas.microsoft.com/office/drawing/2014/main" id="{336A346B-DC23-4347-8328-D3D34F9573D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864541" y="4322359"/>
              <a:ext cx="707780" cy="707780"/>
            </a:xfrm>
            <a:prstGeom prst="rect">
              <a:avLst/>
            </a:prstGeom>
          </p:spPr>
        </p:pic>
        <p:pic>
          <p:nvPicPr>
            <p:cNvPr id="252" name="Graphic 251">
              <a:extLst>
                <a:ext uri="{FF2B5EF4-FFF2-40B4-BE49-F238E27FC236}">
                  <a16:creationId xmlns:a16="http://schemas.microsoft.com/office/drawing/2014/main" id="{FB0089FA-1A62-EA4B-93CA-792BA471983D}"/>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39635" y="4309903"/>
              <a:ext cx="707780" cy="707780"/>
            </a:xfrm>
            <a:prstGeom prst="rect">
              <a:avLst/>
            </a:prstGeom>
          </p:spPr>
        </p:pic>
      </p:grpSp>
      <p:sp>
        <p:nvSpPr>
          <p:cNvPr id="221" name="Rectangle 220">
            <a:extLst>
              <a:ext uri="{FF2B5EF4-FFF2-40B4-BE49-F238E27FC236}">
                <a16:creationId xmlns:a16="http://schemas.microsoft.com/office/drawing/2014/main" id="{77663A83-7CB1-714A-8534-B491DDCC86E9}"/>
              </a:ext>
            </a:extLst>
          </p:cNvPr>
          <p:cNvSpPr/>
          <p:nvPr/>
        </p:nvSpPr>
        <p:spPr>
          <a:xfrm>
            <a:off x="5517203" y="3353474"/>
            <a:ext cx="1707206" cy="892552"/>
          </a:xfrm>
          <a:prstGeom prst="rect">
            <a:avLst/>
          </a:prstGeom>
        </p:spPr>
        <p:txBody>
          <a:bodyPr wrap="square">
            <a:spAutoFit/>
          </a:bodyPr>
          <a:lstStyle/>
          <a:p>
            <a:pPr marL="0" marR="0" lvl="0" indent="0" algn="ctr" defTabSz="685800" rtl="0" eaLnBrk="1" fontAlgn="auto" latinLnBrk="0" hangingPunct="1">
              <a:lnSpc>
                <a:spcPct val="100000"/>
              </a:lnSpc>
              <a:spcBef>
                <a:spcPts val="1200"/>
              </a:spcBef>
              <a:spcAft>
                <a:spcPts val="0"/>
              </a:spcAft>
              <a:buClrTx/>
              <a:buSzTx/>
              <a:buFontTx/>
              <a:buNone/>
              <a:tabLst/>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Save 100 hours</a:t>
            </a:r>
            <a:br>
              <a:rPr kumimoji="0" lang="en-US" sz="1200" b="0" i="0" u="none" strike="noStrike" kern="1200" cap="none" spc="0" normalizeH="0" baseline="0" noProof="0" dirty="0">
                <a:ln>
                  <a:noFill/>
                </a:ln>
                <a:solidFill>
                  <a:srgbClr val="6EBE4A"/>
                </a:solidFill>
                <a:effectLst/>
                <a:uLnTx/>
                <a:uFillTx/>
                <a:latin typeface="CiscoSansTT" panose="020B0503020201020303" pitchFamily="34" charset="0"/>
                <a:ea typeface="ＭＳ Ｐゴシック" charset="0"/>
                <a:cs typeface="CiscoSansTT" panose="020B0503020201020303" pitchFamily="34" charset="0"/>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ExtraLight" panose="020B0303020201020303" pitchFamily="34" charset="0"/>
              </a:rPr>
              <a:t>by unifying visibility and automating </a:t>
            </a:r>
            <a:b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ExtraLight" panose="020B0303020201020303" pitchFamily="34" charset="0"/>
              </a:rPr>
            </a:br>
            <a:r>
              <a:rPr kumimoji="0" lang="en-US" sz="1200" b="0" i="0" u="none" strike="noStrike" kern="1200" cap="none" spc="0" normalizeH="0" baseline="0" noProof="0" dirty="0">
                <a:ln>
                  <a:noFill/>
                </a:ln>
                <a:solidFill>
                  <a:srgbClr val="0D274D"/>
                </a:solidFill>
                <a:effectLst/>
                <a:uLnTx/>
                <a:uFillTx/>
                <a:latin typeface="CiscoSansTT ExtraLight"/>
                <a:ea typeface="ＭＳ Ｐゴシック" charset="0"/>
                <a:cs typeface="CiscoSansTT ExtraLight" panose="020B0303020201020303" pitchFamily="34" charset="0"/>
              </a:rPr>
              <a:t>your workflows</a:t>
            </a:r>
          </a:p>
        </p:txBody>
      </p:sp>
      <p:sp>
        <p:nvSpPr>
          <p:cNvPr id="3" name="Rectangle 2">
            <a:extLst>
              <a:ext uri="{FF2B5EF4-FFF2-40B4-BE49-F238E27FC236}">
                <a16:creationId xmlns:a16="http://schemas.microsoft.com/office/drawing/2014/main" id="{064458DC-C03A-0341-BB61-757521C57C58}"/>
              </a:ext>
            </a:extLst>
          </p:cNvPr>
          <p:cNvSpPr/>
          <p:nvPr/>
        </p:nvSpPr>
        <p:spPr>
          <a:xfrm>
            <a:off x="7360466" y="3353474"/>
            <a:ext cx="1593896" cy="892552"/>
          </a:xfrm>
          <a:prstGeom prst="rect">
            <a:avLst/>
          </a:prstGeom>
        </p:spPr>
        <p:txBody>
          <a:bodyPr wrap="square">
            <a:spAutoFit/>
          </a:bodyPr>
          <a:lstStyle/>
          <a:p>
            <a:pPr lvl="0" algn="ctr">
              <a:spcBef>
                <a:spcPts val="1200"/>
              </a:spcBef>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85% reduction </a:t>
            </a:r>
            <a:br>
              <a:rPr lang="en-US" sz="1200" dirty="0">
                <a:solidFill>
                  <a:srgbClr val="6EBE4A"/>
                </a:solidFill>
                <a:latin typeface="CiscoSansTT" panose="020B0503020201020303" pitchFamily="34" charset="0"/>
                <a:ea typeface="ＭＳ Ｐゴシック" charset="0"/>
                <a:cs typeface="CiscoSansTT" panose="020B0503020201020303" pitchFamily="34" charset="0"/>
              </a:rPr>
            </a:br>
            <a:r>
              <a:rPr lang="en-US" sz="1200" dirty="0">
                <a:solidFill>
                  <a:srgbClr val="0D274D"/>
                </a:solidFill>
                <a:ea typeface="ＭＳ Ｐゴシック" charset="0"/>
                <a:cs typeface="CiscoSansTT ExtraLight" panose="020B0303020201020303" pitchFamily="34" charset="0"/>
              </a:rPr>
              <a:t>in time to respond and remediate to </a:t>
            </a:r>
            <a:br>
              <a:rPr lang="en-US" sz="1200" dirty="0">
                <a:solidFill>
                  <a:srgbClr val="0D274D"/>
                </a:solidFill>
                <a:ea typeface="ＭＳ Ｐゴシック" charset="0"/>
                <a:cs typeface="CiscoSansTT ExtraLight" panose="020B0303020201020303" pitchFamily="34" charset="0"/>
              </a:rPr>
            </a:br>
            <a:r>
              <a:rPr lang="en-US" sz="1200" dirty="0">
                <a:solidFill>
                  <a:srgbClr val="0D274D"/>
                </a:solidFill>
                <a:ea typeface="ＭＳ Ｐゴシック" charset="0"/>
                <a:cs typeface="CiscoSansTT ExtraLight" panose="020B0303020201020303" pitchFamily="34" charset="0"/>
              </a:rPr>
              <a:t>an attack</a:t>
            </a:r>
            <a:r>
              <a:rPr lang="en-US" sz="1200" baseline="30000" dirty="0">
                <a:solidFill>
                  <a:srgbClr val="0D274D"/>
                </a:solidFill>
                <a:ea typeface="ＭＳ Ｐゴシック" charset="0"/>
                <a:cs typeface="CiscoSansTT ExtraLight" panose="020B0303020201020303" pitchFamily="34" charset="0"/>
              </a:rPr>
              <a:t>2</a:t>
            </a:r>
            <a:endParaRPr lang="en-US" sz="1200" baseline="30000" dirty="0">
              <a:solidFill>
                <a:srgbClr val="6EBE4A"/>
              </a:solidFill>
              <a:ea typeface="ＭＳ Ｐゴシック" charset="0"/>
              <a:cs typeface="CiscoSansTT ExtraLight" panose="020B0303020201020303" pitchFamily="34" charset="0"/>
            </a:endParaRPr>
          </a:p>
        </p:txBody>
      </p:sp>
      <p:sp>
        <p:nvSpPr>
          <p:cNvPr id="4" name="Rectangle 3">
            <a:extLst>
              <a:ext uri="{FF2B5EF4-FFF2-40B4-BE49-F238E27FC236}">
                <a16:creationId xmlns:a16="http://schemas.microsoft.com/office/drawing/2014/main" id="{BAD71B46-60DE-F745-B306-C532FF987385}"/>
              </a:ext>
            </a:extLst>
          </p:cNvPr>
          <p:cNvSpPr/>
          <p:nvPr/>
        </p:nvSpPr>
        <p:spPr>
          <a:xfrm>
            <a:off x="1702239" y="3353474"/>
            <a:ext cx="2036051" cy="892552"/>
          </a:xfrm>
          <a:prstGeom prst="rect">
            <a:avLst/>
          </a:prstGeom>
        </p:spPr>
        <p:txBody>
          <a:bodyPr wrap="square">
            <a:spAutoFit/>
          </a:bodyPr>
          <a:lstStyle/>
          <a:p>
            <a:pPr lvl="0" algn="ctr">
              <a:spcBef>
                <a:spcPts val="1200"/>
              </a:spcBef>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In 15 minutes</a:t>
            </a:r>
            <a:r>
              <a:rPr lang="en-US" sz="1600" dirty="0">
                <a:solidFill>
                  <a:srgbClr val="0D274D"/>
                </a:solidFill>
                <a:ea typeface="ＭＳ Ｐゴシック" charset="0"/>
                <a:cs typeface="CiscoSansTT" panose="020B0503020201020303" pitchFamily="34" charset="0"/>
              </a:rPr>
              <a:t>, </a:t>
            </a:r>
            <a:br>
              <a:rPr lang="en-US" sz="1600" dirty="0">
                <a:solidFill>
                  <a:srgbClr val="0D274D"/>
                </a:solidFill>
                <a:ea typeface="ＭＳ Ｐゴシック" charset="0"/>
                <a:cs typeface="CiscoSansTT" panose="020B0503020201020303" pitchFamily="34" charset="0"/>
              </a:rPr>
            </a:br>
            <a:r>
              <a:rPr lang="en-US" sz="1200" dirty="0">
                <a:solidFill>
                  <a:srgbClr val="0D274D"/>
                </a:solidFill>
                <a:ea typeface="ＭＳ Ｐゴシック" charset="0"/>
                <a:cs typeface="CiscoSansTT" panose="020B0503020201020303" pitchFamily="34" charset="0"/>
              </a:rPr>
              <a:t>you achieve r</a:t>
            </a:r>
            <a:r>
              <a:rPr lang="en-US" sz="1200" dirty="0">
                <a:solidFill>
                  <a:srgbClr val="0D274D"/>
                </a:solidFill>
                <a:ea typeface="ＭＳ Ｐゴシック" charset="0"/>
              </a:rPr>
              <a:t>eal benefits using what you already have as it’s cloud-native</a:t>
            </a:r>
          </a:p>
        </p:txBody>
      </p:sp>
      <p:sp>
        <p:nvSpPr>
          <p:cNvPr id="5" name="Rectangle 4">
            <a:extLst>
              <a:ext uri="{FF2B5EF4-FFF2-40B4-BE49-F238E27FC236}">
                <a16:creationId xmlns:a16="http://schemas.microsoft.com/office/drawing/2014/main" id="{4B50D7D7-D87F-1543-B242-B4245EF6355A}"/>
              </a:ext>
            </a:extLst>
          </p:cNvPr>
          <p:cNvSpPr/>
          <p:nvPr/>
        </p:nvSpPr>
        <p:spPr>
          <a:xfrm>
            <a:off x="190643" y="3353474"/>
            <a:ext cx="1600869" cy="892552"/>
          </a:xfrm>
          <a:prstGeom prst="rect">
            <a:avLst/>
          </a:prstGeom>
        </p:spPr>
        <p:txBody>
          <a:bodyPr wrap="square">
            <a:spAutoFit/>
          </a:bodyPr>
          <a:lstStyle/>
          <a:p>
            <a:pPr lvl="0" algn="ctr">
              <a:spcBef>
                <a:spcPts val="1200"/>
              </a:spcBef>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Included</a:t>
            </a:r>
            <a:r>
              <a:rPr lang="en-US" sz="1200" dirty="0">
                <a:solidFill>
                  <a:srgbClr val="6EBE4A"/>
                </a:solidFill>
                <a:cs typeface="CiscoSansTT Thin" charset="0"/>
              </a:rPr>
              <a:t> </a:t>
            </a:r>
            <a:br>
              <a:rPr lang="en-US" sz="1200" dirty="0">
                <a:solidFill>
                  <a:srgbClr val="6EBE4A"/>
                </a:solidFill>
                <a:cs typeface="CiscoSansTT Thin" charset="0"/>
              </a:rPr>
            </a:br>
            <a:r>
              <a:rPr lang="en-US" sz="1200" dirty="0">
                <a:solidFill>
                  <a:srgbClr val="0D274D"/>
                </a:solidFill>
                <a:cs typeface="CiscoSansTT Thin" charset="0"/>
              </a:rPr>
              <a:t>with</a:t>
            </a:r>
            <a:r>
              <a:rPr lang="en-US" sz="1200" dirty="0">
                <a:solidFill>
                  <a:srgbClr val="6EBE4A"/>
                </a:solidFill>
                <a:cs typeface="CiscoSansTT Thin" charset="0"/>
              </a:rPr>
              <a:t> </a:t>
            </a:r>
            <a:r>
              <a:rPr lang="en-US" sz="1200" dirty="0">
                <a:solidFill>
                  <a:srgbClr val="0D274D"/>
                </a:solidFill>
                <a:cs typeface="CiscoSansTT Thin" charset="0"/>
              </a:rPr>
              <a:t>every </a:t>
            </a:r>
            <a:br>
              <a:rPr lang="en-US" sz="1200" dirty="0">
                <a:solidFill>
                  <a:srgbClr val="0D274D"/>
                </a:solidFill>
                <a:cs typeface="CiscoSansTT Thin" charset="0"/>
              </a:rPr>
            </a:br>
            <a:r>
              <a:rPr lang="en-US" sz="1200" dirty="0">
                <a:solidFill>
                  <a:srgbClr val="0D274D"/>
                </a:solidFill>
                <a:cs typeface="CiscoSansTT Thin" charset="0"/>
              </a:rPr>
              <a:t>Cisco Secure product </a:t>
            </a:r>
          </a:p>
        </p:txBody>
      </p:sp>
      <p:sp>
        <p:nvSpPr>
          <p:cNvPr id="226" name="Rectangle 225">
            <a:extLst>
              <a:ext uri="{FF2B5EF4-FFF2-40B4-BE49-F238E27FC236}">
                <a16:creationId xmlns:a16="http://schemas.microsoft.com/office/drawing/2014/main" id="{5FE356A9-9907-764B-AD1E-2F79CD83754F}"/>
              </a:ext>
            </a:extLst>
          </p:cNvPr>
          <p:cNvSpPr/>
          <p:nvPr/>
        </p:nvSpPr>
        <p:spPr>
          <a:xfrm>
            <a:off x="3736601" y="3353474"/>
            <a:ext cx="1755152" cy="892552"/>
          </a:xfrm>
          <a:prstGeom prst="rect">
            <a:avLst/>
          </a:prstGeom>
        </p:spPr>
        <p:txBody>
          <a:bodyPr wrap="square">
            <a:spAutoFit/>
          </a:bodyPr>
          <a:lstStyle/>
          <a:p>
            <a:pPr algn="ctr">
              <a:spcBef>
                <a:spcPts val="1200"/>
              </a:spcBef>
              <a:defRPr/>
            </a:pPr>
            <a:r>
              <a:rPr lang="en-US" sz="1500" dirty="0">
                <a:solidFill>
                  <a:srgbClr val="0D274D"/>
                </a:solidFill>
                <a:latin typeface="CiscoSansTT" panose="020B0503020201020303" pitchFamily="34" charset="0"/>
                <a:ea typeface="ＭＳ Ｐゴシック" charset="0"/>
                <a:cs typeface="CiscoSansTT" panose="020B0503020201020303" pitchFamily="34" charset="0"/>
              </a:rPr>
              <a:t>In half the time</a:t>
            </a:r>
            <a:r>
              <a:rPr lang="en-US" sz="1600" dirty="0">
                <a:solidFill>
                  <a:srgbClr val="0D274D"/>
                </a:solidFill>
                <a:ea typeface="ＭＳ Ｐゴシック" charset="0"/>
                <a:cs typeface="CiscoSansTT" panose="020B0503020201020303" pitchFamily="34" charset="0"/>
              </a:rPr>
              <a:t>, </a:t>
            </a:r>
            <a:br>
              <a:rPr lang="en-US" sz="1200" dirty="0">
                <a:solidFill>
                  <a:srgbClr val="0D274D"/>
                </a:solidFill>
                <a:ea typeface="ＭＳ Ｐゴシック" charset="0"/>
                <a:cs typeface="CiscoSansTT" panose="020B0503020201020303" pitchFamily="34" charset="0"/>
              </a:rPr>
            </a:br>
            <a:r>
              <a:rPr lang="en-US" sz="1200" dirty="0">
                <a:solidFill>
                  <a:srgbClr val="0D274D"/>
                </a:solidFill>
                <a:ea typeface="ＭＳ Ｐゴシック" charset="0"/>
                <a:cs typeface="CiscoSansTT" panose="020B0503020201020303" pitchFamily="34" charset="0"/>
              </a:rPr>
              <a:t>customers say they visualize threats within their environment</a:t>
            </a:r>
            <a:r>
              <a:rPr lang="en-US" sz="1200" baseline="30000" dirty="0">
                <a:solidFill>
                  <a:srgbClr val="0D274D"/>
                </a:solidFill>
                <a:ea typeface="ＭＳ Ｐゴシック" charset="0"/>
                <a:cs typeface="CiscoSansTT" panose="020B0503020201020303" pitchFamily="34" charset="0"/>
              </a:rPr>
              <a:t>1</a:t>
            </a:r>
            <a:endParaRPr lang="en-US" sz="1200" dirty="0">
              <a:solidFill>
                <a:srgbClr val="0D274D"/>
              </a:solidFill>
              <a:ea typeface="ＭＳ Ｐゴシック" charset="0"/>
            </a:endParaRPr>
          </a:p>
        </p:txBody>
      </p:sp>
      <p:sp>
        <p:nvSpPr>
          <p:cNvPr id="227" name="Rectangle 226">
            <a:extLst>
              <a:ext uri="{FF2B5EF4-FFF2-40B4-BE49-F238E27FC236}">
                <a16:creationId xmlns:a16="http://schemas.microsoft.com/office/drawing/2014/main" id="{EFB62E72-B16B-6B46-8360-E685E70DE43E}"/>
              </a:ext>
            </a:extLst>
          </p:cNvPr>
          <p:cNvSpPr/>
          <p:nvPr/>
        </p:nvSpPr>
        <p:spPr>
          <a:xfrm>
            <a:off x="6305691" y="4817558"/>
            <a:ext cx="2271248" cy="230832"/>
          </a:xfrm>
          <a:prstGeom prst="rect">
            <a:avLst/>
          </a:prstGeom>
          <a:solidFill>
            <a:schemeClr val="bg1"/>
          </a:solidFill>
        </p:spPr>
        <p:txBody>
          <a:bodyPr wrap="square">
            <a:spAutoFit/>
          </a:bodyPr>
          <a:lstStyle/>
          <a:p>
            <a:pPr lvl="0">
              <a:spcBef>
                <a:spcPts val="1200"/>
              </a:spcBef>
              <a:defRPr/>
            </a:pPr>
            <a:r>
              <a:rPr lang="en-US" sz="900" dirty="0">
                <a:cs typeface="CiscoSansTT" panose="020B0503020201020303" pitchFamily="34" charset="0"/>
              </a:rPr>
              <a:t>[2] Source: Based on internal simulation</a:t>
            </a:r>
            <a:endParaRPr lang="en-US" sz="900" dirty="0">
              <a:cs typeface="CiscoSansTT Thin" charset="0"/>
            </a:endParaRPr>
          </a:p>
        </p:txBody>
      </p:sp>
      <p:sp>
        <p:nvSpPr>
          <p:cNvPr id="228" name="Rectangle 227">
            <a:extLst>
              <a:ext uri="{FF2B5EF4-FFF2-40B4-BE49-F238E27FC236}">
                <a16:creationId xmlns:a16="http://schemas.microsoft.com/office/drawing/2014/main" id="{2853B4EA-3F93-B84E-B652-0B606A62BA08}"/>
              </a:ext>
            </a:extLst>
          </p:cNvPr>
          <p:cNvSpPr/>
          <p:nvPr/>
        </p:nvSpPr>
        <p:spPr>
          <a:xfrm>
            <a:off x="6305691" y="4616490"/>
            <a:ext cx="2271248" cy="230832"/>
          </a:xfrm>
          <a:prstGeom prst="rect">
            <a:avLst/>
          </a:prstGeom>
          <a:solidFill>
            <a:schemeClr val="bg1"/>
          </a:solidFill>
        </p:spPr>
        <p:txBody>
          <a:bodyPr wrap="square">
            <a:spAutoFit/>
          </a:bodyPr>
          <a:lstStyle/>
          <a:p>
            <a:pPr lvl="0">
              <a:spcBef>
                <a:spcPts val="1200"/>
              </a:spcBef>
              <a:defRPr/>
            </a:pPr>
            <a:r>
              <a:rPr lang="en-US" sz="900">
                <a:cs typeface="CiscoSansTT" panose="020B0503020201020303" pitchFamily="34" charset="0"/>
              </a:rPr>
              <a:t>[1] Source: </a:t>
            </a:r>
            <a:r>
              <a:rPr lang="en-US" sz="900" err="1">
                <a:cs typeface="CiscoSansTT" panose="020B0503020201020303" pitchFamily="34" charset="0"/>
              </a:rPr>
              <a:t>TechValidate</a:t>
            </a:r>
            <a:endParaRPr lang="en-US" sz="900">
              <a:cs typeface="CiscoSansTT Thin" charset="0"/>
            </a:endParaRPr>
          </a:p>
        </p:txBody>
      </p:sp>
      <p:cxnSp>
        <p:nvCxnSpPr>
          <p:cNvPr id="402" name="Straight Connector 401">
            <a:extLst>
              <a:ext uri="{FF2B5EF4-FFF2-40B4-BE49-F238E27FC236}">
                <a16:creationId xmlns:a16="http://schemas.microsoft.com/office/drawing/2014/main" id="{A7F12BE9-3DC3-4847-9565-9D8572FA5FCE}"/>
              </a:ext>
            </a:extLst>
          </p:cNvPr>
          <p:cNvCxnSpPr>
            <a:cxnSpLocks/>
          </p:cNvCxnSpPr>
          <p:nvPr/>
        </p:nvCxnSpPr>
        <p:spPr>
          <a:xfrm flipV="1">
            <a:off x="0" y="2953822"/>
            <a:ext cx="91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756DC69A-043A-48B2-BAA9-C82FFB2984D4}"/>
              </a:ext>
            </a:extLst>
          </p:cNvPr>
          <p:cNvGrpSpPr>
            <a:grpSpLocks noChangeAspect="1"/>
          </p:cNvGrpSpPr>
          <p:nvPr/>
        </p:nvGrpSpPr>
        <p:grpSpPr>
          <a:xfrm>
            <a:off x="804402" y="2780073"/>
            <a:ext cx="339581" cy="347498"/>
            <a:chOff x="-1285851" y="2012409"/>
            <a:chExt cx="1309278" cy="1339813"/>
          </a:xfrm>
          <a:solidFill>
            <a:schemeClr val="tx2"/>
          </a:solidFill>
        </p:grpSpPr>
        <p:grpSp>
          <p:nvGrpSpPr>
            <p:cNvPr id="404" name="Graphic 75">
              <a:extLst>
                <a:ext uri="{FF2B5EF4-FFF2-40B4-BE49-F238E27FC236}">
                  <a16:creationId xmlns:a16="http://schemas.microsoft.com/office/drawing/2014/main" id="{9073C4F2-39B5-40E5-9E5D-64FAD0A49895}"/>
                </a:ext>
              </a:extLst>
            </p:cNvPr>
            <p:cNvGrpSpPr/>
            <p:nvPr/>
          </p:nvGrpSpPr>
          <p:grpSpPr>
            <a:xfrm>
              <a:off x="-1285851" y="2012409"/>
              <a:ext cx="1309278" cy="1339813"/>
              <a:chOff x="4820236" y="1931698"/>
              <a:chExt cx="926552" cy="948156"/>
            </a:xfrm>
            <a:grpFill/>
          </p:grpSpPr>
          <p:sp>
            <p:nvSpPr>
              <p:cNvPr id="406" name="Freeform: Shape 589">
                <a:extLst>
                  <a:ext uri="{FF2B5EF4-FFF2-40B4-BE49-F238E27FC236}">
                    <a16:creationId xmlns:a16="http://schemas.microsoft.com/office/drawing/2014/main" id="{5C5DC957-5EBF-480B-8F14-B7D599AC6C83}"/>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7" name="Freeform: Shape 590">
                <a:extLst>
                  <a:ext uri="{FF2B5EF4-FFF2-40B4-BE49-F238E27FC236}">
                    <a16:creationId xmlns:a16="http://schemas.microsoft.com/office/drawing/2014/main" id="{33C7BB2F-06D9-485F-8D61-F154FF3C9004}"/>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8" name="Freeform: Shape 591">
                <a:extLst>
                  <a:ext uri="{FF2B5EF4-FFF2-40B4-BE49-F238E27FC236}">
                    <a16:creationId xmlns:a16="http://schemas.microsoft.com/office/drawing/2014/main" id="{FBFF2835-5898-4786-A202-B9A59147F33E}"/>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09" name="Freeform: Shape 592">
                <a:extLst>
                  <a:ext uri="{FF2B5EF4-FFF2-40B4-BE49-F238E27FC236}">
                    <a16:creationId xmlns:a16="http://schemas.microsoft.com/office/drawing/2014/main" id="{C8DC2175-6D37-49C0-8B4C-C996B09A66E3}"/>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0" name="Freeform: Shape 593">
                <a:extLst>
                  <a:ext uri="{FF2B5EF4-FFF2-40B4-BE49-F238E27FC236}">
                    <a16:creationId xmlns:a16="http://schemas.microsoft.com/office/drawing/2014/main" id="{EBC0191E-965C-417C-8E25-438AB6796DF3}"/>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1" name="Freeform: Shape 594">
                <a:extLst>
                  <a:ext uri="{FF2B5EF4-FFF2-40B4-BE49-F238E27FC236}">
                    <a16:creationId xmlns:a16="http://schemas.microsoft.com/office/drawing/2014/main" id="{D9348580-1A2E-4C14-957C-E8F453276466}"/>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2" name="Freeform: Shape 595">
                <a:extLst>
                  <a:ext uri="{FF2B5EF4-FFF2-40B4-BE49-F238E27FC236}">
                    <a16:creationId xmlns:a16="http://schemas.microsoft.com/office/drawing/2014/main" id="{85AFBC42-03D9-4D32-A7E4-04C6C47427AE}"/>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3" name="Freeform: Shape 596">
                <a:extLst>
                  <a:ext uri="{FF2B5EF4-FFF2-40B4-BE49-F238E27FC236}">
                    <a16:creationId xmlns:a16="http://schemas.microsoft.com/office/drawing/2014/main" id="{A9312BF5-4CCE-4EDD-BD9B-70EF1E4910EC}"/>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4" name="Freeform: Shape 597">
                <a:extLst>
                  <a:ext uri="{FF2B5EF4-FFF2-40B4-BE49-F238E27FC236}">
                    <a16:creationId xmlns:a16="http://schemas.microsoft.com/office/drawing/2014/main" id="{3626426B-3DC2-4EE5-90CA-6B8EDC0231C3}"/>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5" name="Freeform: Shape 598">
                <a:extLst>
                  <a:ext uri="{FF2B5EF4-FFF2-40B4-BE49-F238E27FC236}">
                    <a16:creationId xmlns:a16="http://schemas.microsoft.com/office/drawing/2014/main" id="{F0117164-31BA-450C-BA84-093A03937E87}"/>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6" name="Freeform: Shape 599">
                <a:extLst>
                  <a:ext uri="{FF2B5EF4-FFF2-40B4-BE49-F238E27FC236}">
                    <a16:creationId xmlns:a16="http://schemas.microsoft.com/office/drawing/2014/main" id="{D3D3434B-41E4-4A74-B2D6-1643C6A8B950}"/>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7" name="Freeform: Shape 600">
                <a:extLst>
                  <a:ext uri="{FF2B5EF4-FFF2-40B4-BE49-F238E27FC236}">
                    <a16:creationId xmlns:a16="http://schemas.microsoft.com/office/drawing/2014/main" id="{4BD3FFAD-E580-4E12-AC5C-4C15BA4BC1EC}"/>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8" name="Freeform: Shape 601">
                <a:extLst>
                  <a:ext uri="{FF2B5EF4-FFF2-40B4-BE49-F238E27FC236}">
                    <a16:creationId xmlns:a16="http://schemas.microsoft.com/office/drawing/2014/main" id="{BF2F717C-F3A8-443E-936B-F1B2F15B5F06}"/>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19" name="Freeform: Shape 602">
                <a:extLst>
                  <a:ext uri="{FF2B5EF4-FFF2-40B4-BE49-F238E27FC236}">
                    <a16:creationId xmlns:a16="http://schemas.microsoft.com/office/drawing/2014/main" id="{5C83EC40-2A6E-4A92-AF9A-ED98BE687A06}"/>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0" name="Freeform: Shape 603">
                <a:extLst>
                  <a:ext uri="{FF2B5EF4-FFF2-40B4-BE49-F238E27FC236}">
                    <a16:creationId xmlns:a16="http://schemas.microsoft.com/office/drawing/2014/main" id="{D58C5D62-01B6-4D6C-BA66-81C5DB846BE3}"/>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1" name="Freeform: Shape 604">
                <a:extLst>
                  <a:ext uri="{FF2B5EF4-FFF2-40B4-BE49-F238E27FC236}">
                    <a16:creationId xmlns:a16="http://schemas.microsoft.com/office/drawing/2014/main" id="{F6171E4B-AE65-440F-AEAB-651B7C3CC76D}"/>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2" name="Freeform: Shape 605">
                <a:extLst>
                  <a:ext uri="{FF2B5EF4-FFF2-40B4-BE49-F238E27FC236}">
                    <a16:creationId xmlns:a16="http://schemas.microsoft.com/office/drawing/2014/main" id="{CE2DEF4A-4C22-4451-BDDD-4412A7F1FE82}"/>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3" name="Freeform: Shape 606">
                <a:extLst>
                  <a:ext uri="{FF2B5EF4-FFF2-40B4-BE49-F238E27FC236}">
                    <a16:creationId xmlns:a16="http://schemas.microsoft.com/office/drawing/2014/main" id="{DC816E14-C31F-41D6-98C5-642C2F24267E}"/>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05" name="Oval 404">
              <a:extLst>
                <a:ext uri="{FF2B5EF4-FFF2-40B4-BE49-F238E27FC236}">
                  <a16:creationId xmlns:a16="http://schemas.microsoft.com/office/drawing/2014/main" id="{7956B22C-F544-4B51-A185-A4116D7DCED9}"/>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24" name="Group 423">
            <a:extLst>
              <a:ext uri="{FF2B5EF4-FFF2-40B4-BE49-F238E27FC236}">
                <a16:creationId xmlns:a16="http://schemas.microsoft.com/office/drawing/2014/main" id="{795A736A-DAFE-48E3-9AF5-D882E7C4CC27}"/>
              </a:ext>
            </a:extLst>
          </p:cNvPr>
          <p:cNvGrpSpPr>
            <a:grpSpLocks noChangeAspect="1"/>
          </p:cNvGrpSpPr>
          <p:nvPr/>
        </p:nvGrpSpPr>
        <p:grpSpPr>
          <a:xfrm>
            <a:off x="2533589" y="2780073"/>
            <a:ext cx="339581" cy="347498"/>
            <a:chOff x="-1285851" y="2012409"/>
            <a:chExt cx="1309278" cy="1339813"/>
          </a:xfrm>
          <a:solidFill>
            <a:schemeClr val="tx2"/>
          </a:solidFill>
        </p:grpSpPr>
        <p:grpSp>
          <p:nvGrpSpPr>
            <p:cNvPr id="425" name="Graphic 75">
              <a:extLst>
                <a:ext uri="{FF2B5EF4-FFF2-40B4-BE49-F238E27FC236}">
                  <a16:creationId xmlns:a16="http://schemas.microsoft.com/office/drawing/2014/main" id="{AC97BFFD-44C5-4416-BE36-3A2726F57A41}"/>
                </a:ext>
              </a:extLst>
            </p:cNvPr>
            <p:cNvGrpSpPr/>
            <p:nvPr/>
          </p:nvGrpSpPr>
          <p:grpSpPr>
            <a:xfrm>
              <a:off x="-1285851" y="2012409"/>
              <a:ext cx="1309278" cy="1339813"/>
              <a:chOff x="4820236" y="1931698"/>
              <a:chExt cx="926552" cy="948156"/>
            </a:xfrm>
            <a:grpFill/>
          </p:grpSpPr>
          <p:sp>
            <p:nvSpPr>
              <p:cNvPr id="427" name="Freeform: Shape 589">
                <a:extLst>
                  <a:ext uri="{FF2B5EF4-FFF2-40B4-BE49-F238E27FC236}">
                    <a16:creationId xmlns:a16="http://schemas.microsoft.com/office/drawing/2014/main" id="{B00FE51B-A430-4031-A665-218A4DF9EF3E}"/>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8" name="Freeform: Shape 590">
                <a:extLst>
                  <a:ext uri="{FF2B5EF4-FFF2-40B4-BE49-F238E27FC236}">
                    <a16:creationId xmlns:a16="http://schemas.microsoft.com/office/drawing/2014/main" id="{A1A44143-B2E6-43FC-9BDC-2CEA5C34EC6F}"/>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29" name="Freeform: Shape 591">
                <a:extLst>
                  <a:ext uri="{FF2B5EF4-FFF2-40B4-BE49-F238E27FC236}">
                    <a16:creationId xmlns:a16="http://schemas.microsoft.com/office/drawing/2014/main" id="{1C8D3B21-7AE3-476F-945A-E7D016E64C4E}"/>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0" name="Freeform: Shape 592">
                <a:extLst>
                  <a:ext uri="{FF2B5EF4-FFF2-40B4-BE49-F238E27FC236}">
                    <a16:creationId xmlns:a16="http://schemas.microsoft.com/office/drawing/2014/main" id="{B5C6969A-8A58-4DF5-8141-757175B740C3}"/>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1" name="Freeform: Shape 593">
                <a:extLst>
                  <a:ext uri="{FF2B5EF4-FFF2-40B4-BE49-F238E27FC236}">
                    <a16:creationId xmlns:a16="http://schemas.microsoft.com/office/drawing/2014/main" id="{CAF86CFF-8C49-45FD-BA20-70600CB8D350}"/>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2" name="Freeform: Shape 594">
                <a:extLst>
                  <a:ext uri="{FF2B5EF4-FFF2-40B4-BE49-F238E27FC236}">
                    <a16:creationId xmlns:a16="http://schemas.microsoft.com/office/drawing/2014/main" id="{B7641EE0-A3B0-4B31-A310-385AC2FFAA00}"/>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3" name="Freeform: Shape 595">
                <a:extLst>
                  <a:ext uri="{FF2B5EF4-FFF2-40B4-BE49-F238E27FC236}">
                    <a16:creationId xmlns:a16="http://schemas.microsoft.com/office/drawing/2014/main" id="{D42F2841-2C84-4945-A3D6-4BC1BA054E6C}"/>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4" name="Freeform: Shape 596">
                <a:extLst>
                  <a:ext uri="{FF2B5EF4-FFF2-40B4-BE49-F238E27FC236}">
                    <a16:creationId xmlns:a16="http://schemas.microsoft.com/office/drawing/2014/main" id="{BBAD2994-5CA1-4D77-9305-87C44AA2C8B8}"/>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5" name="Freeform: Shape 597">
                <a:extLst>
                  <a:ext uri="{FF2B5EF4-FFF2-40B4-BE49-F238E27FC236}">
                    <a16:creationId xmlns:a16="http://schemas.microsoft.com/office/drawing/2014/main" id="{1FF11B7F-1572-442F-A640-633235FC7662}"/>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6" name="Freeform: Shape 598">
                <a:extLst>
                  <a:ext uri="{FF2B5EF4-FFF2-40B4-BE49-F238E27FC236}">
                    <a16:creationId xmlns:a16="http://schemas.microsoft.com/office/drawing/2014/main" id="{45C39ECE-F414-458E-806F-4573DA64265B}"/>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7" name="Freeform: Shape 599">
                <a:extLst>
                  <a:ext uri="{FF2B5EF4-FFF2-40B4-BE49-F238E27FC236}">
                    <a16:creationId xmlns:a16="http://schemas.microsoft.com/office/drawing/2014/main" id="{25F070F4-8A7C-49B7-8B97-515B96ED72E8}"/>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8" name="Freeform: Shape 600">
                <a:extLst>
                  <a:ext uri="{FF2B5EF4-FFF2-40B4-BE49-F238E27FC236}">
                    <a16:creationId xmlns:a16="http://schemas.microsoft.com/office/drawing/2014/main" id="{44E02D3F-6EF7-4F38-B49A-60114BD3F22A}"/>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39" name="Freeform: Shape 601">
                <a:extLst>
                  <a:ext uri="{FF2B5EF4-FFF2-40B4-BE49-F238E27FC236}">
                    <a16:creationId xmlns:a16="http://schemas.microsoft.com/office/drawing/2014/main" id="{60BD3BD8-9306-47E9-8258-5E6323BCDFF4}"/>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0" name="Freeform: Shape 602">
                <a:extLst>
                  <a:ext uri="{FF2B5EF4-FFF2-40B4-BE49-F238E27FC236}">
                    <a16:creationId xmlns:a16="http://schemas.microsoft.com/office/drawing/2014/main" id="{8266EC4A-A1B8-46D2-B36B-E751D8624DCC}"/>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1" name="Freeform: Shape 603">
                <a:extLst>
                  <a:ext uri="{FF2B5EF4-FFF2-40B4-BE49-F238E27FC236}">
                    <a16:creationId xmlns:a16="http://schemas.microsoft.com/office/drawing/2014/main" id="{2001CAF4-D3AA-4A71-95EA-BFE20F253C5A}"/>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2" name="Freeform: Shape 604">
                <a:extLst>
                  <a:ext uri="{FF2B5EF4-FFF2-40B4-BE49-F238E27FC236}">
                    <a16:creationId xmlns:a16="http://schemas.microsoft.com/office/drawing/2014/main" id="{0C85A7C8-BE3B-4076-B3A3-EF868711CE02}"/>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3" name="Freeform: Shape 605">
                <a:extLst>
                  <a:ext uri="{FF2B5EF4-FFF2-40B4-BE49-F238E27FC236}">
                    <a16:creationId xmlns:a16="http://schemas.microsoft.com/office/drawing/2014/main" id="{91C18C04-5803-4114-B588-EE6B7FE964CD}"/>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4" name="Freeform: Shape 606">
                <a:extLst>
                  <a:ext uri="{FF2B5EF4-FFF2-40B4-BE49-F238E27FC236}">
                    <a16:creationId xmlns:a16="http://schemas.microsoft.com/office/drawing/2014/main" id="{0D1E8634-21E8-4988-B52C-45C4C3B82A22}"/>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26" name="Oval 425">
              <a:extLst>
                <a:ext uri="{FF2B5EF4-FFF2-40B4-BE49-F238E27FC236}">
                  <a16:creationId xmlns:a16="http://schemas.microsoft.com/office/drawing/2014/main" id="{D095AC81-7038-4F3C-8BE8-CDB5EF4EBE50}"/>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45" name="Group 444">
            <a:extLst>
              <a:ext uri="{FF2B5EF4-FFF2-40B4-BE49-F238E27FC236}">
                <a16:creationId xmlns:a16="http://schemas.microsoft.com/office/drawing/2014/main" id="{E5736FDC-C9F8-415D-A792-B2FB3C58F6B2}"/>
              </a:ext>
            </a:extLst>
          </p:cNvPr>
          <p:cNvGrpSpPr>
            <a:grpSpLocks noChangeAspect="1"/>
          </p:cNvGrpSpPr>
          <p:nvPr/>
        </p:nvGrpSpPr>
        <p:grpSpPr>
          <a:xfrm>
            <a:off x="4427502" y="2780073"/>
            <a:ext cx="339581" cy="347498"/>
            <a:chOff x="-1285851" y="2012409"/>
            <a:chExt cx="1309278" cy="1339813"/>
          </a:xfrm>
          <a:solidFill>
            <a:schemeClr val="tx2"/>
          </a:solidFill>
        </p:grpSpPr>
        <p:grpSp>
          <p:nvGrpSpPr>
            <p:cNvPr id="446" name="Graphic 75">
              <a:extLst>
                <a:ext uri="{FF2B5EF4-FFF2-40B4-BE49-F238E27FC236}">
                  <a16:creationId xmlns:a16="http://schemas.microsoft.com/office/drawing/2014/main" id="{05D44CEE-5555-4F0E-8B6E-082D701F7ABC}"/>
                </a:ext>
              </a:extLst>
            </p:cNvPr>
            <p:cNvGrpSpPr/>
            <p:nvPr/>
          </p:nvGrpSpPr>
          <p:grpSpPr>
            <a:xfrm>
              <a:off x="-1285851" y="2012409"/>
              <a:ext cx="1309278" cy="1339813"/>
              <a:chOff x="4820236" y="1931698"/>
              <a:chExt cx="926552" cy="948156"/>
            </a:xfrm>
            <a:grpFill/>
          </p:grpSpPr>
          <p:sp>
            <p:nvSpPr>
              <p:cNvPr id="448" name="Freeform: Shape 589">
                <a:extLst>
                  <a:ext uri="{FF2B5EF4-FFF2-40B4-BE49-F238E27FC236}">
                    <a16:creationId xmlns:a16="http://schemas.microsoft.com/office/drawing/2014/main" id="{2C1F4579-9875-4D7A-8A33-BD30CEE4E0E1}"/>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49" name="Freeform: Shape 590">
                <a:extLst>
                  <a:ext uri="{FF2B5EF4-FFF2-40B4-BE49-F238E27FC236}">
                    <a16:creationId xmlns:a16="http://schemas.microsoft.com/office/drawing/2014/main" id="{C94B30D2-D53A-4656-B782-C04E7AD46C5C}"/>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0" name="Freeform: Shape 591">
                <a:extLst>
                  <a:ext uri="{FF2B5EF4-FFF2-40B4-BE49-F238E27FC236}">
                    <a16:creationId xmlns:a16="http://schemas.microsoft.com/office/drawing/2014/main" id="{D315E3F2-11B8-4464-9F2E-E4CBAB606DFF}"/>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1" name="Freeform: Shape 592">
                <a:extLst>
                  <a:ext uri="{FF2B5EF4-FFF2-40B4-BE49-F238E27FC236}">
                    <a16:creationId xmlns:a16="http://schemas.microsoft.com/office/drawing/2014/main" id="{CA9EA487-A9AF-48C2-B0E8-29E99439087D}"/>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2" name="Freeform: Shape 593">
                <a:extLst>
                  <a:ext uri="{FF2B5EF4-FFF2-40B4-BE49-F238E27FC236}">
                    <a16:creationId xmlns:a16="http://schemas.microsoft.com/office/drawing/2014/main" id="{F32E9A86-905F-41F8-8EED-94E6CA9413D4}"/>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3" name="Freeform: Shape 594">
                <a:extLst>
                  <a:ext uri="{FF2B5EF4-FFF2-40B4-BE49-F238E27FC236}">
                    <a16:creationId xmlns:a16="http://schemas.microsoft.com/office/drawing/2014/main" id="{483EE431-8BDD-4E90-BEF3-396BC7F925FE}"/>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4" name="Freeform: Shape 595">
                <a:extLst>
                  <a:ext uri="{FF2B5EF4-FFF2-40B4-BE49-F238E27FC236}">
                    <a16:creationId xmlns:a16="http://schemas.microsoft.com/office/drawing/2014/main" id="{8E6294F0-5047-4D5D-8B4A-5AFD75FA7D57}"/>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5" name="Freeform: Shape 596">
                <a:extLst>
                  <a:ext uri="{FF2B5EF4-FFF2-40B4-BE49-F238E27FC236}">
                    <a16:creationId xmlns:a16="http://schemas.microsoft.com/office/drawing/2014/main" id="{E97610DC-E136-41D0-9940-3166D777459C}"/>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6" name="Freeform: Shape 597">
                <a:extLst>
                  <a:ext uri="{FF2B5EF4-FFF2-40B4-BE49-F238E27FC236}">
                    <a16:creationId xmlns:a16="http://schemas.microsoft.com/office/drawing/2014/main" id="{39168ABA-4421-438E-AF54-594F0BCC6064}"/>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7" name="Freeform: Shape 598">
                <a:extLst>
                  <a:ext uri="{FF2B5EF4-FFF2-40B4-BE49-F238E27FC236}">
                    <a16:creationId xmlns:a16="http://schemas.microsoft.com/office/drawing/2014/main" id="{2DCEA7B7-2004-47D6-AC83-94E8D1C1F6E5}"/>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8" name="Freeform: Shape 599">
                <a:extLst>
                  <a:ext uri="{FF2B5EF4-FFF2-40B4-BE49-F238E27FC236}">
                    <a16:creationId xmlns:a16="http://schemas.microsoft.com/office/drawing/2014/main" id="{AD49F0BC-CD61-43B9-BC01-412EF7F4194A}"/>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59" name="Freeform: Shape 600">
                <a:extLst>
                  <a:ext uri="{FF2B5EF4-FFF2-40B4-BE49-F238E27FC236}">
                    <a16:creationId xmlns:a16="http://schemas.microsoft.com/office/drawing/2014/main" id="{A136D1AB-D615-420B-9D35-5B624E6F5DD3}"/>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0" name="Freeform: Shape 601">
                <a:extLst>
                  <a:ext uri="{FF2B5EF4-FFF2-40B4-BE49-F238E27FC236}">
                    <a16:creationId xmlns:a16="http://schemas.microsoft.com/office/drawing/2014/main" id="{58514D6C-483A-462D-B700-1CF4B400C12D}"/>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1" name="Freeform: Shape 602">
                <a:extLst>
                  <a:ext uri="{FF2B5EF4-FFF2-40B4-BE49-F238E27FC236}">
                    <a16:creationId xmlns:a16="http://schemas.microsoft.com/office/drawing/2014/main" id="{0CAE3625-B873-442B-9AAD-E29DD7BD4165}"/>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2" name="Freeform: Shape 603">
                <a:extLst>
                  <a:ext uri="{FF2B5EF4-FFF2-40B4-BE49-F238E27FC236}">
                    <a16:creationId xmlns:a16="http://schemas.microsoft.com/office/drawing/2014/main" id="{625858DC-D04F-459D-B87D-5648B80E309E}"/>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3" name="Freeform: Shape 604">
                <a:extLst>
                  <a:ext uri="{FF2B5EF4-FFF2-40B4-BE49-F238E27FC236}">
                    <a16:creationId xmlns:a16="http://schemas.microsoft.com/office/drawing/2014/main" id="{280A4969-7FEF-4F47-8B1E-71950219B628}"/>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4" name="Freeform: Shape 605">
                <a:extLst>
                  <a:ext uri="{FF2B5EF4-FFF2-40B4-BE49-F238E27FC236}">
                    <a16:creationId xmlns:a16="http://schemas.microsoft.com/office/drawing/2014/main" id="{69EC9485-FC4B-4209-A7C3-4F1E4F955705}"/>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65" name="Freeform: Shape 606">
                <a:extLst>
                  <a:ext uri="{FF2B5EF4-FFF2-40B4-BE49-F238E27FC236}">
                    <a16:creationId xmlns:a16="http://schemas.microsoft.com/office/drawing/2014/main" id="{8684A421-D81B-4AA0-8064-274AB83D6667}"/>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47" name="Oval 446">
              <a:extLst>
                <a:ext uri="{FF2B5EF4-FFF2-40B4-BE49-F238E27FC236}">
                  <a16:creationId xmlns:a16="http://schemas.microsoft.com/office/drawing/2014/main" id="{2276C839-24DF-420F-8C28-FC7FA1F9EC82}"/>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66" name="Group 465">
            <a:extLst>
              <a:ext uri="{FF2B5EF4-FFF2-40B4-BE49-F238E27FC236}">
                <a16:creationId xmlns:a16="http://schemas.microsoft.com/office/drawing/2014/main" id="{A819A1A6-38F3-41D5-AEB6-DCA3BE2C69E4}"/>
              </a:ext>
            </a:extLst>
          </p:cNvPr>
          <p:cNvGrpSpPr>
            <a:grpSpLocks noChangeAspect="1"/>
          </p:cNvGrpSpPr>
          <p:nvPr/>
        </p:nvGrpSpPr>
        <p:grpSpPr>
          <a:xfrm>
            <a:off x="6201016" y="2780073"/>
            <a:ext cx="339581" cy="347498"/>
            <a:chOff x="-1285851" y="2012409"/>
            <a:chExt cx="1309278" cy="1339813"/>
          </a:xfrm>
          <a:solidFill>
            <a:schemeClr val="tx2"/>
          </a:solidFill>
        </p:grpSpPr>
        <p:grpSp>
          <p:nvGrpSpPr>
            <p:cNvPr id="467" name="Graphic 75">
              <a:extLst>
                <a:ext uri="{FF2B5EF4-FFF2-40B4-BE49-F238E27FC236}">
                  <a16:creationId xmlns:a16="http://schemas.microsoft.com/office/drawing/2014/main" id="{320BCDEC-4405-4FEB-B2B8-8351BD5D8D49}"/>
                </a:ext>
              </a:extLst>
            </p:cNvPr>
            <p:cNvGrpSpPr/>
            <p:nvPr/>
          </p:nvGrpSpPr>
          <p:grpSpPr>
            <a:xfrm>
              <a:off x="-1285851" y="2012409"/>
              <a:ext cx="1309278" cy="1339813"/>
              <a:chOff x="4820236" y="1931698"/>
              <a:chExt cx="926552" cy="948156"/>
            </a:xfrm>
            <a:grpFill/>
          </p:grpSpPr>
          <p:sp>
            <p:nvSpPr>
              <p:cNvPr id="469" name="Freeform: Shape 589">
                <a:extLst>
                  <a:ext uri="{FF2B5EF4-FFF2-40B4-BE49-F238E27FC236}">
                    <a16:creationId xmlns:a16="http://schemas.microsoft.com/office/drawing/2014/main" id="{56F1F9FD-3A7B-4D20-ABA5-E544353F5EDF}"/>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0" name="Freeform: Shape 590">
                <a:extLst>
                  <a:ext uri="{FF2B5EF4-FFF2-40B4-BE49-F238E27FC236}">
                    <a16:creationId xmlns:a16="http://schemas.microsoft.com/office/drawing/2014/main" id="{77E626D3-7171-4465-8C0D-88105D469FA2}"/>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1" name="Freeform: Shape 591">
                <a:extLst>
                  <a:ext uri="{FF2B5EF4-FFF2-40B4-BE49-F238E27FC236}">
                    <a16:creationId xmlns:a16="http://schemas.microsoft.com/office/drawing/2014/main" id="{B8CDEAC6-C7CA-422C-90C9-80FDF4BC22AB}"/>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2" name="Freeform: Shape 592">
                <a:extLst>
                  <a:ext uri="{FF2B5EF4-FFF2-40B4-BE49-F238E27FC236}">
                    <a16:creationId xmlns:a16="http://schemas.microsoft.com/office/drawing/2014/main" id="{1F36712A-E72F-4525-B1D3-A5DBECF56DAA}"/>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3" name="Freeform: Shape 593">
                <a:extLst>
                  <a:ext uri="{FF2B5EF4-FFF2-40B4-BE49-F238E27FC236}">
                    <a16:creationId xmlns:a16="http://schemas.microsoft.com/office/drawing/2014/main" id="{06DC00BA-0EE6-4B29-AF28-7AB6A6E80321}"/>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4" name="Freeform: Shape 594">
                <a:extLst>
                  <a:ext uri="{FF2B5EF4-FFF2-40B4-BE49-F238E27FC236}">
                    <a16:creationId xmlns:a16="http://schemas.microsoft.com/office/drawing/2014/main" id="{E9DDC86D-7E85-4CE0-B243-A2E3425D6FF9}"/>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5" name="Freeform: Shape 595">
                <a:extLst>
                  <a:ext uri="{FF2B5EF4-FFF2-40B4-BE49-F238E27FC236}">
                    <a16:creationId xmlns:a16="http://schemas.microsoft.com/office/drawing/2014/main" id="{946B6B3A-6D47-4847-BCFF-0285FC7A1482}"/>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6" name="Freeform: Shape 596">
                <a:extLst>
                  <a:ext uri="{FF2B5EF4-FFF2-40B4-BE49-F238E27FC236}">
                    <a16:creationId xmlns:a16="http://schemas.microsoft.com/office/drawing/2014/main" id="{6EA46FEE-1B20-40AF-8906-C7572922FFA6}"/>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7" name="Freeform: Shape 597">
                <a:extLst>
                  <a:ext uri="{FF2B5EF4-FFF2-40B4-BE49-F238E27FC236}">
                    <a16:creationId xmlns:a16="http://schemas.microsoft.com/office/drawing/2014/main" id="{D1DF15CD-A5BB-4B82-A13F-0E310DB552CC}"/>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8" name="Freeform: Shape 598">
                <a:extLst>
                  <a:ext uri="{FF2B5EF4-FFF2-40B4-BE49-F238E27FC236}">
                    <a16:creationId xmlns:a16="http://schemas.microsoft.com/office/drawing/2014/main" id="{839BF6C4-DC6A-467B-84B0-19F8C39D72B6}"/>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79" name="Freeform: Shape 599">
                <a:extLst>
                  <a:ext uri="{FF2B5EF4-FFF2-40B4-BE49-F238E27FC236}">
                    <a16:creationId xmlns:a16="http://schemas.microsoft.com/office/drawing/2014/main" id="{D34B4EDB-6F40-4951-A877-577749F067C7}"/>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0" name="Freeform: Shape 600">
                <a:extLst>
                  <a:ext uri="{FF2B5EF4-FFF2-40B4-BE49-F238E27FC236}">
                    <a16:creationId xmlns:a16="http://schemas.microsoft.com/office/drawing/2014/main" id="{EB00A505-F63E-4294-B9E1-EBA006D3FF66}"/>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1" name="Freeform: Shape 601">
                <a:extLst>
                  <a:ext uri="{FF2B5EF4-FFF2-40B4-BE49-F238E27FC236}">
                    <a16:creationId xmlns:a16="http://schemas.microsoft.com/office/drawing/2014/main" id="{8A135B9A-2FC6-409A-9FF0-96E31E571860}"/>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2" name="Freeform: Shape 602">
                <a:extLst>
                  <a:ext uri="{FF2B5EF4-FFF2-40B4-BE49-F238E27FC236}">
                    <a16:creationId xmlns:a16="http://schemas.microsoft.com/office/drawing/2014/main" id="{27F9C400-8B5B-4BF5-A1CC-50136FDB68C3}"/>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3" name="Freeform: Shape 603">
                <a:extLst>
                  <a:ext uri="{FF2B5EF4-FFF2-40B4-BE49-F238E27FC236}">
                    <a16:creationId xmlns:a16="http://schemas.microsoft.com/office/drawing/2014/main" id="{4BDBD3C7-AA6D-490E-8082-158A2F3E114C}"/>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4" name="Freeform: Shape 604">
                <a:extLst>
                  <a:ext uri="{FF2B5EF4-FFF2-40B4-BE49-F238E27FC236}">
                    <a16:creationId xmlns:a16="http://schemas.microsoft.com/office/drawing/2014/main" id="{F7DE5A50-7619-45E0-AB15-3B80EA48B893}"/>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5" name="Freeform: Shape 605">
                <a:extLst>
                  <a:ext uri="{FF2B5EF4-FFF2-40B4-BE49-F238E27FC236}">
                    <a16:creationId xmlns:a16="http://schemas.microsoft.com/office/drawing/2014/main" id="{D1E1C195-DCD9-446B-882C-E4536B607FD4}"/>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86" name="Freeform: Shape 606">
                <a:extLst>
                  <a:ext uri="{FF2B5EF4-FFF2-40B4-BE49-F238E27FC236}">
                    <a16:creationId xmlns:a16="http://schemas.microsoft.com/office/drawing/2014/main" id="{9ACCCD17-507C-4A7B-B774-8FDD06253BB1}"/>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68" name="Oval 467">
              <a:extLst>
                <a:ext uri="{FF2B5EF4-FFF2-40B4-BE49-F238E27FC236}">
                  <a16:creationId xmlns:a16="http://schemas.microsoft.com/office/drawing/2014/main" id="{269183A8-E7C3-4541-B4B9-89F92FFCFB24}"/>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grpSp>
        <p:nvGrpSpPr>
          <p:cNvPr id="487" name="Group 486">
            <a:extLst>
              <a:ext uri="{FF2B5EF4-FFF2-40B4-BE49-F238E27FC236}">
                <a16:creationId xmlns:a16="http://schemas.microsoft.com/office/drawing/2014/main" id="{3F213327-A233-4188-8700-2B0C006460EF}"/>
              </a:ext>
            </a:extLst>
          </p:cNvPr>
          <p:cNvGrpSpPr>
            <a:grpSpLocks noChangeAspect="1"/>
          </p:cNvGrpSpPr>
          <p:nvPr/>
        </p:nvGrpSpPr>
        <p:grpSpPr>
          <a:xfrm>
            <a:off x="7987624" y="2780073"/>
            <a:ext cx="339581" cy="347498"/>
            <a:chOff x="-1285851" y="2012409"/>
            <a:chExt cx="1309278" cy="1339813"/>
          </a:xfrm>
          <a:solidFill>
            <a:schemeClr val="tx2"/>
          </a:solidFill>
        </p:grpSpPr>
        <p:grpSp>
          <p:nvGrpSpPr>
            <p:cNvPr id="488" name="Graphic 75">
              <a:extLst>
                <a:ext uri="{FF2B5EF4-FFF2-40B4-BE49-F238E27FC236}">
                  <a16:creationId xmlns:a16="http://schemas.microsoft.com/office/drawing/2014/main" id="{339B4311-19A6-4B50-AFA7-F7BC8E8A3CF0}"/>
                </a:ext>
              </a:extLst>
            </p:cNvPr>
            <p:cNvGrpSpPr/>
            <p:nvPr/>
          </p:nvGrpSpPr>
          <p:grpSpPr>
            <a:xfrm>
              <a:off x="-1285851" y="2012409"/>
              <a:ext cx="1309278" cy="1339813"/>
              <a:chOff x="4820236" y="1931698"/>
              <a:chExt cx="926552" cy="948156"/>
            </a:xfrm>
            <a:grpFill/>
          </p:grpSpPr>
          <p:sp>
            <p:nvSpPr>
              <p:cNvPr id="490" name="Freeform: Shape 589">
                <a:extLst>
                  <a:ext uri="{FF2B5EF4-FFF2-40B4-BE49-F238E27FC236}">
                    <a16:creationId xmlns:a16="http://schemas.microsoft.com/office/drawing/2014/main" id="{9D5A98E6-E409-45F2-8930-A108DD5E38DE}"/>
                  </a:ext>
                </a:extLst>
              </p:cNvPr>
              <p:cNvSpPr/>
              <p:nvPr/>
            </p:nvSpPr>
            <p:spPr>
              <a:xfrm>
                <a:off x="5229430" y="1931698"/>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1" name="Freeform: Shape 590">
                <a:extLst>
                  <a:ext uri="{FF2B5EF4-FFF2-40B4-BE49-F238E27FC236}">
                    <a16:creationId xmlns:a16="http://schemas.microsoft.com/office/drawing/2014/main" id="{34C05F9E-DA98-41DF-9E06-8D3CACEC4BFB}"/>
                  </a:ext>
                </a:extLst>
              </p:cNvPr>
              <p:cNvSpPr/>
              <p:nvPr/>
            </p:nvSpPr>
            <p:spPr>
              <a:xfrm>
                <a:off x="5084495" y="1957451"/>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2" name="Freeform: Shape 591">
                <a:extLst>
                  <a:ext uri="{FF2B5EF4-FFF2-40B4-BE49-F238E27FC236}">
                    <a16:creationId xmlns:a16="http://schemas.microsoft.com/office/drawing/2014/main" id="{ADC0482A-299E-4C5C-A0CC-383FC568A115}"/>
                  </a:ext>
                </a:extLst>
              </p:cNvPr>
              <p:cNvSpPr/>
              <p:nvPr/>
            </p:nvSpPr>
            <p:spPr>
              <a:xfrm>
                <a:off x="4957158" y="2031134"/>
                <a:ext cx="100152" cy="100152"/>
              </a:xfrm>
              <a:custGeom>
                <a:avLst/>
                <a:gdLst>
                  <a:gd name="connsiteX0" fmla="*/ 97363 w 100152"/>
                  <a:gd name="connsiteY0" fmla="*/ 56586 h 100152"/>
                  <a:gd name="connsiteX1" fmla="*/ 56872 w 100152"/>
                  <a:gd name="connsiteY1" fmla="*/ 97363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443 h 100152"/>
                  <a:gd name="connsiteX6" fmla="*/ 97363 w 100152"/>
                  <a:gd name="connsiteY6"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3" y="56586"/>
                    </a:moveTo>
                    <a:cubicBezTo>
                      <a:pt x="97441" y="79028"/>
                      <a:pt x="79314" y="97284"/>
                      <a:pt x="56872" y="97363"/>
                    </a:cubicBezTo>
                    <a:cubicBezTo>
                      <a:pt x="34431" y="97441"/>
                      <a:pt x="16176" y="79314"/>
                      <a:pt x="16096" y="56872"/>
                    </a:cubicBezTo>
                    <a:cubicBezTo>
                      <a:pt x="16017" y="34431"/>
                      <a:pt x="34145" y="16175"/>
                      <a:pt x="56586" y="16096"/>
                    </a:cubicBezTo>
                    <a:cubicBezTo>
                      <a:pt x="56634" y="16096"/>
                      <a:pt x="56682" y="16096"/>
                      <a:pt x="56729" y="16096"/>
                    </a:cubicBezTo>
                    <a:cubicBezTo>
                      <a:pt x="79092" y="16017"/>
                      <a:pt x="97284" y="34081"/>
                      <a:pt x="97363" y="56443"/>
                    </a:cubicBezTo>
                    <a:cubicBezTo>
                      <a:pt x="97363" y="56490"/>
                      <a:pt x="97363" y="56539"/>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3" name="Freeform: Shape 592">
                <a:extLst>
                  <a:ext uri="{FF2B5EF4-FFF2-40B4-BE49-F238E27FC236}">
                    <a16:creationId xmlns:a16="http://schemas.microsoft.com/office/drawing/2014/main" id="{D3D38330-3D47-4275-B8B5-A0ADA74EB46A}"/>
                  </a:ext>
                </a:extLst>
              </p:cNvPr>
              <p:cNvSpPr/>
              <p:nvPr/>
            </p:nvSpPr>
            <p:spPr>
              <a:xfrm>
                <a:off x="4862729" y="2144021"/>
                <a:ext cx="100152" cy="100152"/>
              </a:xfrm>
              <a:custGeom>
                <a:avLst/>
                <a:gdLst>
                  <a:gd name="connsiteX0" fmla="*/ 97076 w 100152"/>
                  <a:gd name="connsiteY0" fmla="*/ 56586 h 100152"/>
                  <a:gd name="connsiteX1" fmla="*/ 56586 w 100152"/>
                  <a:gd name="connsiteY1" fmla="*/ 97076 h 100152"/>
                  <a:gd name="connsiteX2" fmla="*/ 16096 w 100152"/>
                  <a:gd name="connsiteY2" fmla="*/ 56586 h 100152"/>
                  <a:gd name="connsiteX3" fmla="*/ 56586 w 100152"/>
                  <a:gd name="connsiteY3" fmla="*/ 16096 h 100152"/>
                  <a:gd name="connsiteX4" fmla="*/ 97076 w 100152"/>
                  <a:gd name="connsiteY4" fmla="*/ 56586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076" y="56586"/>
                    </a:moveTo>
                    <a:cubicBezTo>
                      <a:pt x="97076" y="78949"/>
                      <a:pt x="78949" y="97076"/>
                      <a:pt x="56586" y="97076"/>
                    </a:cubicBezTo>
                    <a:cubicBezTo>
                      <a:pt x="34223" y="97076"/>
                      <a:pt x="16096" y="78949"/>
                      <a:pt x="16096" y="56586"/>
                    </a:cubicBezTo>
                    <a:cubicBezTo>
                      <a:pt x="16096" y="34224"/>
                      <a:pt x="34223" y="16096"/>
                      <a:pt x="56586" y="16096"/>
                    </a:cubicBezTo>
                    <a:cubicBezTo>
                      <a:pt x="78949" y="16096"/>
                      <a:pt x="97076" y="34224"/>
                      <a:pt x="97076"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4" name="Freeform: Shape 593">
                <a:extLst>
                  <a:ext uri="{FF2B5EF4-FFF2-40B4-BE49-F238E27FC236}">
                    <a16:creationId xmlns:a16="http://schemas.microsoft.com/office/drawing/2014/main" id="{C93EB7BB-83E0-4679-B20A-B9E7DF3885E5}"/>
                  </a:ext>
                </a:extLst>
              </p:cNvPr>
              <p:cNvSpPr/>
              <p:nvPr/>
            </p:nvSpPr>
            <p:spPr>
              <a:xfrm>
                <a:off x="4820236" y="2290243"/>
                <a:ext cx="85845" cy="85845"/>
              </a:xfrm>
              <a:custGeom>
                <a:avLst/>
                <a:gdLst>
                  <a:gd name="connsiteX0" fmla="*/ 81624 w 85844"/>
                  <a:gd name="connsiteY0" fmla="*/ 48860 h 85844"/>
                  <a:gd name="connsiteX1" fmla="*/ 48860 w 85844"/>
                  <a:gd name="connsiteY1" fmla="*/ 81624 h 85844"/>
                  <a:gd name="connsiteX2" fmla="*/ 16096 w 85844"/>
                  <a:gd name="connsiteY2" fmla="*/ 48860 h 85844"/>
                  <a:gd name="connsiteX3" fmla="*/ 48860 w 85844"/>
                  <a:gd name="connsiteY3" fmla="*/ 16096 h 85844"/>
                  <a:gd name="connsiteX4" fmla="*/ 81624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4" y="48860"/>
                    </a:moveTo>
                    <a:cubicBezTo>
                      <a:pt x="81624" y="66955"/>
                      <a:pt x="66955" y="81624"/>
                      <a:pt x="48860" y="81624"/>
                    </a:cubicBezTo>
                    <a:cubicBezTo>
                      <a:pt x="30765" y="81624"/>
                      <a:pt x="16096" y="66955"/>
                      <a:pt x="16096" y="48860"/>
                    </a:cubicBezTo>
                    <a:cubicBezTo>
                      <a:pt x="16096" y="30765"/>
                      <a:pt x="30765" y="16096"/>
                      <a:pt x="48860" y="16096"/>
                    </a:cubicBezTo>
                    <a:cubicBezTo>
                      <a:pt x="66923" y="16175"/>
                      <a:pt x="81545" y="30797"/>
                      <a:pt x="81624"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5" name="Freeform: Shape 594">
                <a:extLst>
                  <a:ext uri="{FF2B5EF4-FFF2-40B4-BE49-F238E27FC236}">
                    <a16:creationId xmlns:a16="http://schemas.microsoft.com/office/drawing/2014/main" id="{C886AEEF-3652-40A8-A9FD-4E0D4A364E21}"/>
                  </a:ext>
                </a:extLst>
              </p:cNvPr>
              <p:cNvSpPr/>
              <p:nvPr/>
            </p:nvSpPr>
            <p:spPr>
              <a:xfrm>
                <a:off x="4826102" y="2443190"/>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6" name="Freeform: Shape 595">
                <a:extLst>
                  <a:ext uri="{FF2B5EF4-FFF2-40B4-BE49-F238E27FC236}">
                    <a16:creationId xmlns:a16="http://schemas.microsoft.com/office/drawing/2014/main" id="{5B0DC06E-B52C-436C-8546-D3D9816B8237}"/>
                  </a:ext>
                </a:extLst>
              </p:cNvPr>
              <p:cNvSpPr/>
              <p:nvPr/>
            </p:nvSpPr>
            <p:spPr>
              <a:xfrm>
                <a:off x="4880184" y="2584548"/>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497" name="Freeform: Shape 596">
                <a:extLst>
                  <a:ext uri="{FF2B5EF4-FFF2-40B4-BE49-F238E27FC236}">
                    <a16:creationId xmlns:a16="http://schemas.microsoft.com/office/drawing/2014/main" id="{5D270417-3826-48D6-BA9B-2396CF7B97E1}"/>
                  </a:ext>
                </a:extLst>
              </p:cNvPr>
              <p:cNvSpPr/>
              <p:nvPr/>
            </p:nvSpPr>
            <p:spPr>
              <a:xfrm>
                <a:off x="4980623" y="2703300"/>
                <a:ext cx="57230" cy="57230"/>
              </a:xfrm>
              <a:custGeom>
                <a:avLst/>
                <a:gdLst>
                  <a:gd name="connsiteX0" fmla="*/ 52151 w 57229"/>
                  <a:gd name="connsiteY0" fmla="*/ 34124 h 57229"/>
                  <a:gd name="connsiteX1" fmla="*/ 34123 w 57229"/>
                  <a:gd name="connsiteY1" fmla="*/ 52151 h 57229"/>
                  <a:gd name="connsiteX2" fmla="*/ 16096 w 57229"/>
                  <a:gd name="connsiteY2" fmla="*/ 34124 h 57229"/>
                  <a:gd name="connsiteX3" fmla="*/ 34123 w 57229"/>
                  <a:gd name="connsiteY3" fmla="*/ 16097 h 57229"/>
                  <a:gd name="connsiteX4" fmla="*/ 52151 w 57229"/>
                  <a:gd name="connsiteY4" fmla="*/ 33836 h 57229"/>
                  <a:gd name="connsiteX5" fmla="*/ 52151 w 57229"/>
                  <a:gd name="connsiteY5" fmla="*/ 34124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2151" y="34124"/>
                    </a:moveTo>
                    <a:cubicBezTo>
                      <a:pt x="52151" y="44080"/>
                      <a:pt x="44080" y="52151"/>
                      <a:pt x="34123" y="52151"/>
                    </a:cubicBezTo>
                    <a:cubicBezTo>
                      <a:pt x="24167" y="52151"/>
                      <a:pt x="16096" y="44080"/>
                      <a:pt x="16096" y="34124"/>
                    </a:cubicBezTo>
                    <a:cubicBezTo>
                      <a:pt x="16096" y="24167"/>
                      <a:pt x="24167" y="16097"/>
                      <a:pt x="34123" y="16097"/>
                    </a:cubicBezTo>
                    <a:cubicBezTo>
                      <a:pt x="44000" y="16016"/>
                      <a:pt x="52072" y="23960"/>
                      <a:pt x="52151" y="33836"/>
                    </a:cubicBezTo>
                    <a:cubicBezTo>
                      <a:pt x="52152" y="33932"/>
                      <a:pt x="52152" y="34028"/>
                      <a:pt x="52151" y="34124"/>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0" name="Freeform: Shape 597">
                <a:extLst>
                  <a:ext uri="{FF2B5EF4-FFF2-40B4-BE49-F238E27FC236}">
                    <a16:creationId xmlns:a16="http://schemas.microsoft.com/office/drawing/2014/main" id="{DA73B013-D417-4D7C-991D-C6ACAB19CCC5}"/>
                  </a:ext>
                </a:extLst>
              </p:cNvPr>
              <p:cNvSpPr/>
              <p:nvPr/>
            </p:nvSpPr>
            <p:spPr>
              <a:xfrm>
                <a:off x="5108674" y="2777556"/>
                <a:ext cx="57230" cy="57230"/>
              </a:xfrm>
              <a:custGeom>
                <a:avLst/>
                <a:gdLst>
                  <a:gd name="connsiteX0" fmla="*/ 50434 w 57229"/>
                  <a:gd name="connsiteY0" fmla="*/ 33265 h 57229"/>
                  <a:gd name="connsiteX1" fmla="*/ 33265 w 57229"/>
                  <a:gd name="connsiteY1" fmla="*/ 50434 h 57229"/>
                  <a:gd name="connsiteX2" fmla="*/ 16096 w 57229"/>
                  <a:gd name="connsiteY2" fmla="*/ 33265 h 57229"/>
                  <a:gd name="connsiteX3" fmla="*/ 33265 w 57229"/>
                  <a:gd name="connsiteY3" fmla="*/ 16096 h 57229"/>
                  <a:gd name="connsiteX4" fmla="*/ 50434 w 57229"/>
                  <a:gd name="connsiteY4" fmla="*/ 33265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0434" y="33265"/>
                    </a:moveTo>
                    <a:cubicBezTo>
                      <a:pt x="50434" y="42746"/>
                      <a:pt x="42746" y="50434"/>
                      <a:pt x="33265" y="50434"/>
                    </a:cubicBezTo>
                    <a:cubicBezTo>
                      <a:pt x="23783" y="50434"/>
                      <a:pt x="16096" y="42746"/>
                      <a:pt x="16096" y="33265"/>
                    </a:cubicBezTo>
                    <a:cubicBezTo>
                      <a:pt x="16096" y="23783"/>
                      <a:pt x="23783" y="16096"/>
                      <a:pt x="33265" y="16096"/>
                    </a:cubicBezTo>
                    <a:cubicBezTo>
                      <a:pt x="42746" y="16096"/>
                      <a:pt x="50434" y="23783"/>
                      <a:pt x="50434" y="33265"/>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4" name="Freeform: Shape 598">
                <a:extLst>
                  <a:ext uri="{FF2B5EF4-FFF2-40B4-BE49-F238E27FC236}">
                    <a16:creationId xmlns:a16="http://schemas.microsoft.com/office/drawing/2014/main" id="{EB85FD24-5AEA-4674-AEA2-B025D0658415}"/>
                  </a:ext>
                </a:extLst>
              </p:cNvPr>
              <p:cNvSpPr/>
              <p:nvPr/>
            </p:nvSpPr>
            <p:spPr>
              <a:xfrm>
                <a:off x="5230288" y="2779702"/>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05" name="Freeform: Shape 599">
                <a:extLst>
                  <a:ext uri="{FF2B5EF4-FFF2-40B4-BE49-F238E27FC236}">
                    <a16:creationId xmlns:a16="http://schemas.microsoft.com/office/drawing/2014/main" id="{1FD262F6-E41D-4DEE-8903-733AF7560A42}"/>
                  </a:ext>
                </a:extLst>
              </p:cNvPr>
              <p:cNvSpPr/>
              <p:nvPr/>
            </p:nvSpPr>
            <p:spPr>
              <a:xfrm>
                <a:off x="5375223" y="2753519"/>
                <a:ext cx="100152" cy="100152"/>
              </a:xfrm>
              <a:custGeom>
                <a:avLst/>
                <a:gdLst>
                  <a:gd name="connsiteX0" fmla="*/ 97363 w 100152"/>
                  <a:gd name="connsiteY0" fmla="*/ 56586 h 100152"/>
                  <a:gd name="connsiteX1" fmla="*/ 56872 w 100152"/>
                  <a:gd name="connsiteY1" fmla="*/ 97362 h 100152"/>
                  <a:gd name="connsiteX2" fmla="*/ 16096 w 100152"/>
                  <a:gd name="connsiteY2" fmla="*/ 56872 h 100152"/>
                  <a:gd name="connsiteX3" fmla="*/ 56586 w 100152"/>
                  <a:gd name="connsiteY3" fmla="*/ 16096 h 100152"/>
                  <a:gd name="connsiteX4" fmla="*/ 56729 w 100152"/>
                  <a:gd name="connsiteY4" fmla="*/ 16096 h 100152"/>
                  <a:gd name="connsiteX5" fmla="*/ 97363 w 100152"/>
                  <a:gd name="connsiteY5" fmla="*/ 56586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52" h="100152">
                    <a:moveTo>
                      <a:pt x="97363" y="56586"/>
                    </a:moveTo>
                    <a:cubicBezTo>
                      <a:pt x="97441" y="79027"/>
                      <a:pt x="79314" y="97284"/>
                      <a:pt x="56872" y="97362"/>
                    </a:cubicBezTo>
                    <a:cubicBezTo>
                      <a:pt x="34431" y="97441"/>
                      <a:pt x="16176" y="79314"/>
                      <a:pt x="16096" y="56872"/>
                    </a:cubicBezTo>
                    <a:cubicBezTo>
                      <a:pt x="16017" y="34431"/>
                      <a:pt x="34145" y="16175"/>
                      <a:pt x="56586" y="16096"/>
                    </a:cubicBezTo>
                    <a:cubicBezTo>
                      <a:pt x="56634" y="16096"/>
                      <a:pt x="56682" y="16096"/>
                      <a:pt x="56729" y="16096"/>
                    </a:cubicBezTo>
                    <a:cubicBezTo>
                      <a:pt x="79115" y="16096"/>
                      <a:pt x="97284" y="34201"/>
                      <a:pt x="97363" y="5658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7" name="Freeform: Shape 600">
                <a:extLst>
                  <a:ext uri="{FF2B5EF4-FFF2-40B4-BE49-F238E27FC236}">
                    <a16:creationId xmlns:a16="http://schemas.microsoft.com/office/drawing/2014/main" id="{613B76BE-8C0D-4462-AAC0-525ADD654E21}"/>
                  </a:ext>
                </a:extLst>
              </p:cNvPr>
              <p:cNvSpPr/>
              <p:nvPr/>
            </p:nvSpPr>
            <p:spPr>
              <a:xfrm>
                <a:off x="5502559" y="2680265"/>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97362 w 100152"/>
                  <a:gd name="connsiteY4" fmla="*/ 56729 h 100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79170" y="16096"/>
                      <a:pt x="97362" y="34288"/>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8" name="Freeform: Shape 601">
                <a:extLst>
                  <a:ext uri="{FF2B5EF4-FFF2-40B4-BE49-F238E27FC236}">
                    <a16:creationId xmlns:a16="http://schemas.microsoft.com/office/drawing/2014/main" id="{29DF47C9-FD41-4A68-ADA4-3268C9189A9B}"/>
                  </a:ext>
                </a:extLst>
              </p:cNvPr>
              <p:cNvSpPr/>
              <p:nvPr/>
            </p:nvSpPr>
            <p:spPr>
              <a:xfrm>
                <a:off x="5597132" y="2567379"/>
                <a:ext cx="100152" cy="100152"/>
              </a:xfrm>
              <a:custGeom>
                <a:avLst/>
                <a:gdLst>
                  <a:gd name="connsiteX0" fmla="*/ 97362 w 100152"/>
                  <a:gd name="connsiteY0" fmla="*/ 56729 h 100152"/>
                  <a:gd name="connsiteX1" fmla="*/ 56729 w 100152"/>
                  <a:gd name="connsiteY1" fmla="*/ 97362 h 100152"/>
                  <a:gd name="connsiteX2" fmla="*/ 16096 w 100152"/>
                  <a:gd name="connsiteY2" fmla="*/ 56729 h 100152"/>
                  <a:gd name="connsiteX3" fmla="*/ 56729 w 100152"/>
                  <a:gd name="connsiteY3" fmla="*/ 16096 h 100152"/>
                  <a:gd name="connsiteX4" fmla="*/ 56872 w 100152"/>
                  <a:gd name="connsiteY4" fmla="*/ 16096 h 100152"/>
                  <a:gd name="connsiteX5" fmla="*/ 97362 w 100152"/>
                  <a:gd name="connsiteY5" fmla="*/ 56586 h 100152"/>
                  <a:gd name="connsiteX6" fmla="*/ 97362 w 100152"/>
                  <a:gd name="connsiteY6" fmla="*/ 56729 h 10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152" h="100152">
                    <a:moveTo>
                      <a:pt x="97362" y="56729"/>
                    </a:moveTo>
                    <a:cubicBezTo>
                      <a:pt x="97362" y="79170"/>
                      <a:pt x="79170" y="97362"/>
                      <a:pt x="56729" y="97362"/>
                    </a:cubicBezTo>
                    <a:cubicBezTo>
                      <a:pt x="34288" y="97362"/>
                      <a:pt x="16096" y="79170"/>
                      <a:pt x="16096" y="56729"/>
                    </a:cubicBezTo>
                    <a:cubicBezTo>
                      <a:pt x="16096" y="34288"/>
                      <a:pt x="34288" y="16096"/>
                      <a:pt x="56729" y="16096"/>
                    </a:cubicBezTo>
                    <a:cubicBezTo>
                      <a:pt x="56776" y="16096"/>
                      <a:pt x="56825" y="16096"/>
                      <a:pt x="56872" y="16096"/>
                    </a:cubicBezTo>
                    <a:cubicBezTo>
                      <a:pt x="79235" y="16096"/>
                      <a:pt x="97362" y="34223"/>
                      <a:pt x="97362" y="56586"/>
                    </a:cubicBezTo>
                    <a:cubicBezTo>
                      <a:pt x="97362" y="56633"/>
                      <a:pt x="97362" y="56682"/>
                      <a:pt x="97362" y="56729"/>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29" name="Freeform: Shape 602">
                <a:extLst>
                  <a:ext uri="{FF2B5EF4-FFF2-40B4-BE49-F238E27FC236}">
                    <a16:creationId xmlns:a16="http://schemas.microsoft.com/office/drawing/2014/main" id="{3F5E67FE-A6DC-4807-826A-40F47E4C46A3}"/>
                  </a:ext>
                </a:extLst>
              </p:cNvPr>
              <p:cNvSpPr/>
              <p:nvPr/>
            </p:nvSpPr>
            <p:spPr>
              <a:xfrm>
                <a:off x="5655366" y="2436323"/>
                <a:ext cx="85845" cy="85845"/>
              </a:xfrm>
              <a:custGeom>
                <a:avLst/>
                <a:gdLst>
                  <a:gd name="connsiteX0" fmla="*/ 81621 w 85844"/>
                  <a:gd name="connsiteY0" fmla="*/ 49289 h 85844"/>
                  <a:gd name="connsiteX1" fmla="*/ 48431 w 85844"/>
                  <a:gd name="connsiteY1" fmla="*/ 81621 h 85844"/>
                  <a:gd name="connsiteX2" fmla="*/ 16099 w 85844"/>
                  <a:gd name="connsiteY2" fmla="*/ 48431 h 85844"/>
                  <a:gd name="connsiteX3" fmla="*/ 48857 w 85844"/>
                  <a:gd name="connsiteY3" fmla="*/ 16096 h 85844"/>
                  <a:gd name="connsiteX4" fmla="*/ 81621 w 85844"/>
                  <a:gd name="connsiteY4" fmla="*/ 48860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81621" y="49289"/>
                    </a:moveTo>
                    <a:cubicBezTo>
                      <a:pt x="81384" y="67382"/>
                      <a:pt x="66524" y="81859"/>
                      <a:pt x="48431" y="81621"/>
                    </a:cubicBezTo>
                    <a:cubicBezTo>
                      <a:pt x="30338" y="81384"/>
                      <a:pt x="15861" y="66524"/>
                      <a:pt x="16099" y="48431"/>
                    </a:cubicBezTo>
                    <a:cubicBezTo>
                      <a:pt x="16333" y="30505"/>
                      <a:pt x="30930" y="16097"/>
                      <a:pt x="48857" y="16096"/>
                    </a:cubicBezTo>
                    <a:cubicBezTo>
                      <a:pt x="66952" y="16096"/>
                      <a:pt x="81621" y="30765"/>
                      <a:pt x="81621" y="488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30" name="Freeform: Shape 603">
                <a:extLst>
                  <a:ext uri="{FF2B5EF4-FFF2-40B4-BE49-F238E27FC236}">
                    <a16:creationId xmlns:a16="http://schemas.microsoft.com/office/drawing/2014/main" id="{25651DF3-E9E3-472E-9B65-2FA71C7A5E6C}"/>
                  </a:ext>
                </a:extLst>
              </p:cNvPr>
              <p:cNvSpPr/>
              <p:nvPr/>
            </p:nvSpPr>
            <p:spPr>
              <a:xfrm>
                <a:off x="5660943" y="2294822"/>
                <a:ext cx="85845" cy="85845"/>
              </a:xfrm>
              <a:custGeom>
                <a:avLst/>
                <a:gdLst>
                  <a:gd name="connsiteX0" fmla="*/ 70178 w 85844"/>
                  <a:gd name="connsiteY0" fmla="*/ 43137 h 85844"/>
                  <a:gd name="connsiteX1" fmla="*/ 43137 w 85844"/>
                  <a:gd name="connsiteY1" fmla="*/ 70178 h 85844"/>
                  <a:gd name="connsiteX2" fmla="*/ 16096 w 85844"/>
                  <a:gd name="connsiteY2" fmla="*/ 43137 h 85844"/>
                  <a:gd name="connsiteX3" fmla="*/ 43137 w 85844"/>
                  <a:gd name="connsiteY3" fmla="*/ 16096 h 85844"/>
                  <a:gd name="connsiteX4" fmla="*/ 70178 w 85844"/>
                  <a:gd name="connsiteY4" fmla="*/ 43137 h 8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844" h="85844">
                    <a:moveTo>
                      <a:pt x="70178" y="43137"/>
                    </a:moveTo>
                    <a:cubicBezTo>
                      <a:pt x="70178" y="58071"/>
                      <a:pt x="58071" y="70178"/>
                      <a:pt x="43137" y="70178"/>
                    </a:cubicBezTo>
                    <a:cubicBezTo>
                      <a:pt x="28203" y="70178"/>
                      <a:pt x="16096" y="58071"/>
                      <a:pt x="16096" y="43137"/>
                    </a:cubicBezTo>
                    <a:cubicBezTo>
                      <a:pt x="16096" y="28203"/>
                      <a:pt x="28203" y="16096"/>
                      <a:pt x="43137" y="16096"/>
                    </a:cubicBezTo>
                    <a:cubicBezTo>
                      <a:pt x="58071" y="16096"/>
                      <a:pt x="70178" y="28203"/>
                      <a:pt x="70178" y="43137"/>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2" name="Freeform: Shape 604">
                <a:extLst>
                  <a:ext uri="{FF2B5EF4-FFF2-40B4-BE49-F238E27FC236}">
                    <a16:creationId xmlns:a16="http://schemas.microsoft.com/office/drawing/2014/main" id="{4427BF9D-A33B-4B2D-86E3-6A2440DEE024}"/>
                  </a:ext>
                </a:extLst>
              </p:cNvPr>
              <p:cNvSpPr/>
              <p:nvPr/>
            </p:nvSpPr>
            <p:spPr>
              <a:xfrm>
                <a:off x="5613585" y="2160474"/>
                <a:ext cx="71537" cy="71537"/>
              </a:xfrm>
              <a:custGeom>
                <a:avLst/>
                <a:gdLst>
                  <a:gd name="connsiteX0" fmla="*/ 63024 w 71537"/>
                  <a:gd name="connsiteY0" fmla="*/ 39560 h 71537"/>
                  <a:gd name="connsiteX1" fmla="*/ 39560 w 71537"/>
                  <a:gd name="connsiteY1" fmla="*/ 63024 h 71537"/>
                  <a:gd name="connsiteX2" fmla="*/ 16096 w 71537"/>
                  <a:gd name="connsiteY2" fmla="*/ 39560 h 71537"/>
                  <a:gd name="connsiteX3" fmla="*/ 39560 w 71537"/>
                  <a:gd name="connsiteY3" fmla="*/ 16096 h 71537"/>
                  <a:gd name="connsiteX4" fmla="*/ 63024 w 71537"/>
                  <a:gd name="connsiteY4" fmla="*/ 39560 h 7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7" h="71537">
                    <a:moveTo>
                      <a:pt x="63024" y="39560"/>
                    </a:moveTo>
                    <a:cubicBezTo>
                      <a:pt x="63024" y="52518"/>
                      <a:pt x="52518" y="63024"/>
                      <a:pt x="39560" y="63024"/>
                    </a:cubicBezTo>
                    <a:cubicBezTo>
                      <a:pt x="26602" y="63024"/>
                      <a:pt x="16096" y="52518"/>
                      <a:pt x="16096" y="39560"/>
                    </a:cubicBezTo>
                    <a:cubicBezTo>
                      <a:pt x="16096" y="26602"/>
                      <a:pt x="26602" y="16096"/>
                      <a:pt x="39560" y="16096"/>
                    </a:cubicBezTo>
                    <a:cubicBezTo>
                      <a:pt x="52518" y="16096"/>
                      <a:pt x="63024" y="26602"/>
                      <a:pt x="63024" y="39560"/>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3" name="Freeform: Shape 605">
                <a:extLst>
                  <a:ext uri="{FF2B5EF4-FFF2-40B4-BE49-F238E27FC236}">
                    <a16:creationId xmlns:a16="http://schemas.microsoft.com/office/drawing/2014/main" id="{AB80D230-0B6E-4418-A239-0DE226AC680A}"/>
                  </a:ext>
                </a:extLst>
              </p:cNvPr>
              <p:cNvSpPr/>
              <p:nvPr/>
            </p:nvSpPr>
            <p:spPr>
              <a:xfrm>
                <a:off x="5524307" y="2053168"/>
                <a:ext cx="57230" cy="57230"/>
              </a:xfrm>
              <a:custGeom>
                <a:avLst/>
                <a:gdLst>
                  <a:gd name="connsiteX0" fmla="*/ 52151 w 57229"/>
                  <a:gd name="connsiteY0" fmla="*/ 34123 h 57229"/>
                  <a:gd name="connsiteX1" fmla="*/ 34123 w 57229"/>
                  <a:gd name="connsiteY1" fmla="*/ 52151 h 57229"/>
                  <a:gd name="connsiteX2" fmla="*/ 16096 w 57229"/>
                  <a:gd name="connsiteY2" fmla="*/ 34123 h 57229"/>
                  <a:gd name="connsiteX3" fmla="*/ 34123 w 57229"/>
                  <a:gd name="connsiteY3" fmla="*/ 16096 h 57229"/>
                  <a:gd name="connsiteX4" fmla="*/ 52151 w 57229"/>
                  <a:gd name="connsiteY4" fmla="*/ 34123 h 57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29" h="57229">
                    <a:moveTo>
                      <a:pt x="52151" y="34123"/>
                    </a:moveTo>
                    <a:cubicBezTo>
                      <a:pt x="52151" y="44080"/>
                      <a:pt x="44080" y="52151"/>
                      <a:pt x="34123" y="52151"/>
                    </a:cubicBezTo>
                    <a:cubicBezTo>
                      <a:pt x="24167" y="52151"/>
                      <a:pt x="16096" y="44080"/>
                      <a:pt x="16096" y="34123"/>
                    </a:cubicBezTo>
                    <a:cubicBezTo>
                      <a:pt x="16096" y="24167"/>
                      <a:pt x="24167" y="16096"/>
                      <a:pt x="34123" y="16096"/>
                    </a:cubicBezTo>
                    <a:cubicBezTo>
                      <a:pt x="44080" y="16096"/>
                      <a:pt x="52151" y="24167"/>
                      <a:pt x="52151" y="34123"/>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sp>
            <p:nvSpPr>
              <p:cNvPr id="554" name="Freeform: Shape 606">
                <a:extLst>
                  <a:ext uri="{FF2B5EF4-FFF2-40B4-BE49-F238E27FC236}">
                    <a16:creationId xmlns:a16="http://schemas.microsoft.com/office/drawing/2014/main" id="{47998C88-AA0D-4CFC-96D3-488236547F86}"/>
                  </a:ext>
                </a:extLst>
              </p:cNvPr>
              <p:cNvSpPr/>
              <p:nvPr/>
            </p:nvSpPr>
            <p:spPr>
              <a:xfrm>
                <a:off x="5397829" y="1980628"/>
                <a:ext cx="57230" cy="57230"/>
              </a:xfrm>
              <a:custGeom>
                <a:avLst/>
                <a:gdLst>
                  <a:gd name="connsiteX0" fmla="*/ 50719 w 57229"/>
                  <a:gd name="connsiteY0" fmla="*/ 33266 h 57229"/>
                  <a:gd name="connsiteX1" fmla="*/ 33550 w 57229"/>
                  <a:gd name="connsiteY1" fmla="*/ 50720 h 57229"/>
                  <a:gd name="connsiteX2" fmla="*/ 16097 w 57229"/>
                  <a:gd name="connsiteY2" fmla="*/ 33551 h 57229"/>
                  <a:gd name="connsiteX3" fmla="*/ 33266 w 57229"/>
                  <a:gd name="connsiteY3" fmla="*/ 16097 h 57229"/>
                  <a:gd name="connsiteX4" fmla="*/ 33550 w 57229"/>
                  <a:gd name="connsiteY4" fmla="*/ 16097 h 57229"/>
                  <a:gd name="connsiteX5" fmla="*/ 50719 w 57229"/>
                  <a:gd name="connsiteY5" fmla="*/ 33266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229" h="57229">
                    <a:moveTo>
                      <a:pt x="50719" y="33266"/>
                    </a:moveTo>
                    <a:cubicBezTo>
                      <a:pt x="50798" y="42826"/>
                      <a:pt x="43110" y="50641"/>
                      <a:pt x="33550" y="50720"/>
                    </a:cubicBezTo>
                    <a:cubicBezTo>
                      <a:pt x="23990" y="50798"/>
                      <a:pt x="16175" y="43112"/>
                      <a:pt x="16097" y="33551"/>
                    </a:cubicBezTo>
                    <a:cubicBezTo>
                      <a:pt x="16018" y="23990"/>
                      <a:pt x="23704" y="16176"/>
                      <a:pt x="33266" y="16097"/>
                    </a:cubicBezTo>
                    <a:cubicBezTo>
                      <a:pt x="33360" y="16096"/>
                      <a:pt x="33456" y="16096"/>
                      <a:pt x="33550" y="16097"/>
                    </a:cubicBezTo>
                    <a:cubicBezTo>
                      <a:pt x="43032" y="16097"/>
                      <a:pt x="50719" y="23784"/>
                      <a:pt x="50719" y="33266"/>
                    </a:cubicBezTo>
                    <a:close/>
                  </a:path>
                </a:pathLst>
              </a:custGeom>
              <a:grpFill/>
              <a:ln w="14288" cap="flat">
                <a:no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rgbClr val="FFFFFF"/>
                  </a:solidFill>
                  <a:effectLst/>
                  <a:uLnTx/>
                  <a:uFillTx/>
                  <a:latin typeface="CiscoSansTT ExtraLight"/>
                  <a:ea typeface="+mn-ea"/>
                  <a:cs typeface="+mn-cs"/>
                </a:endParaRPr>
              </a:p>
            </p:txBody>
          </p:sp>
        </p:grpSp>
        <p:sp>
          <p:nvSpPr>
            <p:cNvPr id="489" name="Oval 488">
              <a:extLst>
                <a:ext uri="{FF2B5EF4-FFF2-40B4-BE49-F238E27FC236}">
                  <a16:creationId xmlns:a16="http://schemas.microsoft.com/office/drawing/2014/main" id="{4BACCFED-5974-4DF5-8739-3C441ECF8E3B}"/>
                </a:ext>
              </a:extLst>
            </p:cNvPr>
            <p:cNvSpPr/>
            <p:nvPr/>
          </p:nvSpPr>
          <p:spPr>
            <a:xfrm>
              <a:off x="-1018159" y="2295367"/>
              <a:ext cx="773893" cy="77389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5073"/>
                </a:solidFill>
                <a:effectLst/>
                <a:uLnTx/>
                <a:uFillTx/>
                <a:latin typeface="CiscoSansTT ExtraLight"/>
                <a:ea typeface="+mn-ea"/>
                <a:cs typeface="+mn-cs"/>
              </a:endParaRPr>
            </a:p>
          </p:txBody>
        </p:sp>
      </p:grpSp>
    </p:spTree>
    <p:extLst>
      <p:ext uri="{BB962C8B-B14F-4D97-AF65-F5344CB8AC3E}">
        <p14:creationId xmlns:p14="http://schemas.microsoft.com/office/powerpoint/2010/main" val="12561935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Mp_5.KWZkYVf91oPfbD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3NYNiSPU9b4CsQPVgTW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OlqMew6TdYhO7VgEaNK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lZKeaV4pwrZ7ceu9gPHb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UxIGs5J2W5MTpWf4MsXM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Gtw37qIk.0BNl0WTd2ygg"/>
</p:tagLst>
</file>

<file path=ppt/theme/theme1.xml><?xml version="1.0" encoding="utf-8"?>
<a:theme xmlns:a="http://schemas.openxmlformats.org/drawingml/2006/main" name="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0.xml><?xml version="1.0" encoding="utf-8"?>
<a:theme xmlns:a="http://schemas.openxmlformats.org/drawingml/2006/main" name="Cisco Live 2020">
  <a:themeElements>
    <a:clrScheme name="Custom 1">
      <a:dk1>
        <a:srgbClr val="282828"/>
      </a:dk1>
      <a:lt1>
        <a:srgbClr val="005073"/>
      </a:lt1>
      <a:dk2>
        <a:srgbClr val="005073"/>
      </a:dk2>
      <a:lt2>
        <a:srgbClr val="FFFFFF"/>
      </a:lt2>
      <a:accent1>
        <a:srgbClr val="00BCEB"/>
      </a:accent1>
      <a:accent2>
        <a:srgbClr val="74BF4B"/>
      </a:accent2>
      <a:accent3>
        <a:srgbClr val="1E4471"/>
      </a:accent3>
      <a:accent4>
        <a:srgbClr val="676767"/>
      </a:accent4>
      <a:accent5>
        <a:srgbClr val="FBAB18"/>
      </a:accent5>
      <a:accent6>
        <a:srgbClr val="E2231A"/>
      </a:accent6>
      <a:hlink>
        <a:srgbClr val="00BCEB"/>
      </a:hlink>
      <a:folHlink>
        <a:srgbClr val="005073"/>
      </a:folHlink>
    </a:clrScheme>
    <a:fontScheme name="Custom 3">
      <a:majorFont>
        <a:latin typeface="CiscoSansTT 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Live 2020" id="{71E49F69-762E-6D4B-8FD6-8C65B7F3D78B}" vid="{1250B665-9BCA-BA49-B45B-EF3BB4807DE7}"/>
    </a:ext>
  </a:extLst>
</a:theme>
</file>

<file path=ppt/theme/theme11.xml><?xml version="1.0" encoding="utf-8"?>
<a:theme xmlns:a="http://schemas.openxmlformats.org/drawingml/2006/main" name="Cisco Secure Theme – White">
  <a:themeElements>
    <a:clrScheme name="Cisc Secure Colors – White">
      <a:dk1>
        <a:srgbClr val="0D274D"/>
      </a:dk1>
      <a:lt1>
        <a:srgbClr val="FFFFFF"/>
      </a:lt1>
      <a:dk2>
        <a:srgbClr val="6EBE4A"/>
      </a:dk2>
      <a:lt2>
        <a:srgbClr val="FFFFFF"/>
      </a:lt2>
      <a:accent1>
        <a:srgbClr val="0D274D"/>
      </a:accent1>
      <a:accent2>
        <a:srgbClr val="6EBE4A"/>
      </a:accent2>
      <a:accent3>
        <a:srgbClr val="00BCEB"/>
      </a:accent3>
      <a:accent4>
        <a:srgbClr val="1E4471"/>
      </a:accent4>
      <a:accent5>
        <a:srgbClr val="FBAB18"/>
      </a:accent5>
      <a:accent6>
        <a:srgbClr val="E3241B"/>
      </a:accent6>
      <a:hlink>
        <a:srgbClr val="6EBE4A"/>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12.xml><?xml version="1.0" encoding="utf-8"?>
<a:theme xmlns:a="http://schemas.openxmlformats.org/drawingml/2006/main" name="8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3.xml><?xml version="1.0" encoding="utf-8"?>
<a:theme xmlns:a="http://schemas.openxmlformats.org/drawingml/2006/main" name="Cisco them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theme 2019" id="{7CA28228-E512-4B69-B49D-8666B627B570}" vid="{211D41BD-90EC-49DE-8A2B-9C1A264597F8}"/>
    </a:ext>
  </a:extLst>
</a:theme>
</file>

<file path=ppt/theme/theme14.xml><?xml version="1.0" encoding="utf-8"?>
<a:theme xmlns:a="http://schemas.openxmlformats.org/drawingml/2006/main" name="9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5.xml><?xml version="1.0" encoding="utf-8"?>
<a:theme xmlns:a="http://schemas.openxmlformats.org/drawingml/2006/main" name="10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6.xml><?xml version="1.0" encoding="utf-8"?>
<a:theme xmlns:a="http://schemas.openxmlformats.org/drawingml/2006/main" name="11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17.xml><?xml version="1.0" encoding="utf-8"?>
<a:theme xmlns:a="http://schemas.openxmlformats.org/drawingml/2006/main" name="1_Cisco theme 201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theme 2019" id="{7CA28228-E512-4B69-B49D-8666B627B570}" vid="{211D41BD-90EC-49DE-8A2B-9C1A264597F8}"/>
    </a:ext>
  </a:extLst>
</a:theme>
</file>

<file path=ppt/theme/theme18.xml><?xml version="1.0" encoding="utf-8"?>
<a:theme xmlns:a="http://schemas.openxmlformats.org/drawingml/2006/main" name="1_Cisco Secure Theme – White">
  <a:themeElements>
    <a:clrScheme name="Cisc Secure Colors – White">
      <a:dk1>
        <a:srgbClr val="0D274D"/>
      </a:dk1>
      <a:lt1>
        <a:srgbClr val="FFFFFF"/>
      </a:lt1>
      <a:dk2>
        <a:srgbClr val="6EBE4A"/>
      </a:dk2>
      <a:lt2>
        <a:srgbClr val="FFFFFF"/>
      </a:lt2>
      <a:accent1>
        <a:srgbClr val="0D274D"/>
      </a:accent1>
      <a:accent2>
        <a:srgbClr val="6EBE4A"/>
      </a:accent2>
      <a:accent3>
        <a:srgbClr val="00BCEB"/>
      </a:accent3>
      <a:accent4>
        <a:srgbClr val="1E4471"/>
      </a:accent4>
      <a:accent5>
        <a:srgbClr val="FBAB18"/>
      </a:accent5>
      <a:accent6>
        <a:srgbClr val="E3241B"/>
      </a:accent6>
      <a:hlink>
        <a:srgbClr val="6EBE4A"/>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19.xml><?xml version="1.0" encoding="utf-8"?>
<a:theme xmlns:a="http://schemas.openxmlformats.org/drawingml/2006/main" name="3_Cisco Secure Theme – White">
  <a:themeElements>
    <a:clrScheme name="Cisc Secure Colors – White">
      <a:dk1>
        <a:srgbClr val="0D274D"/>
      </a:dk1>
      <a:lt1>
        <a:srgbClr val="FFFFFF"/>
      </a:lt1>
      <a:dk2>
        <a:srgbClr val="6EBE4A"/>
      </a:dk2>
      <a:lt2>
        <a:srgbClr val="FFFFFF"/>
      </a:lt2>
      <a:accent1>
        <a:srgbClr val="0D274D"/>
      </a:accent1>
      <a:accent2>
        <a:srgbClr val="6EBE4A"/>
      </a:accent2>
      <a:accent3>
        <a:srgbClr val="00BCEB"/>
      </a:accent3>
      <a:accent4>
        <a:srgbClr val="1E4471"/>
      </a:accent4>
      <a:accent5>
        <a:srgbClr val="FBAB18"/>
      </a:accent5>
      <a:accent6>
        <a:srgbClr val="E3241B"/>
      </a:accent6>
      <a:hlink>
        <a:srgbClr val="6EBE4A"/>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BG_PowerPoint_Template_White_v1.1" id="{2260C5F1-DFCF-5145-9464-6D73F12699C3}" vid="{63D3B145-BE40-1540-9EF0-B29D6C32B602}"/>
    </a:ext>
  </a:extLst>
</a:theme>
</file>

<file path=ppt/theme/theme2.xml><?xml version="1.0" encoding="utf-8"?>
<a:theme xmlns:a="http://schemas.openxmlformats.org/drawingml/2006/main" name="1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sz="11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0.xml><?xml version="1.0" encoding="utf-8"?>
<a:theme xmlns:a="http://schemas.openxmlformats.org/drawingml/2006/main" name="12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ecureX Power Hour - Why do anything" id="{F3A00C2E-C0CF-6248-928C-30A13A2B306C}" vid="{CEA69220-AE7F-4C48-BE30-7BF8BC8C09C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3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4_Blue theme 2015 16x9">
  <a:themeElements>
    <a:clrScheme name="Cisco Core Palette_2019_default">
      <a:dk1>
        <a:srgbClr val="282828"/>
      </a:dk1>
      <a:lt1>
        <a:srgbClr val="0D274D"/>
      </a:lt1>
      <a:dk2>
        <a:srgbClr val="1E4471"/>
      </a:dk2>
      <a:lt2>
        <a:srgbClr val="FFFFFF"/>
      </a:lt2>
      <a:accent1>
        <a:srgbClr val="00BCEB"/>
      </a:accent1>
      <a:accent2>
        <a:srgbClr val="6EBE4A"/>
      </a:accent2>
      <a:accent3>
        <a:srgbClr val="1E4471"/>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t"/>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6.xml><?xml version="1.0" encoding="utf-8"?>
<a:theme xmlns:a="http://schemas.openxmlformats.org/drawingml/2006/main" name="Cisco Secure Theme 2020 - 16x9">
  <a:themeElements>
    <a:clrScheme name="Cisco Secure">
      <a:dk1>
        <a:srgbClr val="0D274D"/>
      </a:dk1>
      <a:lt1>
        <a:srgbClr val="FFFFFF"/>
      </a:lt1>
      <a:dk2>
        <a:srgbClr val="0D274D"/>
      </a:dk2>
      <a:lt2>
        <a:srgbClr val="FEFFFF"/>
      </a:lt2>
      <a:accent1>
        <a:srgbClr val="6BBF4E"/>
      </a:accent1>
      <a:accent2>
        <a:srgbClr val="01BCEA"/>
      </a:accent2>
      <a:accent3>
        <a:srgbClr val="0D274D"/>
      </a:accent3>
      <a:accent4>
        <a:srgbClr val="17365E"/>
      </a:accent4>
      <a:accent5>
        <a:srgbClr val="FBAB2C"/>
      </a:accent5>
      <a:accent6>
        <a:srgbClr val="D3413B"/>
      </a:accent6>
      <a:hlink>
        <a:srgbClr val="6BBF4E"/>
      </a:hlink>
      <a:folHlink>
        <a:srgbClr val="01BCEA"/>
      </a:folHlink>
    </a:clrScheme>
    <a:fontScheme name="Blue theme 2015 16x9">
      <a:majorFont>
        <a:latin typeface="Calibri"/>
        <a:ea typeface="Calibri"/>
        <a:cs typeface="Calibri"/>
      </a:majorFont>
      <a:minorFont>
        <a:latin typeface="Helvetica"/>
        <a:ea typeface="Helvetica"/>
        <a:cs typeface="Helvetica"/>
      </a:minorFont>
    </a:fontScheme>
    <a:fmtScheme name="Blue theme 2015 16x9">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FFFFFF"/>
            </a:solidFill>
            <a:effectLst/>
            <a:uFillTx/>
            <a:latin typeface="CiscoSansTT ExtraLight"/>
            <a:ea typeface="CiscoSansTT ExtraLight"/>
            <a:cs typeface="CiscoSansTT ExtraLight"/>
            <a:sym typeface="CiscoSansTT Extra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6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8.xml><?xml version="1.0" encoding="utf-8"?>
<a:theme xmlns:a="http://schemas.openxmlformats.org/drawingml/2006/main" name="5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9.xml><?xml version="1.0" encoding="utf-8"?>
<a:theme xmlns:a="http://schemas.openxmlformats.org/drawingml/2006/main" name="7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6231EE48BFAD8439EEC04752D01212C" ma:contentTypeVersion="11" ma:contentTypeDescription="Create a new document." ma:contentTypeScope="" ma:versionID="ede417cd8cd3a71931c773732d229a13">
  <xsd:schema xmlns:xsd="http://www.w3.org/2001/XMLSchema" xmlns:xs="http://www.w3.org/2001/XMLSchema" xmlns:p="http://schemas.microsoft.com/office/2006/metadata/properties" xmlns:ns2="85248423-ef2b-4eeb-b8b5-d4c85ab1140e" xmlns:ns3="34103976-3704-42cb-90f2-5969973acec4" targetNamespace="http://schemas.microsoft.com/office/2006/metadata/properties" ma:root="true" ma:fieldsID="cc2d2ce33f1b26be1f77999f0bbe840b" ns2:_="" ns3:_="">
    <xsd:import namespace="85248423-ef2b-4eeb-b8b5-d4c85ab1140e"/>
    <xsd:import namespace="34103976-3704-42cb-90f2-5969973acec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248423-ef2b-4eeb-b8b5-d4c85ab114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4103976-3704-42cb-90f2-5969973acec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33F0B8-300C-4F42-8A02-080E7C9B2CF6}">
  <ds:schemaRefs>
    <ds:schemaRef ds:uri="http://schemas.microsoft.com/sharepoint/v3/contenttype/forms"/>
  </ds:schemaRefs>
</ds:datastoreItem>
</file>

<file path=customXml/itemProps2.xml><?xml version="1.0" encoding="utf-8"?>
<ds:datastoreItem xmlns:ds="http://schemas.openxmlformats.org/officeDocument/2006/customXml" ds:itemID="{AA32E7A7-F88D-45A5-BF53-091746918135}">
  <ds:schemaRefs>
    <ds:schemaRef ds:uri="http://schemas.microsoft.com/office/2006/metadata/properties"/>
    <ds:schemaRef ds:uri="http://schemas.microsoft.com/office/2006/documentManagement/types"/>
    <ds:schemaRef ds:uri="http://purl.org/dc/elements/1.1/"/>
    <ds:schemaRef ds:uri="http://schemas.microsoft.com/office/infopath/2007/PartnerControls"/>
    <ds:schemaRef ds:uri="85248423-ef2b-4eeb-b8b5-d4c85ab1140e"/>
    <ds:schemaRef ds:uri="http://purl.org/dc/terms/"/>
    <ds:schemaRef ds:uri="http://schemas.openxmlformats.org/package/2006/metadata/core-properties"/>
    <ds:schemaRef ds:uri="34103976-3704-42cb-90f2-5969973acec4"/>
    <ds:schemaRef ds:uri="http://www.w3.org/XML/1998/namespace"/>
    <ds:schemaRef ds:uri="http://purl.org/dc/dcmitype/"/>
  </ds:schemaRefs>
</ds:datastoreItem>
</file>

<file path=customXml/itemProps3.xml><?xml version="1.0" encoding="utf-8"?>
<ds:datastoreItem xmlns:ds="http://schemas.openxmlformats.org/officeDocument/2006/customXml" ds:itemID="{6CAEA713-80A9-4136-86D8-7F15E49D5C8B}">
  <ds:schemaRefs>
    <ds:schemaRef ds:uri="34103976-3704-42cb-90f2-5969973acec4"/>
    <ds:schemaRef ds:uri="85248423-ef2b-4eeb-b8b5-d4c85ab1140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35</TotalTime>
  <Words>2138</Words>
  <Application>Microsoft Office PowerPoint</Application>
  <PresentationFormat>On-screen Show (16:9)</PresentationFormat>
  <Paragraphs>384</Paragraphs>
  <Slides>22</Slides>
  <Notes>21</Notes>
  <HiddenSlides>0</HiddenSlides>
  <MMClips>0</MMClips>
  <ScaleCrop>false</ScaleCrop>
  <HeadingPairs>
    <vt:vector size="8" baseType="variant">
      <vt:variant>
        <vt:lpstr>Fonts Used</vt:lpstr>
      </vt:variant>
      <vt:variant>
        <vt:i4>11</vt:i4>
      </vt:variant>
      <vt:variant>
        <vt:lpstr>Theme</vt:lpstr>
      </vt:variant>
      <vt:variant>
        <vt:i4>20</vt:i4>
      </vt:variant>
      <vt:variant>
        <vt:lpstr>Embedded OLE Servers</vt:lpstr>
      </vt:variant>
      <vt:variant>
        <vt:i4>1</vt:i4>
      </vt:variant>
      <vt:variant>
        <vt:lpstr>Slide Titles</vt:lpstr>
      </vt:variant>
      <vt:variant>
        <vt:i4>22</vt:i4>
      </vt:variant>
    </vt:vector>
  </HeadingPairs>
  <TitlesOfParts>
    <vt:vector size="54" baseType="lpstr">
      <vt:lpstr>Apple SD GothicNeo ExtraBold</vt:lpstr>
      <vt:lpstr>Arial</vt:lpstr>
      <vt:lpstr>Calibri</vt:lpstr>
      <vt:lpstr>CiscoSansTT</vt:lpstr>
      <vt:lpstr>CiscoSansTT ExtraLight</vt:lpstr>
      <vt:lpstr>CiscoSansTT Light</vt:lpstr>
      <vt:lpstr>CiscoSansTT Medium</vt:lpstr>
      <vt:lpstr>CiscoSansTT Thin</vt:lpstr>
      <vt:lpstr>Courier</vt:lpstr>
      <vt:lpstr>Helvetica</vt:lpstr>
      <vt:lpstr>System Font Regular</vt:lpstr>
      <vt:lpstr>Blue theme 2015 16x9</vt:lpstr>
      <vt:lpstr>1_Blue theme 2015 16x9</vt:lpstr>
      <vt:lpstr>2_Blue theme 2015 16x9</vt:lpstr>
      <vt:lpstr>3_Blue theme 2015 16x9</vt:lpstr>
      <vt:lpstr>4_Blue theme 2015 16x9</vt:lpstr>
      <vt:lpstr>Cisco Secure Theme 2020 - 16x9</vt:lpstr>
      <vt:lpstr>6_Blue theme 2015 16x9</vt:lpstr>
      <vt:lpstr>5_Blue theme 2015 16x9</vt:lpstr>
      <vt:lpstr>7_Blue theme 2015 16x9</vt:lpstr>
      <vt:lpstr>Cisco Live 2020</vt:lpstr>
      <vt:lpstr>Cisco Secure Theme – White</vt:lpstr>
      <vt:lpstr>8_Blue theme 2015 16x9</vt:lpstr>
      <vt:lpstr>Cisco theme 2019</vt:lpstr>
      <vt:lpstr>9_Blue theme 2015 16x9</vt:lpstr>
      <vt:lpstr>10_Blue theme 2015 16x9</vt:lpstr>
      <vt:lpstr>11_Blue theme 2015 16x9</vt:lpstr>
      <vt:lpstr>1_Cisco theme 2019</vt:lpstr>
      <vt:lpstr>1_Cisco Secure Theme – White</vt:lpstr>
      <vt:lpstr>3_Cisco Secure Theme – White</vt:lpstr>
      <vt:lpstr>12_Blue theme 2015 16x9</vt:lpstr>
      <vt:lpstr>think-cell Slide</vt:lpstr>
      <vt:lpstr>PowerPoint Presentation</vt:lpstr>
      <vt:lpstr>CISOs want to execute on a clear plan to deliver…</vt:lpstr>
      <vt:lpstr>And the security industry has made it  more complex than ever</vt:lpstr>
      <vt:lpstr>A platform approach confidently tackles  the most pressing security operation challenges</vt:lpstr>
      <vt:lpstr>Building a platform takes time  and engineering talent</vt:lpstr>
      <vt:lpstr>And requires a broad security portfolio  Backed by unrivaled threat intelligence</vt:lpstr>
      <vt:lpstr>Introducing SecureX  A cloud-native, built-in platform experience within our portfolio</vt:lpstr>
      <vt:lpstr>Our portfolio includes XDR capabilities and beyond</vt:lpstr>
      <vt:lpstr>SecureX unlocks value for your organization</vt:lpstr>
      <vt:lpstr>SecureX is a cloud-native security platform</vt:lpstr>
      <vt:lpstr>Demo</vt:lpstr>
      <vt:lpstr>How true simplicity is experienced</vt:lpstr>
      <vt:lpstr> What unified visibility looks like</vt:lpstr>
      <vt:lpstr>Maximizing operational efficiency </vt:lpstr>
      <vt:lpstr>Meaningful integrations with your investments  Not just a simple syslog data dump</vt:lpstr>
      <vt:lpstr>SecureX seamlessly integrates into your SOC</vt:lpstr>
      <vt:lpstr>SecureX in the classroom</vt:lpstr>
      <vt:lpstr>Services to unlock your full potential Reach your outcomes and resolve roadblocks towards a mature security posture  faster with these Cisco CX Services:</vt:lpstr>
      <vt:lpstr>Maximize your security investment with  buying programs</vt:lpstr>
      <vt:lpstr>PowerPoint Presentation</vt:lpstr>
      <vt:lpstr>Simplify your security with the broadest, most integrated platform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kim Lialias (jlialias)</dc:creator>
  <cp:lastModifiedBy>dylan larocque</cp:lastModifiedBy>
  <cp:revision>13</cp:revision>
  <dcterms:created xsi:type="dcterms:W3CDTF">2020-06-12T05:03:17Z</dcterms:created>
  <dcterms:modified xsi:type="dcterms:W3CDTF">2020-10-06T15:10:40Z</dcterms:modified>
</cp:coreProperties>
</file>